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ov" ContentType="video/quicktime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3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5.xml" ContentType="application/vnd.openxmlformats-officedocument.theme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764" r:id="rId1"/>
    <p:sldMasterId id="2147483782" r:id="rId2"/>
    <p:sldMasterId id="2147483907" r:id="rId3"/>
    <p:sldMasterId id="2147483975" r:id="rId4"/>
    <p:sldMasterId id="2147484066" r:id="rId5"/>
    <p:sldMasterId id="2147484098" r:id="rId6"/>
  </p:sldMasterIdLst>
  <p:notesMasterIdLst>
    <p:notesMasterId r:id="rId29"/>
  </p:notesMasterIdLst>
  <p:handoutMasterIdLst>
    <p:handoutMasterId r:id="rId30"/>
  </p:handoutMasterIdLst>
  <p:sldIdLst>
    <p:sldId id="2147470409" r:id="rId7"/>
    <p:sldId id="2147470455" r:id="rId8"/>
    <p:sldId id="2147470443" r:id="rId9"/>
    <p:sldId id="2147476511" r:id="rId10"/>
    <p:sldId id="3819" r:id="rId11"/>
    <p:sldId id="2147476460" r:id="rId12"/>
    <p:sldId id="2147476443" r:id="rId13"/>
    <p:sldId id="2147476444" r:id="rId14"/>
    <p:sldId id="2147476456" r:id="rId15"/>
    <p:sldId id="2147476450" r:id="rId16"/>
    <p:sldId id="2147476528" r:id="rId17"/>
    <p:sldId id="2147476461" r:id="rId18"/>
    <p:sldId id="2147476529" r:id="rId19"/>
    <p:sldId id="2147476455" r:id="rId20"/>
    <p:sldId id="2147476454" r:id="rId21"/>
    <p:sldId id="2147476457" r:id="rId22"/>
    <p:sldId id="2147476525" r:id="rId23"/>
    <p:sldId id="2147476536" r:id="rId24"/>
    <p:sldId id="2147476537" r:id="rId25"/>
    <p:sldId id="2147476538" r:id="rId26"/>
    <p:sldId id="2147476539" r:id="rId27"/>
    <p:sldId id="2337" r:id="rId28"/>
  </p:sldIdLst>
  <p:sldSz cx="24382413" cy="13716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Дмитрий Хижняков" initials="ДХ" lastIdx="1" clrIdx="0">
    <p:extLst>
      <p:ext uri="{19B8F6BF-5375-455C-9EA6-DF929625EA0E}">
        <p15:presenceInfo xmlns:p15="http://schemas.microsoft.com/office/powerpoint/2012/main" userId="fda1c2134ca9a01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303F"/>
    <a:srgbClr val="000000"/>
    <a:srgbClr val="F8C470"/>
    <a:srgbClr val="5A9BB9"/>
    <a:srgbClr val="F7DB78"/>
    <a:srgbClr val="FED52A"/>
    <a:srgbClr val="E2F700"/>
    <a:srgbClr val="87A0AF"/>
    <a:srgbClr val="D2DCDC"/>
    <a:srgbClr val="FF92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509" autoAdjust="0"/>
    <p:restoredTop sz="94890" autoAdjust="0"/>
  </p:normalViewPr>
  <p:slideViewPr>
    <p:cSldViewPr snapToGrid="0" snapToObjects="1" showGuides="1">
      <p:cViewPr varScale="1">
        <p:scale>
          <a:sx n="59" d="100"/>
          <a:sy n="59" d="100"/>
        </p:scale>
        <p:origin x="672" y="2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62" d="100"/>
          <a:sy n="62" d="100"/>
        </p:scale>
        <p:origin x="315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49DF52EF-7802-4A58-8BC7-006F2DEC6A1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C9142DD9-8B41-44AE-A525-E86B951DF52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F72FAD-D944-4CB2-91A6-A6DAFAD32C35}" type="datetimeFigureOut">
              <a:rPr lang="ru-RU" smtClean="0"/>
              <a:t>24.06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F0D36A83-B7F7-4071-903B-AD982DF875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0578D9D-6CD8-4299-8D04-56D3013265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0615D1-1464-489E-A001-92DEF5F791E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93473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3F1CCF-691C-E14B-B595-5544A968EC32}" type="datetimeFigureOut">
              <a:rPr lang="ru-RU" smtClean="0"/>
              <a:t>24.06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5452F6-0346-BD4B-9B44-82E04AEE557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26241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914354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828709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2743063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3657417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4571771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6126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400480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4834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7" Type="http://schemas.microsoft.com/office/2007/relationships/hdphoto" Target="../media/hdphoto5.wdp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9.png"/><Relationship Id="rId5" Type="http://schemas.microsoft.com/office/2007/relationships/hdphoto" Target="../media/hdphoto4.wdp"/><Relationship Id="rId4" Type="http://schemas.openxmlformats.org/officeDocument/2006/relationships/image" Target="../media/image38.pn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5.xml"/><Relationship Id="rId5" Type="http://schemas.microsoft.com/office/2007/relationships/hdphoto" Target="../media/hdphoto7.wdp"/><Relationship Id="rId4" Type="http://schemas.openxmlformats.org/officeDocument/2006/relationships/image" Target="../media/image43.png"/></Relationships>
</file>

<file path=ppt/slideLayouts/_rels/slideLayout107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5.xml"/><Relationship Id="rId5" Type="http://schemas.microsoft.com/office/2007/relationships/hdphoto" Target="../media/hdphoto7.wdp"/><Relationship Id="rId4" Type="http://schemas.openxmlformats.org/officeDocument/2006/relationships/image" Target="../media/image43.png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5.xml"/><Relationship Id="rId6" Type="http://schemas.microsoft.com/office/2007/relationships/hdphoto" Target="../media/hdphoto7.wdp"/><Relationship Id="rId5" Type="http://schemas.openxmlformats.org/officeDocument/2006/relationships/image" Target="../media/image43.png"/><Relationship Id="rId4" Type="http://schemas.microsoft.com/office/2007/relationships/hdphoto" Target="../media/hdphoto6.wdp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5.xml"/><Relationship Id="rId5" Type="http://schemas.microsoft.com/office/2007/relationships/hdphoto" Target="../media/hdphoto7.wdp"/><Relationship Id="rId4" Type="http://schemas.openxmlformats.org/officeDocument/2006/relationships/image" Target="../media/image43.png"/></Relationships>
</file>

<file path=ppt/slideLayouts/_rels/slideLayout118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5.xml"/><Relationship Id="rId5" Type="http://schemas.microsoft.com/office/2007/relationships/hdphoto" Target="../media/hdphoto9.wdp"/><Relationship Id="rId4" Type="http://schemas.openxmlformats.org/officeDocument/2006/relationships/image" Target="../media/image43.png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5.xml"/><Relationship Id="rId5" Type="http://schemas.microsoft.com/office/2007/relationships/hdphoto" Target="../media/hdphoto5.wdp"/><Relationship Id="rId4" Type="http://schemas.openxmlformats.org/officeDocument/2006/relationships/image" Target="../media/image39.png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5.xml"/><Relationship Id="rId6" Type="http://schemas.microsoft.com/office/2007/relationships/hdphoto" Target="../media/hdphoto11.wdp"/><Relationship Id="rId5" Type="http://schemas.openxmlformats.org/officeDocument/2006/relationships/image" Target="../media/image49.png"/><Relationship Id="rId4" Type="http://schemas.microsoft.com/office/2007/relationships/hdphoto" Target="../media/hdphoto10.wdp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0.sv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0.svg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0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0.svg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0.svg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0.svg"/></Relationships>
</file>

<file path=ppt/slideLayouts/_rels/slideLayout1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9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0.svg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9.png"/><Relationship Id="rId7" Type="http://schemas.openxmlformats.org/officeDocument/2006/relationships/image" Target="../media/image2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0.svg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0.svg"/><Relationship Id="rId5" Type="http://schemas.openxmlformats.org/officeDocument/2006/relationships/image" Target="../media/image20.png"/><Relationship Id="rId4" Type="http://schemas.openxmlformats.org/officeDocument/2006/relationships/image" Target="../media/image29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svg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9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0.sv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9.png"/><Relationship Id="rId7" Type="http://schemas.openxmlformats.org/officeDocument/2006/relationships/image" Target="../media/image2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0.sv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0.svg"/><Relationship Id="rId5" Type="http://schemas.openxmlformats.org/officeDocument/2006/relationships/image" Target="../media/image20.png"/><Relationship Id="rId4" Type="http://schemas.openxmlformats.org/officeDocument/2006/relationships/image" Target="../media/image29.svg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.xml"/><Relationship Id="rId4" Type="http://schemas.openxmlformats.org/officeDocument/2006/relationships/image" Target="../media/image32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3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bg>
      <p:bgPr>
        <a:solidFill>
          <a:schemeClr val="bg2">
            <a:lumMod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44A1AC5-FF74-4CD6-B6A7-067D983CA1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6276" y="1228459"/>
            <a:ext cx="21755487" cy="44546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180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08B7F08-83D3-E44E-9492-950CD41884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11352" y="11731652"/>
            <a:ext cx="7740650" cy="105404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035C08B-8751-1B4B-921E-E4E784040729}"/>
              </a:ext>
            </a:extLst>
          </p:cNvPr>
          <p:cNvSpPr txBox="1"/>
          <p:nvPr userDrawn="1"/>
        </p:nvSpPr>
        <p:spPr>
          <a:xfrm>
            <a:off x="20704629" y="881742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EE37A55-47B8-3646-B196-265116C6B9AB}"/>
              </a:ext>
            </a:extLst>
          </p:cNvPr>
          <p:cNvSpPr txBox="1"/>
          <p:nvPr userDrawn="1"/>
        </p:nvSpPr>
        <p:spPr>
          <a:xfrm>
            <a:off x="12217400" y="-5842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93E385-4AEE-1B40-A5C9-0C1B40DD947F}"/>
              </a:ext>
            </a:extLst>
          </p:cNvPr>
          <p:cNvSpPr txBox="1"/>
          <p:nvPr userDrawn="1"/>
        </p:nvSpPr>
        <p:spPr>
          <a:xfrm>
            <a:off x="12217400" y="-21590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5400" indent="-25400" algn="l">
              <a:tabLst/>
            </a:pPr>
            <a:endParaRPr lang="en-RU" sz="3200" err="1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78846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Текст 6">
            <a:extLst>
              <a:ext uri="{FF2B5EF4-FFF2-40B4-BE49-F238E27FC236}">
                <a16:creationId xmlns:a16="http://schemas.microsoft.com/office/drawing/2014/main" id="{8CC1400C-72B2-0D44-B5EF-E675E69ED8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86430" y="4173979"/>
            <a:ext cx="8264119" cy="67193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Первый раздел</a:t>
            </a:r>
          </a:p>
        </p:txBody>
      </p:sp>
      <p:sp>
        <p:nvSpPr>
          <p:cNvPr id="46" name="Текст 6">
            <a:extLst>
              <a:ext uri="{FF2B5EF4-FFF2-40B4-BE49-F238E27FC236}">
                <a16:creationId xmlns:a16="http://schemas.microsoft.com/office/drawing/2014/main" id="{21404E55-A44C-0F42-B3BB-9AD19389C468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486430" y="5288473"/>
            <a:ext cx="8264119" cy="72145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Второй раздел</a:t>
            </a:r>
          </a:p>
        </p:txBody>
      </p:sp>
      <p:sp>
        <p:nvSpPr>
          <p:cNvPr id="47" name="Текст 6">
            <a:extLst>
              <a:ext uri="{FF2B5EF4-FFF2-40B4-BE49-F238E27FC236}">
                <a16:creationId xmlns:a16="http://schemas.microsoft.com/office/drawing/2014/main" id="{77379B48-990C-C046-B888-43B9B36757CC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2486430" y="6497271"/>
            <a:ext cx="8264119" cy="72145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Третий раздел</a:t>
            </a:r>
          </a:p>
        </p:txBody>
      </p:sp>
      <p:sp>
        <p:nvSpPr>
          <p:cNvPr id="48" name="Текст 6">
            <a:extLst>
              <a:ext uri="{FF2B5EF4-FFF2-40B4-BE49-F238E27FC236}">
                <a16:creationId xmlns:a16="http://schemas.microsoft.com/office/drawing/2014/main" id="{1DC26852-1BF1-FA4B-80F5-8A1A62CE081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486430" y="7718674"/>
            <a:ext cx="8264119" cy="72145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Четвёртый раздел</a:t>
            </a:r>
          </a:p>
        </p:txBody>
      </p:sp>
      <p:sp>
        <p:nvSpPr>
          <p:cNvPr id="49" name="Текст 6">
            <a:extLst>
              <a:ext uri="{FF2B5EF4-FFF2-40B4-BE49-F238E27FC236}">
                <a16:creationId xmlns:a16="http://schemas.microsoft.com/office/drawing/2014/main" id="{CEC51240-421E-D945-B2EA-8747ED5530F3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2486430" y="8940077"/>
            <a:ext cx="8264119" cy="730616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Пятый раздел</a:t>
            </a:r>
          </a:p>
        </p:txBody>
      </p:sp>
      <p:sp>
        <p:nvSpPr>
          <p:cNvPr id="50" name="Текст 6">
            <a:extLst>
              <a:ext uri="{FF2B5EF4-FFF2-40B4-BE49-F238E27FC236}">
                <a16:creationId xmlns:a16="http://schemas.microsoft.com/office/drawing/2014/main" id="{2F082D51-2FE4-454D-9669-98EF27911891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2486430" y="10170638"/>
            <a:ext cx="8264119" cy="730616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Шестой раздел</a:t>
            </a:r>
          </a:p>
        </p:txBody>
      </p:sp>
      <p:sp>
        <p:nvSpPr>
          <p:cNvPr id="51" name="Текст 6">
            <a:extLst>
              <a:ext uri="{FF2B5EF4-FFF2-40B4-BE49-F238E27FC236}">
                <a16:creationId xmlns:a16="http://schemas.microsoft.com/office/drawing/2014/main" id="{01A2C41D-E4E0-244B-A83B-411F4820CD55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394488" y="4173979"/>
            <a:ext cx="716431" cy="67193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52" name="Текст 6">
            <a:extLst>
              <a:ext uri="{FF2B5EF4-FFF2-40B4-BE49-F238E27FC236}">
                <a16:creationId xmlns:a16="http://schemas.microsoft.com/office/drawing/2014/main" id="{40D5A3BC-D2BE-704A-83E3-20380F222642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394488" y="5288473"/>
            <a:ext cx="716431" cy="72145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53" name="Текст 6">
            <a:extLst>
              <a:ext uri="{FF2B5EF4-FFF2-40B4-BE49-F238E27FC236}">
                <a16:creationId xmlns:a16="http://schemas.microsoft.com/office/drawing/2014/main" id="{BEFBBA07-2F05-1B49-A334-FBC6FD8B309D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1394488" y="6497271"/>
            <a:ext cx="716431" cy="72145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54" name="Текст 6">
            <a:extLst>
              <a:ext uri="{FF2B5EF4-FFF2-40B4-BE49-F238E27FC236}">
                <a16:creationId xmlns:a16="http://schemas.microsoft.com/office/drawing/2014/main" id="{B039901A-2568-A54A-970B-F3D27019E113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394488" y="7718674"/>
            <a:ext cx="716431" cy="72145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55" name="Текст 6">
            <a:extLst>
              <a:ext uri="{FF2B5EF4-FFF2-40B4-BE49-F238E27FC236}">
                <a16:creationId xmlns:a16="http://schemas.microsoft.com/office/drawing/2014/main" id="{36BE5921-1C89-2A40-854D-79F12A1A32B0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1394488" y="8940077"/>
            <a:ext cx="716431" cy="730616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56" name="Текст 6">
            <a:extLst>
              <a:ext uri="{FF2B5EF4-FFF2-40B4-BE49-F238E27FC236}">
                <a16:creationId xmlns:a16="http://schemas.microsoft.com/office/drawing/2014/main" id="{72AB9BA0-DAE3-FA48-8565-CFF0A79EE17B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1394488" y="10170638"/>
            <a:ext cx="716431" cy="730616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30" name="Текст 6">
            <a:extLst>
              <a:ext uri="{FF2B5EF4-FFF2-40B4-BE49-F238E27FC236}">
                <a16:creationId xmlns:a16="http://schemas.microsoft.com/office/drawing/2014/main" id="{3B39D8C5-7100-5E43-A705-0C430A86B4EA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13645439" y="4173979"/>
            <a:ext cx="8250543" cy="67193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Седьмой раздел</a:t>
            </a:r>
          </a:p>
        </p:txBody>
      </p:sp>
      <p:sp>
        <p:nvSpPr>
          <p:cNvPr id="31" name="Текст 6">
            <a:extLst>
              <a:ext uri="{FF2B5EF4-FFF2-40B4-BE49-F238E27FC236}">
                <a16:creationId xmlns:a16="http://schemas.microsoft.com/office/drawing/2014/main" id="{125FB5BA-E9BD-E841-9A3E-5795B3FDFF79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13645439" y="5288473"/>
            <a:ext cx="8250543" cy="72145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Восьмой раздел</a:t>
            </a:r>
          </a:p>
        </p:txBody>
      </p:sp>
      <p:sp>
        <p:nvSpPr>
          <p:cNvPr id="32" name="Текст 6">
            <a:extLst>
              <a:ext uri="{FF2B5EF4-FFF2-40B4-BE49-F238E27FC236}">
                <a16:creationId xmlns:a16="http://schemas.microsoft.com/office/drawing/2014/main" id="{F41B363C-8284-2945-A09A-1A1C674FF1F7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13645439" y="6497271"/>
            <a:ext cx="8250543" cy="72145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Девятый раздел</a:t>
            </a:r>
          </a:p>
        </p:txBody>
      </p:sp>
      <p:sp>
        <p:nvSpPr>
          <p:cNvPr id="33" name="Текст 6">
            <a:extLst>
              <a:ext uri="{FF2B5EF4-FFF2-40B4-BE49-F238E27FC236}">
                <a16:creationId xmlns:a16="http://schemas.microsoft.com/office/drawing/2014/main" id="{CB7BF8B1-0BC9-2D40-86F1-23CC6E02E4B3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13645439" y="7718674"/>
            <a:ext cx="8250543" cy="72145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Десятый раздел</a:t>
            </a:r>
          </a:p>
        </p:txBody>
      </p:sp>
      <p:sp>
        <p:nvSpPr>
          <p:cNvPr id="34" name="Текст 6">
            <a:extLst>
              <a:ext uri="{FF2B5EF4-FFF2-40B4-BE49-F238E27FC236}">
                <a16:creationId xmlns:a16="http://schemas.microsoft.com/office/drawing/2014/main" id="{DCD4ABA9-BC38-5446-8BF2-755FA568A9A0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13645439" y="8940077"/>
            <a:ext cx="8250543" cy="730616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диннадцатый раздел</a:t>
            </a:r>
          </a:p>
        </p:txBody>
      </p:sp>
      <p:sp>
        <p:nvSpPr>
          <p:cNvPr id="35" name="Текст 6">
            <a:extLst>
              <a:ext uri="{FF2B5EF4-FFF2-40B4-BE49-F238E27FC236}">
                <a16:creationId xmlns:a16="http://schemas.microsoft.com/office/drawing/2014/main" id="{0DF7F257-8C99-F44E-B8DA-82180CA825C4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13645439" y="10170638"/>
            <a:ext cx="8250543" cy="730616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 err="1"/>
              <a:t>Двеннадцатый</a:t>
            </a:r>
            <a:r>
              <a:rPr lang="ru-RU" dirty="0"/>
              <a:t> раздел</a:t>
            </a:r>
          </a:p>
        </p:txBody>
      </p:sp>
      <p:sp>
        <p:nvSpPr>
          <p:cNvPr id="36" name="Текст 6">
            <a:extLst>
              <a:ext uri="{FF2B5EF4-FFF2-40B4-BE49-F238E27FC236}">
                <a16:creationId xmlns:a16="http://schemas.microsoft.com/office/drawing/2014/main" id="{13707BC9-A76A-E044-8DE9-8AAFCB97F3D6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12546453" y="4173979"/>
            <a:ext cx="716431" cy="67193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37" name="Текст 6">
            <a:extLst>
              <a:ext uri="{FF2B5EF4-FFF2-40B4-BE49-F238E27FC236}">
                <a16:creationId xmlns:a16="http://schemas.microsoft.com/office/drawing/2014/main" id="{8CAED0D1-B233-AE42-A2D2-B06657418F37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12546453" y="5288473"/>
            <a:ext cx="716431" cy="72145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38" name="Текст 6">
            <a:extLst>
              <a:ext uri="{FF2B5EF4-FFF2-40B4-BE49-F238E27FC236}">
                <a16:creationId xmlns:a16="http://schemas.microsoft.com/office/drawing/2014/main" id="{66772A3E-42A5-8447-8457-35B50EA8EBC1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12546453" y="6497271"/>
            <a:ext cx="716431" cy="72145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39" name="Текст 6">
            <a:extLst>
              <a:ext uri="{FF2B5EF4-FFF2-40B4-BE49-F238E27FC236}">
                <a16:creationId xmlns:a16="http://schemas.microsoft.com/office/drawing/2014/main" id="{ED4B6B31-27BB-3E4F-B4FC-4008D56C0487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12546453" y="7718674"/>
            <a:ext cx="716431" cy="72145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40" name="Текст 6">
            <a:extLst>
              <a:ext uri="{FF2B5EF4-FFF2-40B4-BE49-F238E27FC236}">
                <a16:creationId xmlns:a16="http://schemas.microsoft.com/office/drawing/2014/main" id="{542B3392-46F0-7046-A56B-B90A40ECF928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12546453" y="8940077"/>
            <a:ext cx="716431" cy="730616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41" name="Текст 6">
            <a:extLst>
              <a:ext uri="{FF2B5EF4-FFF2-40B4-BE49-F238E27FC236}">
                <a16:creationId xmlns:a16="http://schemas.microsoft.com/office/drawing/2014/main" id="{5964C3C0-EACE-B846-B843-29CACBD660BB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12546453" y="10170638"/>
            <a:ext cx="716431" cy="730616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7E73C1D-4846-D049-9ED8-534E067F82EA}"/>
              </a:ext>
            </a:extLst>
          </p:cNvPr>
          <p:cNvSpPr txBox="1"/>
          <p:nvPr userDrawn="1"/>
        </p:nvSpPr>
        <p:spPr>
          <a:xfrm>
            <a:off x="12070080" y="1238358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5D99300C-E985-DB4C-8D72-31605BFAE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8348" y="1278688"/>
            <a:ext cx="13354050" cy="124373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</a:t>
            </a:r>
            <a:r>
              <a:rPr lang="ru-RU" dirty="0" err="1"/>
              <a:t>одерж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641929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A33B6579-9BDC-F035-7F2B-BE9E9DC2AF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668759">
            <a:off x="855469" y="411186"/>
            <a:ext cx="22671473" cy="12893628"/>
          </a:xfrm>
          <a:prstGeom prst="rect">
            <a:avLst/>
          </a:prstGeom>
        </p:spPr>
      </p:pic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9D8074AD-672F-4505-F763-1527A91A4D63}"/>
              </a:ext>
            </a:extLst>
          </p:cNvPr>
          <p:cNvSpPr/>
          <p:nvPr userDrawn="1"/>
        </p:nvSpPr>
        <p:spPr>
          <a:xfrm rot="21060000">
            <a:off x="3079800" y="1772901"/>
            <a:ext cx="16909962" cy="6164342"/>
          </a:xfrm>
          <a:prstGeom prst="roundRect">
            <a:avLst>
              <a:gd name="adj" fmla="val 18736"/>
            </a:avLst>
          </a:prstGeom>
          <a:gradFill>
            <a:gsLst>
              <a:gs pos="0">
                <a:srgbClr val="FFC4FF"/>
              </a:gs>
              <a:gs pos="100000">
                <a:srgbClr val="A9FDFF"/>
              </a:gs>
            </a:gsLst>
            <a:lin ang="17400000" scaled="0"/>
          </a:gradFill>
          <a:ln w="19050">
            <a:noFill/>
          </a:ln>
          <a:effectLst>
            <a:outerShdw blurRad="355600" dist="431800" dir="8100000" algn="tr" rotWithShape="0">
              <a:srgbClr val="2D65F4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sp>
        <p:nvSpPr>
          <p:cNvPr id="6" name="Рисунок 14">
            <a:extLst>
              <a:ext uri="{FF2B5EF4-FFF2-40B4-BE49-F238E27FC236}">
                <a16:creationId xmlns:a16="http://schemas.microsoft.com/office/drawing/2014/main" id="{0E032935-A572-3135-075B-C04E21CB4898}"/>
              </a:ext>
            </a:extLst>
          </p:cNvPr>
          <p:cNvSpPr/>
          <p:nvPr userDrawn="1"/>
        </p:nvSpPr>
        <p:spPr>
          <a:xfrm rot="288107" flipH="1">
            <a:off x="8753373" y="7753842"/>
            <a:ext cx="10941728" cy="4131472"/>
          </a:xfrm>
          <a:custGeom>
            <a:avLst/>
            <a:gdLst>
              <a:gd name="connsiteX0" fmla="*/ 1876612 w 7772399"/>
              <a:gd name="connsiteY0" fmla="*/ 2458185 h 2934769"/>
              <a:gd name="connsiteX1" fmla="*/ 1655836 w 7772399"/>
              <a:gd name="connsiteY1" fmla="*/ 2678917 h 2934769"/>
              <a:gd name="connsiteX2" fmla="*/ 1655836 w 7772399"/>
              <a:gd name="connsiteY2" fmla="*/ 2878212 h 2934769"/>
              <a:gd name="connsiteX3" fmla="*/ 1599268 w 7772399"/>
              <a:gd name="connsiteY3" fmla="*/ 2934769 h 2934769"/>
              <a:gd name="connsiteX4" fmla="*/ 1555904 w 7772399"/>
              <a:gd name="connsiteY4" fmla="*/ 2914526 h 2934769"/>
              <a:gd name="connsiteX5" fmla="*/ 1239726 w 7772399"/>
              <a:gd name="connsiteY5" fmla="*/ 2537167 h 2934769"/>
              <a:gd name="connsiteX6" fmla="*/ 1070480 w 7772399"/>
              <a:gd name="connsiteY6" fmla="*/ 2458185 h 2934769"/>
              <a:gd name="connsiteX7" fmla="*/ 802833 w 7772399"/>
              <a:gd name="connsiteY7" fmla="*/ 2458185 h 2934769"/>
              <a:gd name="connsiteX8" fmla="*/ 273970 w 7772399"/>
              <a:gd name="connsiteY8" fmla="*/ 2403502 h 2934769"/>
              <a:gd name="connsiteX9" fmla="*/ 54689 w 7772399"/>
              <a:gd name="connsiteY9" fmla="*/ 2184265 h 2934769"/>
              <a:gd name="connsiteX10" fmla="*/ 0 w 7772399"/>
              <a:gd name="connsiteY10" fmla="*/ 1655510 h 2934769"/>
              <a:gd name="connsiteX11" fmla="*/ 0 w 7772399"/>
              <a:gd name="connsiteY11" fmla="*/ 802668 h 2934769"/>
              <a:gd name="connsiteX12" fmla="*/ 54689 w 7772399"/>
              <a:gd name="connsiteY12" fmla="*/ 273916 h 2934769"/>
              <a:gd name="connsiteX13" fmla="*/ 273971 w 7772399"/>
              <a:gd name="connsiteY13" fmla="*/ 54679 h 2934769"/>
              <a:gd name="connsiteX14" fmla="*/ 802833 w 7772399"/>
              <a:gd name="connsiteY14" fmla="*/ 0 h 2934769"/>
              <a:gd name="connsiteX15" fmla="*/ 6969567 w 7772399"/>
              <a:gd name="connsiteY15" fmla="*/ 1 h 2934769"/>
              <a:gd name="connsiteX16" fmla="*/ 7498434 w 7772399"/>
              <a:gd name="connsiteY16" fmla="*/ 54679 h 2934769"/>
              <a:gd name="connsiteX17" fmla="*/ 7717721 w 7772399"/>
              <a:gd name="connsiteY17" fmla="*/ 273917 h 2934769"/>
              <a:gd name="connsiteX18" fmla="*/ 7772400 w 7772399"/>
              <a:gd name="connsiteY18" fmla="*/ 802675 h 2934769"/>
              <a:gd name="connsiteX19" fmla="*/ 7772400 w 7772399"/>
              <a:gd name="connsiteY19" fmla="*/ 1655510 h 2934769"/>
              <a:gd name="connsiteX20" fmla="*/ 7717721 w 7772399"/>
              <a:gd name="connsiteY20" fmla="*/ 2184265 h 2934769"/>
              <a:gd name="connsiteX21" fmla="*/ 7498434 w 7772399"/>
              <a:gd name="connsiteY21" fmla="*/ 2403502 h 2934769"/>
              <a:gd name="connsiteX22" fmla="*/ 6969567 w 7772399"/>
              <a:gd name="connsiteY22" fmla="*/ 2458185 h 2934769"/>
              <a:gd name="connsiteX23" fmla="*/ 1876612 w 7772399"/>
              <a:gd name="connsiteY23" fmla="*/ 2458185 h 293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7772399" h="2934769">
                <a:moveTo>
                  <a:pt x="1876612" y="2458185"/>
                </a:moveTo>
                <a:cubicBezTo>
                  <a:pt x="1754680" y="2458185"/>
                  <a:pt x="1655836" y="2557009"/>
                  <a:pt x="1655836" y="2678917"/>
                </a:cubicBezTo>
                <a:lnTo>
                  <a:pt x="1655836" y="2878212"/>
                </a:lnTo>
                <a:cubicBezTo>
                  <a:pt x="1655836" y="2909446"/>
                  <a:pt x="1630508" y="2934769"/>
                  <a:pt x="1599268" y="2934769"/>
                </a:cubicBezTo>
                <a:cubicBezTo>
                  <a:pt x="1582528" y="2934769"/>
                  <a:pt x="1566654" y="2927356"/>
                  <a:pt x="1555904" y="2914526"/>
                </a:cubicBezTo>
                <a:lnTo>
                  <a:pt x="1239726" y="2537167"/>
                </a:lnTo>
                <a:cubicBezTo>
                  <a:pt x="1197773" y="2487107"/>
                  <a:pt x="1135808" y="2458185"/>
                  <a:pt x="1070480" y="2458185"/>
                </a:cubicBezTo>
                <a:lnTo>
                  <a:pt x="802833" y="2458185"/>
                </a:lnTo>
                <a:cubicBezTo>
                  <a:pt x="521814" y="2458185"/>
                  <a:pt x="381304" y="2458185"/>
                  <a:pt x="273970" y="2403502"/>
                </a:cubicBezTo>
                <a:cubicBezTo>
                  <a:pt x="179557" y="2355410"/>
                  <a:pt x="102796" y="2278661"/>
                  <a:pt x="54689" y="2184265"/>
                </a:cubicBezTo>
                <a:cubicBezTo>
                  <a:pt x="0" y="2076954"/>
                  <a:pt x="0" y="1936470"/>
                  <a:pt x="0" y="1655510"/>
                </a:cubicBezTo>
                <a:lnTo>
                  <a:pt x="0" y="802668"/>
                </a:lnTo>
                <a:cubicBezTo>
                  <a:pt x="0" y="521710"/>
                  <a:pt x="0" y="381230"/>
                  <a:pt x="54689" y="273916"/>
                </a:cubicBezTo>
                <a:cubicBezTo>
                  <a:pt x="102796" y="179521"/>
                  <a:pt x="179557" y="102776"/>
                  <a:pt x="273971" y="54679"/>
                </a:cubicBezTo>
                <a:cubicBezTo>
                  <a:pt x="381305" y="0"/>
                  <a:pt x="521814" y="0"/>
                  <a:pt x="802833" y="0"/>
                </a:cubicBezTo>
                <a:lnTo>
                  <a:pt x="6969567" y="1"/>
                </a:lnTo>
                <a:cubicBezTo>
                  <a:pt x="7250590" y="1"/>
                  <a:pt x="7391080" y="1"/>
                  <a:pt x="7498434" y="54679"/>
                </a:cubicBezTo>
                <a:cubicBezTo>
                  <a:pt x="7592834" y="102776"/>
                  <a:pt x="7669627" y="179522"/>
                  <a:pt x="7717721" y="273917"/>
                </a:cubicBezTo>
                <a:cubicBezTo>
                  <a:pt x="7772400" y="381230"/>
                  <a:pt x="7772400" y="521711"/>
                  <a:pt x="7772400" y="802675"/>
                </a:cubicBezTo>
                <a:lnTo>
                  <a:pt x="7772400" y="1655510"/>
                </a:lnTo>
                <a:cubicBezTo>
                  <a:pt x="7772400" y="1936470"/>
                  <a:pt x="7772400" y="2076954"/>
                  <a:pt x="7717721" y="2184265"/>
                </a:cubicBezTo>
                <a:cubicBezTo>
                  <a:pt x="7669627" y="2278661"/>
                  <a:pt x="7592834" y="2355410"/>
                  <a:pt x="7498434" y="2403502"/>
                </a:cubicBezTo>
                <a:cubicBezTo>
                  <a:pt x="7391080" y="2458185"/>
                  <a:pt x="7250590" y="2458185"/>
                  <a:pt x="6969567" y="2458185"/>
                </a:cubicBezTo>
                <a:lnTo>
                  <a:pt x="1876612" y="2458185"/>
                </a:lnTo>
                <a:close/>
              </a:path>
            </a:pathLst>
          </a:custGeom>
          <a:gradFill>
            <a:gsLst>
              <a:gs pos="52000">
                <a:schemeClr val="bg1"/>
              </a:gs>
              <a:gs pos="100000">
                <a:schemeClr val="tx2">
                  <a:lumMod val="40000"/>
                  <a:lumOff val="60000"/>
                </a:schemeClr>
              </a:gs>
            </a:gsLst>
            <a:lin ang="7800000" scaled="0"/>
          </a:gradFill>
          <a:ln w="13362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1660373-6DE1-FAA3-0FFD-81724ADF29F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0321" y="1470429"/>
            <a:ext cx="1752600" cy="161290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435C52A-EAE0-A984-99C6-8C63E4D878C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34619" y="5311038"/>
            <a:ext cx="1409700" cy="1866900"/>
          </a:xfrm>
          <a:prstGeom prst="rect">
            <a:avLst/>
          </a:prstGeom>
        </p:spPr>
      </p:pic>
      <p:sp>
        <p:nvSpPr>
          <p:cNvPr id="10" name="Заголовок 8">
            <a:extLst>
              <a:ext uri="{FF2B5EF4-FFF2-40B4-BE49-F238E27FC236}">
                <a16:creationId xmlns:a16="http://schemas.microsoft.com/office/drawing/2014/main" id="{FAC6CE23-FDE4-7B2C-65EE-B7CB5CD850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21065317">
            <a:off x="3671076" y="3743326"/>
            <a:ext cx="15592464" cy="2270173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algn="ctr" defTabSz="1828595" rtl="0" eaLnBrk="1" latinLnBrk="0" hangingPunct="1">
              <a:lnSpc>
                <a:spcPct val="80000"/>
              </a:lnSpc>
              <a:defRPr lang="ru-RU" sz="88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YS Text Wide Heavy Wide" pitchFamily="2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2" name="Текст 11">
            <a:extLst>
              <a:ext uri="{FF2B5EF4-FFF2-40B4-BE49-F238E27FC236}">
                <a16:creationId xmlns:a16="http://schemas.microsoft.com/office/drawing/2014/main" id="{89D5E91A-C268-4A27-4877-E50E66061B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 rot="282145">
            <a:off x="9081685" y="8684019"/>
            <a:ext cx="10285104" cy="149579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algn="ctr" defTabSz="1828595" rtl="0" eaLnBrk="1" latinLnBrk="0" hangingPunct="1">
              <a:lnSpc>
                <a:spcPct val="90000"/>
              </a:lnSpc>
              <a:spcAft>
                <a:spcPts val="0"/>
              </a:spcAft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ение </a:t>
            </a:r>
            <a:br>
              <a:rPr lang="ru-RU" dirty="0"/>
            </a:br>
            <a:r>
              <a:rPr lang="ru-RU" dirty="0"/>
              <a:t>к заголовку</a:t>
            </a:r>
          </a:p>
        </p:txBody>
      </p:sp>
    </p:spTree>
    <p:extLst>
      <p:ext uri="{BB962C8B-B14F-4D97-AF65-F5344CB8AC3E}">
        <p14:creationId xmlns:p14="http://schemas.microsoft.com/office/powerpoint/2010/main" val="215057117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">
    <p:bg>
      <p:bgPr>
        <a:gradFill>
          <a:gsLst>
            <a:gs pos="0">
              <a:srgbClr val="2D65F4"/>
            </a:gs>
            <a:gs pos="99000">
              <a:srgbClr val="6D98FF"/>
            </a:gs>
          </a:gsLst>
          <a:lin ang="4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A33B6579-9BDC-F035-7F2B-BE9E9DC2AF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7744250" flipH="1" flipV="1">
            <a:off x="-5088131" y="3317672"/>
            <a:ext cx="22671473" cy="12893628"/>
          </a:xfrm>
          <a:prstGeom prst="rect">
            <a:avLst/>
          </a:prstGeom>
        </p:spPr>
      </p:pic>
      <p:sp>
        <p:nvSpPr>
          <p:cNvPr id="4" name="Рисунок 2">
            <a:extLst>
              <a:ext uri="{FF2B5EF4-FFF2-40B4-BE49-F238E27FC236}">
                <a16:creationId xmlns:a16="http://schemas.microsoft.com/office/drawing/2014/main" id="{973D253E-241F-BA8B-40C1-8FF650C90611}"/>
              </a:ext>
            </a:extLst>
          </p:cNvPr>
          <p:cNvSpPr/>
          <p:nvPr/>
        </p:nvSpPr>
        <p:spPr>
          <a:xfrm>
            <a:off x="1838092" y="2327848"/>
            <a:ext cx="20706228" cy="7686804"/>
          </a:xfrm>
          <a:custGeom>
            <a:avLst/>
            <a:gdLst>
              <a:gd name="connsiteX0" fmla="*/ 15900619 w 20706228"/>
              <a:gd name="connsiteY0" fmla="*/ 1136310 h 7686804"/>
              <a:gd name="connsiteX1" fmla="*/ 16468737 w 20706228"/>
              <a:gd name="connsiteY1" fmla="*/ 568155 h 7686804"/>
              <a:gd name="connsiteX2" fmla="*/ 16468737 w 20706228"/>
              <a:gd name="connsiteY2" fmla="*/ 134996 h 7686804"/>
              <a:gd name="connsiteX3" fmla="*/ 16603748 w 20706228"/>
              <a:gd name="connsiteY3" fmla="*/ 0 h 7686804"/>
              <a:gd name="connsiteX4" fmla="*/ 16707212 w 20706228"/>
              <a:gd name="connsiteY4" fmla="*/ 48388 h 7686804"/>
              <a:gd name="connsiteX5" fmla="*/ 17440820 w 20706228"/>
              <a:gd name="connsiteY5" fmla="*/ 925471 h 7686804"/>
              <a:gd name="connsiteX6" fmla="*/ 17891972 w 20706228"/>
              <a:gd name="connsiteY6" fmla="*/ 1136310 h 7686804"/>
              <a:gd name="connsiteX7" fmla="*/ 18567432 w 20706228"/>
              <a:gd name="connsiteY7" fmla="*/ 1136310 h 7686804"/>
              <a:gd name="connsiteX8" fmla="*/ 19976364 w 20706228"/>
              <a:gd name="connsiteY8" fmla="*/ 1282016 h 7686804"/>
              <a:gd name="connsiteX9" fmla="*/ 20560522 w 20706228"/>
              <a:gd name="connsiteY9" fmla="*/ 1866236 h 7686804"/>
              <a:gd name="connsiteX10" fmla="*/ 20706228 w 20706228"/>
              <a:gd name="connsiteY10" fmla="*/ 3275247 h 7686804"/>
              <a:gd name="connsiteX11" fmla="*/ 20706228 w 20706228"/>
              <a:gd name="connsiteY11" fmla="*/ 5547867 h 7686804"/>
              <a:gd name="connsiteX12" fmla="*/ 20560522 w 20706228"/>
              <a:gd name="connsiteY12" fmla="*/ 6956879 h 7686804"/>
              <a:gd name="connsiteX13" fmla="*/ 19976364 w 20706228"/>
              <a:gd name="connsiteY13" fmla="*/ 7541103 h 7686804"/>
              <a:gd name="connsiteX14" fmla="*/ 18567432 w 20706228"/>
              <a:gd name="connsiteY14" fmla="*/ 7686804 h 7686804"/>
              <a:gd name="connsiteX15" fmla="*/ 2138797 w 20706228"/>
              <a:gd name="connsiteY15" fmla="*/ 7686804 h 7686804"/>
              <a:gd name="connsiteX16" fmla="*/ 729877 w 20706228"/>
              <a:gd name="connsiteY16" fmla="*/ 7541103 h 7686804"/>
              <a:gd name="connsiteX17" fmla="*/ 145696 w 20706228"/>
              <a:gd name="connsiteY17" fmla="*/ 6956879 h 7686804"/>
              <a:gd name="connsiteX18" fmla="*/ 0 w 20706228"/>
              <a:gd name="connsiteY18" fmla="*/ 5547867 h 7686804"/>
              <a:gd name="connsiteX19" fmla="*/ 0 w 20706228"/>
              <a:gd name="connsiteY19" fmla="*/ 3275247 h 7686804"/>
              <a:gd name="connsiteX20" fmla="*/ 145696 w 20706228"/>
              <a:gd name="connsiteY20" fmla="*/ 1866236 h 7686804"/>
              <a:gd name="connsiteX21" fmla="*/ 729877 w 20706228"/>
              <a:gd name="connsiteY21" fmla="*/ 1282016 h 7686804"/>
              <a:gd name="connsiteX22" fmla="*/ 2138797 w 20706228"/>
              <a:gd name="connsiteY22" fmla="*/ 1136310 h 7686804"/>
              <a:gd name="connsiteX23" fmla="*/ 15900619 w 20706228"/>
              <a:gd name="connsiteY23" fmla="*/ 1136310 h 7686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0706228" h="7686804">
                <a:moveTo>
                  <a:pt x="15900619" y="1136310"/>
                </a:moveTo>
                <a:cubicBezTo>
                  <a:pt x="16214353" y="1136310"/>
                  <a:pt x="16468737" y="881938"/>
                  <a:pt x="16468737" y="568155"/>
                </a:cubicBezTo>
                <a:lnTo>
                  <a:pt x="16468737" y="134996"/>
                </a:lnTo>
                <a:cubicBezTo>
                  <a:pt x="16468737" y="60440"/>
                  <a:pt x="16529158" y="0"/>
                  <a:pt x="16603748" y="0"/>
                </a:cubicBezTo>
                <a:cubicBezTo>
                  <a:pt x="16643716" y="0"/>
                  <a:pt x="16681681" y="17721"/>
                  <a:pt x="16707212" y="48388"/>
                </a:cubicBezTo>
                <a:lnTo>
                  <a:pt x="17440820" y="925471"/>
                </a:lnTo>
                <a:cubicBezTo>
                  <a:pt x="17552572" y="1059096"/>
                  <a:pt x="17717794" y="1136310"/>
                  <a:pt x="17891972" y="1136310"/>
                </a:cubicBezTo>
                <a:lnTo>
                  <a:pt x="18567432" y="1136310"/>
                </a:lnTo>
                <a:cubicBezTo>
                  <a:pt x="19316144" y="1136310"/>
                  <a:pt x="19690434" y="1136310"/>
                  <a:pt x="19976364" y="1282016"/>
                </a:cubicBezTo>
                <a:cubicBezTo>
                  <a:pt x="20227940" y="1410188"/>
                  <a:pt x="20432328" y="1614697"/>
                  <a:pt x="20560522" y="1866236"/>
                </a:cubicBezTo>
                <a:cubicBezTo>
                  <a:pt x="20706228" y="2152198"/>
                  <a:pt x="20706228" y="2526552"/>
                  <a:pt x="20706228" y="3275247"/>
                </a:cubicBezTo>
                <a:lnTo>
                  <a:pt x="20706228" y="5547867"/>
                </a:lnTo>
                <a:cubicBezTo>
                  <a:pt x="20706228" y="6296562"/>
                  <a:pt x="20706228" y="6670916"/>
                  <a:pt x="20560522" y="6956879"/>
                </a:cubicBezTo>
                <a:cubicBezTo>
                  <a:pt x="20432328" y="7208418"/>
                  <a:pt x="20227940" y="7412927"/>
                  <a:pt x="19976364" y="7541103"/>
                </a:cubicBezTo>
                <a:cubicBezTo>
                  <a:pt x="19690434" y="7686804"/>
                  <a:pt x="19316144" y="7686804"/>
                  <a:pt x="18567432" y="7686804"/>
                </a:cubicBezTo>
                <a:lnTo>
                  <a:pt x="2138797" y="7686804"/>
                </a:lnTo>
                <a:cubicBezTo>
                  <a:pt x="1390151" y="7686804"/>
                  <a:pt x="1015823" y="7686804"/>
                  <a:pt x="729877" y="7541103"/>
                </a:cubicBezTo>
                <a:cubicBezTo>
                  <a:pt x="478351" y="7412927"/>
                  <a:pt x="273856" y="7208418"/>
                  <a:pt x="145696" y="6956879"/>
                </a:cubicBezTo>
                <a:cubicBezTo>
                  <a:pt x="0" y="6670916"/>
                  <a:pt x="0" y="6296562"/>
                  <a:pt x="0" y="5547867"/>
                </a:cubicBezTo>
                <a:lnTo>
                  <a:pt x="0" y="3275247"/>
                </a:lnTo>
                <a:cubicBezTo>
                  <a:pt x="0" y="2526552"/>
                  <a:pt x="0" y="2152198"/>
                  <a:pt x="145696" y="1866236"/>
                </a:cubicBezTo>
                <a:cubicBezTo>
                  <a:pt x="273856" y="1614697"/>
                  <a:pt x="478351" y="1410188"/>
                  <a:pt x="729877" y="1282016"/>
                </a:cubicBezTo>
                <a:cubicBezTo>
                  <a:pt x="1015823" y="1136310"/>
                  <a:pt x="1390151" y="1136310"/>
                  <a:pt x="2138797" y="1136310"/>
                </a:cubicBezTo>
                <a:lnTo>
                  <a:pt x="15900619" y="1136310"/>
                </a:lnTo>
                <a:close/>
              </a:path>
            </a:pathLst>
          </a:custGeom>
          <a:gradFill>
            <a:gsLst>
              <a:gs pos="55000">
                <a:schemeClr val="bg1"/>
              </a:gs>
              <a:gs pos="99000">
                <a:schemeClr val="tx2">
                  <a:lumMod val="40000"/>
                  <a:lumOff val="60000"/>
                </a:schemeClr>
              </a:gs>
            </a:gsLst>
            <a:lin ang="4800000" scaled="0"/>
          </a:gradFill>
          <a:ln w="1336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" name="Текст 11">
            <a:extLst>
              <a:ext uri="{FF2B5EF4-FFF2-40B4-BE49-F238E27FC236}">
                <a16:creationId xmlns:a16="http://schemas.microsoft.com/office/drawing/2014/main" id="{AF2ED8C9-9430-B815-879E-6C3C95CA75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73620" y="5240984"/>
            <a:ext cx="18153523" cy="31854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Aft>
                <a:spcPts val="0"/>
              </a:spcAft>
              <a:defRPr lang="ru-RU" sz="115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DEEC95E6-F20C-6484-55AC-439110CED6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9885"/>
                    </a14:imgEffect>
                    <a14:imgEffect>
                      <a14:brightnessContrast contrast="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7143" y="844550"/>
            <a:ext cx="1611774" cy="1483299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391EFD3-F6E7-CF1E-7C25-5FB9C3784FA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9885"/>
                    </a14:imgEffect>
                    <a14:imgEffect>
                      <a14:brightnessContrast contrast="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989127">
            <a:off x="10022779" y="11387887"/>
            <a:ext cx="1643711" cy="1876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89244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со спикером и должностью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A33B6579-9BDC-F035-7F2B-BE9E9DC2AF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20931241" flipH="1">
            <a:off x="-1904119" y="-1158236"/>
            <a:ext cx="28190648" cy="16032472"/>
          </a:xfrm>
          <a:prstGeom prst="rect">
            <a:avLst/>
          </a:prstGeom>
        </p:spPr>
      </p:pic>
      <p:sp>
        <p:nvSpPr>
          <p:cNvPr id="4" name="Рисунок 4">
            <a:extLst>
              <a:ext uri="{FF2B5EF4-FFF2-40B4-BE49-F238E27FC236}">
                <a16:creationId xmlns:a16="http://schemas.microsoft.com/office/drawing/2014/main" id="{061E7E20-E7A2-989B-F578-7B5BFB14AC8D}"/>
              </a:ext>
            </a:extLst>
          </p:cNvPr>
          <p:cNvSpPr/>
          <p:nvPr/>
        </p:nvSpPr>
        <p:spPr>
          <a:xfrm flipH="1" flipV="1">
            <a:off x="1838092" y="2171902"/>
            <a:ext cx="20706228" cy="7686804"/>
          </a:xfrm>
          <a:custGeom>
            <a:avLst/>
            <a:gdLst>
              <a:gd name="connsiteX0" fmla="*/ 15900619 w 20706228"/>
              <a:gd name="connsiteY0" fmla="*/ 1136310 h 7686804"/>
              <a:gd name="connsiteX1" fmla="*/ 16468737 w 20706228"/>
              <a:gd name="connsiteY1" fmla="*/ 568155 h 7686804"/>
              <a:gd name="connsiteX2" fmla="*/ 16468737 w 20706228"/>
              <a:gd name="connsiteY2" fmla="*/ 134996 h 7686804"/>
              <a:gd name="connsiteX3" fmla="*/ 16603748 w 20706228"/>
              <a:gd name="connsiteY3" fmla="*/ 0 h 7686804"/>
              <a:gd name="connsiteX4" fmla="*/ 16707212 w 20706228"/>
              <a:gd name="connsiteY4" fmla="*/ 48388 h 7686804"/>
              <a:gd name="connsiteX5" fmla="*/ 17440820 w 20706228"/>
              <a:gd name="connsiteY5" fmla="*/ 925471 h 7686804"/>
              <a:gd name="connsiteX6" fmla="*/ 17891972 w 20706228"/>
              <a:gd name="connsiteY6" fmla="*/ 1136310 h 7686804"/>
              <a:gd name="connsiteX7" fmla="*/ 18567432 w 20706228"/>
              <a:gd name="connsiteY7" fmla="*/ 1136310 h 7686804"/>
              <a:gd name="connsiteX8" fmla="*/ 19976364 w 20706228"/>
              <a:gd name="connsiteY8" fmla="*/ 1282016 h 7686804"/>
              <a:gd name="connsiteX9" fmla="*/ 20560522 w 20706228"/>
              <a:gd name="connsiteY9" fmla="*/ 1866236 h 7686804"/>
              <a:gd name="connsiteX10" fmla="*/ 20706228 w 20706228"/>
              <a:gd name="connsiteY10" fmla="*/ 3275247 h 7686804"/>
              <a:gd name="connsiteX11" fmla="*/ 20706228 w 20706228"/>
              <a:gd name="connsiteY11" fmla="*/ 5547867 h 7686804"/>
              <a:gd name="connsiteX12" fmla="*/ 20560522 w 20706228"/>
              <a:gd name="connsiteY12" fmla="*/ 6956879 h 7686804"/>
              <a:gd name="connsiteX13" fmla="*/ 19976364 w 20706228"/>
              <a:gd name="connsiteY13" fmla="*/ 7541103 h 7686804"/>
              <a:gd name="connsiteX14" fmla="*/ 18567432 w 20706228"/>
              <a:gd name="connsiteY14" fmla="*/ 7686804 h 7686804"/>
              <a:gd name="connsiteX15" fmla="*/ 2138797 w 20706228"/>
              <a:gd name="connsiteY15" fmla="*/ 7686804 h 7686804"/>
              <a:gd name="connsiteX16" fmla="*/ 729877 w 20706228"/>
              <a:gd name="connsiteY16" fmla="*/ 7541103 h 7686804"/>
              <a:gd name="connsiteX17" fmla="*/ 145696 w 20706228"/>
              <a:gd name="connsiteY17" fmla="*/ 6956879 h 7686804"/>
              <a:gd name="connsiteX18" fmla="*/ 0 w 20706228"/>
              <a:gd name="connsiteY18" fmla="*/ 5547867 h 7686804"/>
              <a:gd name="connsiteX19" fmla="*/ 0 w 20706228"/>
              <a:gd name="connsiteY19" fmla="*/ 3275247 h 7686804"/>
              <a:gd name="connsiteX20" fmla="*/ 145696 w 20706228"/>
              <a:gd name="connsiteY20" fmla="*/ 1866236 h 7686804"/>
              <a:gd name="connsiteX21" fmla="*/ 729877 w 20706228"/>
              <a:gd name="connsiteY21" fmla="*/ 1282016 h 7686804"/>
              <a:gd name="connsiteX22" fmla="*/ 2138797 w 20706228"/>
              <a:gd name="connsiteY22" fmla="*/ 1136310 h 7686804"/>
              <a:gd name="connsiteX23" fmla="*/ 15900619 w 20706228"/>
              <a:gd name="connsiteY23" fmla="*/ 1136310 h 7686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0706228" h="7686804">
                <a:moveTo>
                  <a:pt x="15900619" y="1136310"/>
                </a:moveTo>
                <a:cubicBezTo>
                  <a:pt x="16214353" y="1136310"/>
                  <a:pt x="16468737" y="881938"/>
                  <a:pt x="16468737" y="568155"/>
                </a:cubicBezTo>
                <a:lnTo>
                  <a:pt x="16468737" y="134996"/>
                </a:lnTo>
                <a:cubicBezTo>
                  <a:pt x="16468737" y="60440"/>
                  <a:pt x="16529158" y="0"/>
                  <a:pt x="16603748" y="0"/>
                </a:cubicBezTo>
                <a:cubicBezTo>
                  <a:pt x="16643716" y="0"/>
                  <a:pt x="16681681" y="17721"/>
                  <a:pt x="16707212" y="48388"/>
                </a:cubicBezTo>
                <a:lnTo>
                  <a:pt x="17440820" y="925471"/>
                </a:lnTo>
                <a:cubicBezTo>
                  <a:pt x="17552572" y="1059096"/>
                  <a:pt x="17717794" y="1136310"/>
                  <a:pt x="17891972" y="1136310"/>
                </a:cubicBezTo>
                <a:lnTo>
                  <a:pt x="18567432" y="1136310"/>
                </a:lnTo>
                <a:cubicBezTo>
                  <a:pt x="19316144" y="1136310"/>
                  <a:pt x="19690434" y="1136310"/>
                  <a:pt x="19976364" y="1282016"/>
                </a:cubicBezTo>
                <a:cubicBezTo>
                  <a:pt x="20227940" y="1410188"/>
                  <a:pt x="20432328" y="1614697"/>
                  <a:pt x="20560522" y="1866236"/>
                </a:cubicBezTo>
                <a:cubicBezTo>
                  <a:pt x="20706228" y="2152198"/>
                  <a:pt x="20706228" y="2526552"/>
                  <a:pt x="20706228" y="3275247"/>
                </a:cubicBezTo>
                <a:lnTo>
                  <a:pt x="20706228" y="5547867"/>
                </a:lnTo>
                <a:cubicBezTo>
                  <a:pt x="20706228" y="6296562"/>
                  <a:pt x="20706228" y="6670916"/>
                  <a:pt x="20560522" y="6956879"/>
                </a:cubicBezTo>
                <a:cubicBezTo>
                  <a:pt x="20432328" y="7208418"/>
                  <a:pt x="20227940" y="7412927"/>
                  <a:pt x="19976364" y="7541103"/>
                </a:cubicBezTo>
                <a:cubicBezTo>
                  <a:pt x="19690434" y="7686804"/>
                  <a:pt x="19316144" y="7686804"/>
                  <a:pt x="18567432" y="7686804"/>
                </a:cubicBezTo>
                <a:lnTo>
                  <a:pt x="2138797" y="7686804"/>
                </a:lnTo>
                <a:cubicBezTo>
                  <a:pt x="1390151" y="7686804"/>
                  <a:pt x="1015823" y="7686804"/>
                  <a:pt x="729877" y="7541103"/>
                </a:cubicBezTo>
                <a:cubicBezTo>
                  <a:pt x="478351" y="7412927"/>
                  <a:pt x="273856" y="7208418"/>
                  <a:pt x="145696" y="6956879"/>
                </a:cubicBezTo>
                <a:cubicBezTo>
                  <a:pt x="0" y="6670916"/>
                  <a:pt x="0" y="6296562"/>
                  <a:pt x="0" y="5547867"/>
                </a:cubicBezTo>
                <a:lnTo>
                  <a:pt x="0" y="3275247"/>
                </a:lnTo>
                <a:cubicBezTo>
                  <a:pt x="0" y="2526552"/>
                  <a:pt x="0" y="2152198"/>
                  <a:pt x="145696" y="1866236"/>
                </a:cubicBezTo>
                <a:cubicBezTo>
                  <a:pt x="273856" y="1614697"/>
                  <a:pt x="478351" y="1410188"/>
                  <a:pt x="729877" y="1282016"/>
                </a:cubicBezTo>
                <a:cubicBezTo>
                  <a:pt x="1015823" y="1136310"/>
                  <a:pt x="1390151" y="1136310"/>
                  <a:pt x="2138797" y="1136310"/>
                </a:cubicBezTo>
                <a:lnTo>
                  <a:pt x="15900619" y="1136310"/>
                </a:lnTo>
                <a:close/>
              </a:path>
            </a:pathLst>
          </a:custGeom>
          <a:gradFill>
            <a:gsLst>
              <a:gs pos="52000">
                <a:schemeClr val="bg1"/>
              </a:gs>
              <a:gs pos="94000">
                <a:schemeClr val="tx2">
                  <a:lumMod val="40000"/>
                  <a:lumOff val="60000"/>
                </a:schemeClr>
              </a:gs>
            </a:gsLst>
            <a:lin ang="13800000" scaled="0"/>
          </a:gradFill>
          <a:ln w="13362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1660373-6DE1-FAA3-0FFD-81724ADF29F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15420" y="10577919"/>
            <a:ext cx="1752600" cy="161290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435C52A-EAE0-A984-99C6-8C63E4D878C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4692" y="1699206"/>
            <a:ext cx="1409700" cy="18669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89D5E91A-C268-4A27-4877-E50E66061B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14392" y="3093408"/>
            <a:ext cx="18953628" cy="498598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algn="ctr" defTabSz="1828595" rtl="0" eaLnBrk="1" latinLnBrk="0" hangingPunct="1">
              <a:lnSpc>
                <a:spcPct val="90000"/>
              </a:lnSpc>
              <a:spcAft>
                <a:spcPts val="0"/>
              </a:spcAft>
              <a:defRPr lang="ru-RU" sz="72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линное </a:t>
            </a:r>
            <a:br>
              <a:rPr lang="ru-RU" dirty="0"/>
            </a:br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резентации</a:t>
            </a:r>
            <a:br>
              <a:rPr lang="ru-RU" dirty="0"/>
            </a:br>
            <a:r>
              <a:rPr lang="ru-RU" dirty="0"/>
              <a:t>можно</a:t>
            </a:r>
            <a:br>
              <a:rPr lang="ru-RU" dirty="0"/>
            </a:br>
            <a:r>
              <a:rPr lang="ru-RU" dirty="0"/>
              <a:t>в пять строк</a:t>
            </a:r>
          </a:p>
        </p:txBody>
      </p:sp>
    </p:spTree>
    <p:extLst>
      <p:ext uri="{BB962C8B-B14F-4D97-AF65-F5344CB8AC3E}">
        <p14:creationId xmlns:p14="http://schemas.microsoft.com/office/powerpoint/2010/main" val="296361498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асибо за внимание с контактами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FFAC3081-E244-8AA8-4A42-AAE98698625C}"/>
              </a:ext>
            </a:extLst>
          </p:cNvPr>
          <p:cNvGrpSpPr/>
          <p:nvPr userDrawn="1"/>
        </p:nvGrpSpPr>
        <p:grpSpPr>
          <a:xfrm rot="19972933">
            <a:off x="-1499993" y="-614548"/>
            <a:ext cx="13923134" cy="13923122"/>
            <a:chOff x="8457443" y="3124241"/>
            <a:chExt cx="7465181" cy="7465176"/>
          </a:xfrm>
        </p:grpSpPr>
        <p:sp>
          <p:nvSpPr>
            <p:cNvPr id="16" name="Полилиния 15">
              <a:extLst>
                <a:ext uri="{FF2B5EF4-FFF2-40B4-BE49-F238E27FC236}">
                  <a16:creationId xmlns:a16="http://schemas.microsoft.com/office/drawing/2014/main" id="{38525182-092C-CB57-1607-82003BE767CE}"/>
                </a:ext>
              </a:extLst>
            </p:cNvPr>
            <p:cNvSpPr/>
            <p:nvPr/>
          </p:nvSpPr>
          <p:spPr>
            <a:xfrm>
              <a:off x="8457443" y="3124241"/>
              <a:ext cx="7465181" cy="7465176"/>
            </a:xfrm>
            <a:custGeom>
              <a:avLst/>
              <a:gdLst>
                <a:gd name="connsiteX0" fmla="*/ 7465182 w 7465181"/>
                <a:gd name="connsiteY0" fmla="*/ 414917 h 7465176"/>
                <a:gd name="connsiteX1" fmla="*/ 414917 w 7465181"/>
                <a:gd name="connsiteY1" fmla="*/ 0 h 7465176"/>
                <a:gd name="connsiteX2" fmla="*/ 0 w 7465181"/>
                <a:gd name="connsiteY2" fmla="*/ 7050259 h 7465176"/>
                <a:gd name="connsiteX3" fmla="*/ 7050263 w 7465181"/>
                <a:gd name="connsiteY3" fmla="*/ 7465177 h 7465176"/>
                <a:gd name="connsiteX4" fmla="*/ 7465182 w 7465181"/>
                <a:gd name="connsiteY4" fmla="*/ 414917 h 7465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5181" h="7465176">
                  <a:moveTo>
                    <a:pt x="7465182" y="414917"/>
                  </a:moveTo>
                  <a:lnTo>
                    <a:pt x="414917" y="0"/>
                  </a:lnTo>
                  <a:lnTo>
                    <a:pt x="0" y="7050259"/>
                  </a:lnTo>
                  <a:lnTo>
                    <a:pt x="7050263" y="7465177"/>
                  </a:lnTo>
                  <a:lnTo>
                    <a:pt x="7465182" y="414917"/>
                  </a:lnTo>
                  <a:close/>
                </a:path>
              </a:pathLst>
            </a:custGeom>
            <a:noFill/>
            <a:ln w="508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 16">
              <a:extLst>
                <a:ext uri="{FF2B5EF4-FFF2-40B4-BE49-F238E27FC236}">
                  <a16:creationId xmlns:a16="http://schemas.microsoft.com/office/drawing/2014/main" id="{32C60F38-FFAF-EACF-53D5-CD81CF8342A2}"/>
                </a:ext>
              </a:extLst>
            </p:cNvPr>
            <p:cNvSpPr/>
            <p:nvPr/>
          </p:nvSpPr>
          <p:spPr>
            <a:xfrm>
              <a:off x="8999766" y="3156161"/>
              <a:ext cx="414911" cy="7050256"/>
            </a:xfrm>
            <a:custGeom>
              <a:avLst/>
              <a:gdLst>
                <a:gd name="connsiteX0" fmla="*/ 414912 w 414911"/>
                <a:gd name="connsiteY0" fmla="*/ 0 h 7050256"/>
                <a:gd name="connsiteX1" fmla="*/ 0 w 414911"/>
                <a:gd name="connsiteY1" fmla="*/ 7050257 h 7050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4911" h="7050256">
                  <a:moveTo>
                    <a:pt x="414912" y="0"/>
                  </a:moveTo>
                  <a:lnTo>
                    <a:pt x="0" y="7050257"/>
                  </a:lnTo>
                </a:path>
              </a:pathLst>
            </a:custGeom>
            <a:noFill/>
            <a:ln w="508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 17">
              <a:extLst>
                <a:ext uri="{FF2B5EF4-FFF2-40B4-BE49-F238E27FC236}">
                  <a16:creationId xmlns:a16="http://schemas.microsoft.com/office/drawing/2014/main" id="{CF7E5FFC-5ADD-09B7-0991-6679EE8A9383}"/>
                </a:ext>
              </a:extLst>
            </p:cNvPr>
            <p:cNvSpPr/>
            <p:nvPr/>
          </p:nvSpPr>
          <p:spPr>
            <a:xfrm>
              <a:off x="9542074" y="3188033"/>
              <a:ext cx="414937" cy="7050684"/>
            </a:xfrm>
            <a:custGeom>
              <a:avLst/>
              <a:gdLst>
                <a:gd name="connsiteX0" fmla="*/ 414938 w 414937"/>
                <a:gd name="connsiteY0" fmla="*/ 0 h 7050684"/>
                <a:gd name="connsiteX1" fmla="*/ 307362 w 414937"/>
                <a:gd name="connsiteY1" fmla="*/ 1827955 h 7050684"/>
                <a:gd name="connsiteX2" fmla="*/ 107575 w 414937"/>
                <a:gd name="connsiteY2" fmla="*/ 5222732 h 7050684"/>
                <a:gd name="connsiteX3" fmla="*/ 0 w 414937"/>
                <a:gd name="connsiteY3" fmla="*/ 7050685 h 7050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4937" h="7050684">
                  <a:moveTo>
                    <a:pt x="414938" y="0"/>
                  </a:moveTo>
                  <a:lnTo>
                    <a:pt x="307362" y="1827955"/>
                  </a:lnTo>
                  <a:cubicBezTo>
                    <a:pt x="131369" y="2973489"/>
                    <a:pt x="108785" y="4083589"/>
                    <a:pt x="107575" y="5222732"/>
                  </a:cubicBezTo>
                  <a:lnTo>
                    <a:pt x="0" y="7050685"/>
                  </a:lnTo>
                </a:path>
              </a:pathLst>
            </a:custGeom>
            <a:noFill/>
            <a:ln w="508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 18">
              <a:extLst>
                <a:ext uri="{FF2B5EF4-FFF2-40B4-BE49-F238E27FC236}">
                  <a16:creationId xmlns:a16="http://schemas.microsoft.com/office/drawing/2014/main" id="{4909D698-8AE1-895A-04FA-DB6D75F81C7E}"/>
                </a:ext>
              </a:extLst>
            </p:cNvPr>
            <p:cNvSpPr/>
            <p:nvPr/>
          </p:nvSpPr>
          <p:spPr>
            <a:xfrm>
              <a:off x="9834262" y="3219970"/>
              <a:ext cx="665046" cy="7050256"/>
            </a:xfrm>
            <a:custGeom>
              <a:avLst/>
              <a:gdLst>
                <a:gd name="connsiteX0" fmla="*/ 665046 w 665046"/>
                <a:gd name="connsiteY0" fmla="*/ 0 h 7050256"/>
                <a:gd name="connsiteX1" fmla="*/ 579760 w 665046"/>
                <a:gd name="connsiteY1" fmla="*/ 1449242 h 7050256"/>
                <a:gd name="connsiteX2" fmla="*/ 522238 w 665046"/>
                <a:gd name="connsiteY2" fmla="*/ 1794676 h 7050256"/>
                <a:gd name="connsiteX3" fmla="*/ 318813 w 665046"/>
                <a:gd name="connsiteY3" fmla="*/ 5251222 h 7050256"/>
                <a:gd name="connsiteX4" fmla="*/ 335424 w 665046"/>
                <a:gd name="connsiteY4" fmla="*/ 5601019 h 7050256"/>
                <a:gd name="connsiteX5" fmla="*/ 250128 w 665046"/>
                <a:gd name="connsiteY5" fmla="*/ 7050257 h 7050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5046" h="7050256">
                  <a:moveTo>
                    <a:pt x="665046" y="0"/>
                  </a:moveTo>
                  <a:lnTo>
                    <a:pt x="579760" y="1449242"/>
                  </a:lnTo>
                  <a:cubicBezTo>
                    <a:pt x="572616" y="1570657"/>
                    <a:pt x="557119" y="1688577"/>
                    <a:pt x="522238" y="1794676"/>
                  </a:cubicBezTo>
                  <a:cubicBezTo>
                    <a:pt x="-71036" y="2861361"/>
                    <a:pt x="-186336" y="4094249"/>
                    <a:pt x="318813" y="5251222"/>
                  </a:cubicBezTo>
                  <a:cubicBezTo>
                    <a:pt x="341015" y="5360674"/>
                    <a:pt x="342568" y="5479603"/>
                    <a:pt x="335424" y="5601019"/>
                  </a:cubicBezTo>
                  <a:lnTo>
                    <a:pt x="250128" y="7050257"/>
                  </a:lnTo>
                </a:path>
              </a:pathLst>
            </a:custGeom>
            <a:noFill/>
            <a:ln w="508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 19">
              <a:extLst>
                <a:ext uri="{FF2B5EF4-FFF2-40B4-BE49-F238E27FC236}">
                  <a16:creationId xmlns:a16="http://schemas.microsoft.com/office/drawing/2014/main" id="{F9251BC8-3F95-9839-663E-F5C0871DE619}"/>
                </a:ext>
              </a:extLst>
            </p:cNvPr>
            <p:cNvSpPr/>
            <p:nvPr/>
          </p:nvSpPr>
          <p:spPr>
            <a:xfrm>
              <a:off x="9931935" y="3251866"/>
              <a:ext cx="1109622" cy="7050259"/>
            </a:xfrm>
            <a:custGeom>
              <a:avLst/>
              <a:gdLst>
                <a:gd name="connsiteX0" fmla="*/ 1109622 w 1109622"/>
                <a:gd name="connsiteY0" fmla="*/ 0 h 7050259"/>
                <a:gd name="connsiteX1" fmla="*/ 1078895 w 1109622"/>
                <a:gd name="connsiteY1" fmla="*/ 522274 h 7050259"/>
                <a:gd name="connsiteX2" fmla="*/ 1039156 w 1109622"/>
                <a:gd name="connsiteY2" fmla="*/ 1095744 h 7050259"/>
                <a:gd name="connsiteX3" fmla="*/ 938887 w 1109622"/>
                <a:gd name="connsiteY3" fmla="*/ 1441225 h 7050259"/>
                <a:gd name="connsiteX4" fmla="*/ 753254 w 1109622"/>
                <a:gd name="connsiteY4" fmla="*/ 5953818 h 7050259"/>
                <a:gd name="connsiteX5" fmla="*/ 725450 w 1109622"/>
                <a:gd name="connsiteY5" fmla="*/ 6527985 h 7050259"/>
                <a:gd name="connsiteX6" fmla="*/ 694713 w 1109622"/>
                <a:gd name="connsiteY6" fmla="*/ 7050260 h 7050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9622" h="7050259">
                  <a:moveTo>
                    <a:pt x="1109622" y="0"/>
                  </a:moveTo>
                  <a:lnTo>
                    <a:pt x="1078895" y="522274"/>
                  </a:lnTo>
                  <a:cubicBezTo>
                    <a:pt x="1069284" y="685430"/>
                    <a:pt x="1057806" y="880536"/>
                    <a:pt x="1039156" y="1095744"/>
                  </a:cubicBezTo>
                  <a:cubicBezTo>
                    <a:pt x="994018" y="1230732"/>
                    <a:pt x="986502" y="1358529"/>
                    <a:pt x="938887" y="1441225"/>
                  </a:cubicBezTo>
                  <a:cubicBezTo>
                    <a:pt x="-461936" y="2726700"/>
                    <a:pt x="-98633" y="4543461"/>
                    <a:pt x="753254" y="5953818"/>
                  </a:cubicBezTo>
                  <a:cubicBezTo>
                    <a:pt x="746101" y="6169702"/>
                    <a:pt x="735052" y="6364831"/>
                    <a:pt x="725450" y="6527985"/>
                  </a:cubicBezTo>
                  <a:lnTo>
                    <a:pt x="694713" y="7050260"/>
                  </a:lnTo>
                </a:path>
              </a:pathLst>
            </a:custGeom>
            <a:noFill/>
            <a:ln w="508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 20">
              <a:extLst>
                <a:ext uri="{FF2B5EF4-FFF2-40B4-BE49-F238E27FC236}">
                  <a16:creationId xmlns:a16="http://schemas.microsoft.com/office/drawing/2014/main" id="{5E4DAE07-428B-58DC-B96C-79325FE6EC08}"/>
                </a:ext>
              </a:extLst>
            </p:cNvPr>
            <p:cNvSpPr/>
            <p:nvPr/>
          </p:nvSpPr>
          <p:spPr>
            <a:xfrm>
              <a:off x="10072520" y="3283833"/>
              <a:ext cx="1511733" cy="7050258"/>
            </a:xfrm>
            <a:custGeom>
              <a:avLst/>
              <a:gdLst>
                <a:gd name="connsiteX0" fmla="*/ 1511734 w 1511733"/>
                <a:gd name="connsiteY0" fmla="*/ 0 h 7050258"/>
                <a:gd name="connsiteX1" fmla="*/ 1446897 w 1511733"/>
                <a:gd name="connsiteY1" fmla="*/ 1101629 h 7050258"/>
                <a:gd name="connsiteX2" fmla="*/ 1186436 w 1511733"/>
                <a:gd name="connsiteY2" fmla="*/ 1350908 h 7050258"/>
                <a:gd name="connsiteX3" fmla="*/ 932223 w 1511733"/>
                <a:gd name="connsiteY3" fmla="*/ 5670524 h 7050258"/>
                <a:gd name="connsiteX4" fmla="*/ 1161651 w 1511733"/>
                <a:gd name="connsiteY4" fmla="*/ 5948635 h 7050258"/>
                <a:gd name="connsiteX5" fmla="*/ 1096815 w 1511733"/>
                <a:gd name="connsiteY5" fmla="*/ 7050258 h 7050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733" h="7050258">
                  <a:moveTo>
                    <a:pt x="1511734" y="0"/>
                  </a:moveTo>
                  <a:lnTo>
                    <a:pt x="1446897" y="1101629"/>
                  </a:lnTo>
                  <a:cubicBezTo>
                    <a:pt x="1419484" y="1291520"/>
                    <a:pt x="1301231" y="1252505"/>
                    <a:pt x="1186436" y="1350908"/>
                  </a:cubicBezTo>
                  <a:cubicBezTo>
                    <a:pt x="-281358" y="2328935"/>
                    <a:pt x="-411726" y="4544117"/>
                    <a:pt x="932223" y="5670524"/>
                  </a:cubicBezTo>
                  <a:cubicBezTo>
                    <a:pt x="1034655" y="5782138"/>
                    <a:pt x="1156670" y="5757259"/>
                    <a:pt x="1161651" y="5948635"/>
                  </a:cubicBezTo>
                  <a:lnTo>
                    <a:pt x="1096815" y="7050258"/>
                  </a:lnTo>
                </a:path>
              </a:pathLst>
            </a:custGeom>
            <a:noFill/>
            <a:ln w="508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 21">
              <a:extLst>
                <a:ext uri="{FF2B5EF4-FFF2-40B4-BE49-F238E27FC236}">
                  <a16:creationId xmlns:a16="http://schemas.microsoft.com/office/drawing/2014/main" id="{F4B3120B-27D8-C82B-7A1D-38D4B1660A7B}"/>
                </a:ext>
              </a:extLst>
            </p:cNvPr>
            <p:cNvSpPr/>
            <p:nvPr/>
          </p:nvSpPr>
          <p:spPr>
            <a:xfrm>
              <a:off x="10451821" y="3315726"/>
              <a:ext cx="1674757" cy="7050264"/>
            </a:xfrm>
            <a:custGeom>
              <a:avLst/>
              <a:gdLst>
                <a:gd name="connsiteX0" fmla="*/ 1674757 w 1674757"/>
                <a:gd name="connsiteY0" fmla="*/ 0 h 7050264"/>
                <a:gd name="connsiteX1" fmla="*/ 1644020 w 1674757"/>
                <a:gd name="connsiteY1" fmla="*/ 522273 h 7050264"/>
                <a:gd name="connsiteX2" fmla="*/ 1501974 w 1674757"/>
                <a:gd name="connsiteY2" fmla="*/ 1141868 h 7050264"/>
                <a:gd name="connsiteX3" fmla="*/ 1221187 w 1674757"/>
                <a:gd name="connsiteY3" fmla="*/ 5913046 h 7050264"/>
                <a:gd name="connsiteX4" fmla="*/ 1290576 w 1674757"/>
                <a:gd name="connsiteY4" fmla="*/ 6527989 h 7050264"/>
                <a:gd name="connsiteX5" fmla="*/ 1259839 w 1674757"/>
                <a:gd name="connsiteY5" fmla="*/ 7050265 h 7050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4757" h="7050264">
                  <a:moveTo>
                    <a:pt x="1674757" y="0"/>
                  </a:moveTo>
                  <a:lnTo>
                    <a:pt x="1644020" y="522273"/>
                  </a:lnTo>
                  <a:cubicBezTo>
                    <a:pt x="1612245" y="720888"/>
                    <a:pt x="1679891" y="1024101"/>
                    <a:pt x="1501974" y="1141868"/>
                  </a:cubicBezTo>
                  <a:cubicBezTo>
                    <a:pt x="-400016" y="2226861"/>
                    <a:pt x="-497809" y="4614950"/>
                    <a:pt x="1221187" y="5913046"/>
                  </a:cubicBezTo>
                  <a:cubicBezTo>
                    <a:pt x="1384064" y="6050873"/>
                    <a:pt x="1283823" y="6301456"/>
                    <a:pt x="1290576" y="6527989"/>
                  </a:cubicBezTo>
                  <a:lnTo>
                    <a:pt x="1259839" y="7050265"/>
                  </a:lnTo>
                </a:path>
              </a:pathLst>
            </a:custGeom>
            <a:noFill/>
            <a:ln w="508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 22">
              <a:extLst>
                <a:ext uri="{FF2B5EF4-FFF2-40B4-BE49-F238E27FC236}">
                  <a16:creationId xmlns:a16="http://schemas.microsoft.com/office/drawing/2014/main" id="{97A38237-4A55-A004-75F2-D6C35AAA4B23}"/>
                </a:ext>
              </a:extLst>
            </p:cNvPr>
            <p:cNvSpPr/>
            <p:nvPr/>
          </p:nvSpPr>
          <p:spPr>
            <a:xfrm>
              <a:off x="12253889" y="3347648"/>
              <a:ext cx="1675655" cy="7050260"/>
            </a:xfrm>
            <a:custGeom>
              <a:avLst/>
              <a:gdLst>
                <a:gd name="connsiteX0" fmla="*/ 414919 w 1675655"/>
                <a:gd name="connsiteY0" fmla="*/ 0 h 7050260"/>
                <a:gd name="connsiteX1" fmla="*/ 384182 w 1675655"/>
                <a:gd name="connsiteY1" fmla="*/ 522273 h 7050260"/>
                <a:gd name="connsiteX2" fmla="*/ 429044 w 1675655"/>
                <a:gd name="connsiteY2" fmla="*/ 1067379 h 7050260"/>
                <a:gd name="connsiteX3" fmla="*/ 1666884 w 1675655"/>
                <a:gd name="connsiteY3" fmla="*/ 3277589 h 7050260"/>
                <a:gd name="connsiteX4" fmla="*/ 138227 w 1675655"/>
                <a:gd name="connsiteY4" fmla="*/ 6008949 h 7050260"/>
                <a:gd name="connsiteX5" fmla="*/ 30737 w 1675655"/>
                <a:gd name="connsiteY5" fmla="*/ 6527986 h 7050260"/>
                <a:gd name="connsiteX6" fmla="*/ 0 w 1675655"/>
                <a:gd name="connsiteY6" fmla="*/ 7050260 h 7050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75655" h="7050260">
                  <a:moveTo>
                    <a:pt x="414919" y="0"/>
                  </a:moveTo>
                  <a:lnTo>
                    <a:pt x="384182" y="522273"/>
                  </a:lnTo>
                  <a:cubicBezTo>
                    <a:pt x="321307" y="719059"/>
                    <a:pt x="306267" y="974653"/>
                    <a:pt x="429044" y="1067379"/>
                  </a:cubicBezTo>
                  <a:cubicBezTo>
                    <a:pt x="945242" y="1738968"/>
                    <a:pt x="1591733" y="2375476"/>
                    <a:pt x="1666884" y="3277589"/>
                  </a:cubicBezTo>
                  <a:cubicBezTo>
                    <a:pt x="1769593" y="4437810"/>
                    <a:pt x="952662" y="5244682"/>
                    <a:pt x="138227" y="6008949"/>
                  </a:cubicBezTo>
                  <a:cubicBezTo>
                    <a:pt x="5420" y="6086626"/>
                    <a:pt x="-9630" y="6342229"/>
                    <a:pt x="30737" y="6527986"/>
                  </a:cubicBezTo>
                  <a:lnTo>
                    <a:pt x="0" y="7050260"/>
                  </a:lnTo>
                </a:path>
              </a:pathLst>
            </a:custGeom>
            <a:noFill/>
            <a:ln w="508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 23">
              <a:extLst>
                <a:ext uri="{FF2B5EF4-FFF2-40B4-BE49-F238E27FC236}">
                  <a16:creationId xmlns:a16="http://schemas.microsoft.com/office/drawing/2014/main" id="{F928B19E-B41B-7FDF-CB25-40C549F8F4B9}"/>
                </a:ext>
              </a:extLst>
            </p:cNvPr>
            <p:cNvSpPr/>
            <p:nvPr/>
          </p:nvSpPr>
          <p:spPr>
            <a:xfrm>
              <a:off x="12796271" y="3379569"/>
              <a:ext cx="1522350" cy="7050258"/>
            </a:xfrm>
            <a:custGeom>
              <a:avLst/>
              <a:gdLst>
                <a:gd name="connsiteX0" fmla="*/ 414909 w 1522350"/>
                <a:gd name="connsiteY0" fmla="*/ 0 h 7050258"/>
                <a:gd name="connsiteX1" fmla="*/ 350082 w 1522350"/>
                <a:gd name="connsiteY1" fmla="*/ 1101629 h 7050258"/>
                <a:gd name="connsiteX2" fmla="*/ 579511 w 1522350"/>
                <a:gd name="connsiteY2" fmla="*/ 1379740 h 7050258"/>
                <a:gd name="connsiteX3" fmla="*/ 325298 w 1522350"/>
                <a:gd name="connsiteY3" fmla="*/ 5699357 h 7050258"/>
                <a:gd name="connsiteX4" fmla="*/ 64827 w 1522350"/>
                <a:gd name="connsiteY4" fmla="*/ 5948635 h 7050258"/>
                <a:gd name="connsiteX5" fmla="*/ 0 w 1522350"/>
                <a:gd name="connsiteY5" fmla="*/ 7050259 h 7050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2350" h="7050258">
                  <a:moveTo>
                    <a:pt x="414909" y="0"/>
                  </a:moveTo>
                  <a:lnTo>
                    <a:pt x="350082" y="1101629"/>
                  </a:lnTo>
                  <a:cubicBezTo>
                    <a:pt x="355035" y="1293434"/>
                    <a:pt x="477050" y="1268545"/>
                    <a:pt x="579511" y="1379740"/>
                  </a:cubicBezTo>
                  <a:cubicBezTo>
                    <a:pt x="1936509" y="2524007"/>
                    <a:pt x="1808655" y="4696593"/>
                    <a:pt x="325298" y="5699357"/>
                  </a:cubicBezTo>
                  <a:cubicBezTo>
                    <a:pt x="210474" y="5798179"/>
                    <a:pt x="92221" y="5759164"/>
                    <a:pt x="64827" y="5948635"/>
                  </a:cubicBezTo>
                  <a:lnTo>
                    <a:pt x="0" y="7050259"/>
                  </a:lnTo>
                </a:path>
              </a:pathLst>
            </a:custGeom>
            <a:noFill/>
            <a:ln w="508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 24">
              <a:extLst>
                <a:ext uri="{FF2B5EF4-FFF2-40B4-BE49-F238E27FC236}">
                  <a16:creationId xmlns:a16="http://schemas.microsoft.com/office/drawing/2014/main" id="{A1D9C7E6-2F9F-EF3B-249B-68BADC07EE9E}"/>
                </a:ext>
              </a:extLst>
            </p:cNvPr>
            <p:cNvSpPr/>
            <p:nvPr/>
          </p:nvSpPr>
          <p:spPr>
            <a:xfrm>
              <a:off x="13338549" y="3411489"/>
              <a:ext cx="1073849" cy="7050265"/>
            </a:xfrm>
            <a:custGeom>
              <a:avLst/>
              <a:gdLst>
                <a:gd name="connsiteX0" fmla="*/ 414919 w 1073849"/>
                <a:gd name="connsiteY0" fmla="*/ 0 h 7050265"/>
                <a:gd name="connsiteX1" fmla="*/ 384181 w 1073849"/>
                <a:gd name="connsiteY1" fmla="*/ 522274 h 7050265"/>
                <a:gd name="connsiteX2" fmla="*/ 356378 w 1073849"/>
                <a:gd name="connsiteY2" fmla="*/ 1096446 h 7050265"/>
                <a:gd name="connsiteX3" fmla="*/ 70475 w 1073849"/>
                <a:gd name="connsiteY3" fmla="*/ 5954520 h 7050265"/>
                <a:gd name="connsiteX4" fmla="*/ 30737 w 1073849"/>
                <a:gd name="connsiteY4" fmla="*/ 6527992 h 7050265"/>
                <a:gd name="connsiteX5" fmla="*/ 0 w 1073849"/>
                <a:gd name="connsiteY5" fmla="*/ 7050266 h 7050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3849" h="7050265">
                  <a:moveTo>
                    <a:pt x="414919" y="0"/>
                  </a:moveTo>
                  <a:lnTo>
                    <a:pt x="384181" y="522274"/>
                  </a:lnTo>
                  <a:cubicBezTo>
                    <a:pt x="374580" y="685432"/>
                    <a:pt x="363103" y="880543"/>
                    <a:pt x="356378" y="1096446"/>
                  </a:cubicBezTo>
                  <a:cubicBezTo>
                    <a:pt x="1424283" y="2707600"/>
                    <a:pt x="1276388" y="4494280"/>
                    <a:pt x="70475" y="5954520"/>
                  </a:cubicBezTo>
                  <a:cubicBezTo>
                    <a:pt x="52254" y="6169747"/>
                    <a:pt x="40338" y="6364828"/>
                    <a:pt x="30737" y="6527992"/>
                  </a:cubicBezTo>
                  <a:lnTo>
                    <a:pt x="0" y="7050266"/>
                  </a:lnTo>
                </a:path>
              </a:pathLst>
            </a:custGeom>
            <a:noFill/>
            <a:ln w="508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 25">
              <a:extLst>
                <a:ext uri="{FF2B5EF4-FFF2-40B4-BE49-F238E27FC236}">
                  <a16:creationId xmlns:a16="http://schemas.microsoft.com/office/drawing/2014/main" id="{77FDE477-2180-F0E5-DAAA-23DE58C31CF5}"/>
                </a:ext>
              </a:extLst>
            </p:cNvPr>
            <p:cNvSpPr/>
            <p:nvPr/>
          </p:nvSpPr>
          <p:spPr>
            <a:xfrm>
              <a:off x="13880836" y="3443409"/>
              <a:ext cx="704452" cy="7050264"/>
            </a:xfrm>
            <a:custGeom>
              <a:avLst/>
              <a:gdLst>
                <a:gd name="connsiteX0" fmla="*/ 414919 w 704452"/>
                <a:gd name="connsiteY0" fmla="*/ 0 h 7050264"/>
                <a:gd name="connsiteX1" fmla="*/ 329632 w 704452"/>
                <a:gd name="connsiteY1" fmla="*/ 1449240 h 7050264"/>
                <a:gd name="connsiteX2" fmla="*/ 346234 w 704452"/>
                <a:gd name="connsiteY2" fmla="*/ 1799036 h 7050264"/>
                <a:gd name="connsiteX3" fmla="*/ 142809 w 704452"/>
                <a:gd name="connsiteY3" fmla="*/ 5255583 h 7050264"/>
                <a:gd name="connsiteX4" fmla="*/ 85297 w 704452"/>
                <a:gd name="connsiteY4" fmla="*/ 5601017 h 7050264"/>
                <a:gd name="connsiteX5" fmla="*/ 0 w 704452"/>
                <a:gd name="connsiteY5" fmla="*/ 7050264 h 7050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4452" h="7050264">
                  <a:moveTo>
                    <a:pt x="414919" y="0"/>
                  </a:moveTo>
                  <a:lnTo>
                    <a:pt x="329632" y="1449240"/>
                  </a:lnTo>
                  <a:cubicBezTo>
                    <a:pt x="322488" y="1570655"/>
                    <a:pt x="324031" y="1689585"/>
                    <a:pt x="346234" y="1799036"/>
                  </a:cubicBezTo>
                  <a:cubicBezTo>
                    <a:pt x="869452" y="2888687"/>
                    <a:pt x="834333" y="4211786"/>
                    <a:pt x="142809" y="5255583"/>
                  </a:cubicBezTo>
                  <a:cubicBezTo>
                    <a:pt x="107928" y="5361682"/>
                    <a:pt x="92440" y="5479611"/>
                    <a:pt x="85297" y="5601017"/>
                  </a:cubicBezTo>
                  <a:lnTo>
                    <a:pt x="0" y="7050264"/>
                  </a:lnTo>
                </a:path>
              </a:pathLst>
            </a:custGeom>
            <a:noFill/>
            <a:ln w="508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 26">
              <a:extLst>
                <a:ext uri="{FF2B5EF4-FFF2-40B4-BE49-F238E27FC236}">
                  <a16:creationId xmlns:a16="http://schemas.microsoft.com/office/drawing/2014/main" id="{E82049A2-2C9B-DD78-7266-624DC4EB2B7C}"/>
                </a:ext>
              </a:extLst>
            </p:cNvPr>
            <p:cNvSpPr/>
            <p:nvPr/>
          </p:nvSpPr>
          <p:spPr>
            <a:xfrm>
              <a:off x="14423094" y="3475293"/>
              <a:ext cx="414947" cy="7050689"/>
            </a:xfrm>
            <a:custGeom>
              <a:avLst/>
              <a:gdLst>
                <a:gd name="connsiteX0" fmla="*/ 414947 w 414947"/>
                <a:gd name="connsiteY0" fmla="*/ 0 h 7050689"/>
                <a:gd name="connsiteX1" fmla="*/ 307372 w 414947"/>
                <a:gd name="connsiteY1" fmla="*/ 1827960 h 7050689"/>
                <a:gd name="connsiteX2" fmla="*/ 107585 w 414947"/>
                <a:gd name="connsiteY2" fmla="*/ 5222737 h 7050689"/>
                <a:gd name="connsiteX3" fmla="*/ 0 w 414947"/>
                <a:gd name="connsiteY3" fmla="*/ 7050689 h 7050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4947" h="7050689">
                  <a:moveTo>
                    <a:pt x="414947" y="0"/>
                  </a:moveTo>
                  <a:lnTo>
                    <a:pt x="307372" y="1827960"/>
                  </a:lnTo>
                  <a:cubicBezTo>
                    <a:pt x="362265" y="2987076"/>
                    <a:pt x="297085" y="4094672"/>
                    <a:pt x="107585" y="5222737"/>
                  </a:cubicBezTo>
                  <a:lnTo>
                    <a:pt x="0" y="7050689"/>
                  </a:lnTo>
                </a:path>
              </a:pathLst>
            </a:custGeom>
            <a:noFill/>
            <a:ln w="508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 27">
              <a:extLst>
                <a:ext uri="{FF2B5EF4-FFF2-40B4-BE49-F238E27FC236}">
                  <a16:creationId xmlns:a16="http://schemas.microsoft.com/office/drawing/2014/main" id="{45B7112A-6222-B09A-1CA2-C53A32AE0EB8}"/>
                </a:ext>
              </a:extLst>
            </p:cNvPr>
            <p:cNvSpPr/>
            <p:nvPr/>
          </p:nvSpPr>
          <p:spPr>
            <a:xfrm>
              <a:off x="14965371" y="3507213"/>
              <a:ext cx="414918" cy="7050258"/>
            </a:xfrm>
            <a:custGeom>
              <a:avLst/>
              <a:gdLst>
                <a:gd name="connsiteX0" fmla="*/ 414919 w 414918"/>
                <a:gd name="connsiteY0" fmla="*/ 0 h 7050258"/>
                <a:gd name="connsiteX1" fmla="*/ 0 w 414918"/>
                <a:gd name="connsiteY1" fmla="*/ 7050259 h 7050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4918" h="7050258">
                  <a:moveTo>
                    <a:pt x="414919" y="0"/>
                  </a:moveTo>
                  <a:lnTo>
                    <a:pt x="0" y="7050259"/>
                  </a:lnTo>
                </a:path>
              </a:pathLst>
            </a:custGeom>
            <a:noFill/>
            <a:ln w="508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 28">
              <a:extLst>
                <a:ext uri="{FF2B5EF4-FFF2-40B4-BE49-F238E27FC236}">
                  <a16:creationId xmlns:a16="http://schemas.microsoft.com/office/drawing/2014/main" id="{339142EB-24E0-F20F-0923-0C3D5C894FCE}"/>
                </a:ext>
              </a:extLst>
            </p:cNvPr>
            <p:cNvSpPr/>
            <p:nvPr/>
          </p:nvSpPr>
          <p:spPr>
            <a:xfrm>
              <a:off x="8840440" y="3666491"/>
              <a:ext cx="7050256" cy="414913"/>
            </a:xfrm>
            <a:custGeom>
              <a:avLst/>
              <a:gdLst>
                <a:gd name="connsiteX0" fmla="*/ 7050257 w 7050256"/>
                <a:gd name="connsiteY0" fmla="*/ 414914 h 414913"/>
                <a:gd name="connsiteX1" fmla="*/ 0 w 7050256"/>
                <a:gd name="connsiteY1" fmla="*/ 0 h 414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50256" h="414913">
                  <a:moveTo>
                    <a:pt x="7050257" y="414914"/>
                  </a:moveTo>
                  <a:lnTo>
                    <a:pt x="0" y="0"/>
                  </a:lnTo>
                </a:path>
              </a:pathLst>
            </a:custGeom>
            <a:noFill/>
            <a:ln w="508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 29">
              <a:extLst>
                <a:ext uri="{FF2B5EF4-FFF2-40B4-BE49-F238E27FC236}">
                  <a16:creationId xmlns:a16="http://schemas.microsoft.com/office/drawing/2014/main" id="{69909A75-AB3E-B874-861F-DE63222014C6}"/>
                </a:ext>
              </a:extLst>
            </p:cNvPr>
            <p:cNvSpPr/>
            <p:nvPr/>
          </p:nvSpPr>
          <p:spPr>
            <a:xfrm>
              <a:off x="8808968" y="4208792"/>
              <a:ext cx="7049838" cy="414889"/>
            </a:xfrm>
            <a:custGeom>
              <a:avLst/>
              <a:gdLst>
                <a:gd name="connsiteX0" fmla="*/ 7049838 w 7049838"/>
                <a:gd name="connsiteY0" fmla="*/ 414890 h 414889"/>
                <a:gd name="connsiteX1" fmla="*/ 5600591 w 7049838"/>
                <a:gd name="connsiteY1" fmla="*/ 329603 h 414889"/>
                <a:gd name="connsiteX2" fmla="*/ 5222305 w 7049838"/>
                <a:gd name="connsiteY2" fmla="*/ 307334 h 414889"/>
                <a:gd name="connsiteX3" fmla="*/ 1827528 w 7049838"/>
                <a:gd name="connsiteY3" fmla="*/ 107547 h 414889"/>
                <a:gd name="connsiteX4" fmla="*/ 1449243 w 7049838"/>
                <a:gd name="connsiteY4" fmla="*/ 85287 h 414889"/>
                <a:gd name="connsiteX5" fmla="*/ 0 w 7049838"/>
                <a:gd name="connsiteY5" fmla="*/ 0 h 414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49838" h="414889">
                  <a:moveTo>
                    <a:pt x="7049838" y="414890"/>
                  </a:moveTo>
                  <a:lnTo>
                    <a:pt x="5600591" y="329603"/>
                  </a:lnTo>
                  <a:cubicBezTo>
                    <a:pt x="5479185" y="322450"/>
                    <a:pt x="5352665" y="315011"/>
                    <a:pt x="5222305" y="307334"/>
                  </a:cubicBezTo>
                  <a:cubicBezTo>
                    <a:pt x="4092040" y="133522"/>
                    <a:pt x="2984445" y="68342"/>
                    <a:pt x="1827528" y="107547"/>
                  </a:cubicBezTo>
                  <a:lnTo>
                    <a:pt x="1449243" y="85287"/>
                  </a:lnTo>
                  <a:cubicBezTo>
                    <a:pt x="599375" y="35271"/>
                    <a:pt x="0" y="0"/>
                    <a:pt x="0" y="0"/>
                  </a:cubicBezTo>
                </a:path>
              </a:pathLst>
            </a:custGeom>
            <a:noFill/>
            <a:ln w="508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 30">
              <a:extLst>
                <a:ext uri="{FF2B5EF4-FFF2-40B4-BE49-F238E27FC236}">
                  <a16:creationId xmlns:a16="http://schemas.microsoft.com/office/drawing/2014/main" id="{857F9FDC-8EBF-2413-FB74-F92DD2FBE8CA}"/>
                </a:ext>
              </a:extLst>
            </p:cNvPr>
            <p:cNvSpPr/>
            <p:nvPr/>
          </p:nvSpPr>
          <p:spPr>
            <a:xfrm>
              <a:off x="8776624" y="4487116"/>
              <a:ext cx="7050263" cy="678881"/>
            </a:xfrm>
            <a:custGeom>
              <a:avLst/>
              <a:gdLst>
                <a:gd name="connsiteX0" fmla="*/ 7050264 w 7050263"/>
                <a:gd name="connsiteY0" fmla="*/ 678881 h 678881"/>
                <a:gd name="connsiteX1" fmla="*/ 5601016 w 7050263"/>
                <a:gd name="connsiteY1" fmla="*/ 593594 h 678881"/>
                <a:gd name="connsiteX2" fmla="*/ 5255583 w 7050263"/>
                <a:gd name="connsiteY2" fmla="*/ 536073 h 678881"/>
                <a:gd name="connsiteX3" fmla="*/ 1799036 w 7050263"/>
                <a:gd name="connsiteY3" fmla="*/ 332657 h 678881"/>
                <a:gd name="connsiteX4" fmla="*/ 1449240 w 7050263"/>
                <a:gd name="connsiteY4" fmla="*/ 349259 h 678881"/>
                <a:gd name="connsiteX5" fmla="*/ 0 w 7050263"/>
                <a:gd name="connsiteY5" fmla="*/ 263972 h 678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50263" h="678881">
                  <a:moveTo>
                    <a:pt x="7050264" y="678881"/>
                  </a:moveTo>
                  <a:lnTo>
                    <a:pt x="5601016" y="593594"/>
                  </a:lnTo>
                  <a:cubicBezTo>
                    <a:pt x="5479611" y="586451"/>
                    <a:pt x="5361682" y="570963"/>
                    <a:pt x="5255583" y="536073"/>
                  </a:cubicBezTo>
                  <a:cubicBezTo>
                    <a:pt x="4164494" y="-100092"/>
                    <a:pt x="2929101" y="-172797"/>
                    <a:pt x="1799036" y="332657"/>
                  </a:cubicBezTo>
                  <a:cubicBezTo>
                    <a:pt x="1689585" y="354850"/>
                    <a:pt x="1570655" y="356403"/>
                    <a:pt x="1449240" y="349259"/>
                  </a:cubicBezTo>
                  <a:lnTo>
                    <a:pt x="0" y="263972"/>
                  </a:lnTo>
                </a:path>
              </a:pathLst>
            </a:custGeom>
            <a:noFill/>
            <a:ln w="508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 31">
              <a:extLst>
                <a:ext uri="{FF2B5EF4-FFF2-40B4-BE49-F238E27FC236}">
                  <a16:creationId xmlns:a16="http://schemas.microsoft.com/office/drawing/2014/main" id="{3F37A4CD-02DA-2025-DC6F-BC7AD7CFD39F}"/>
                </a:ext>
              </a:extLst>
            </p:cNvPr>
            <p:cNvSpPr/>
            <p:nvPr/>
          </p:nvSpPr>
          <p:spPr>
            <a:xfrm>
              <a:off x="8744688" y="4631251"/>
              <a:ext cx="7050263" cy="1077072"/>
            </a:xfrm>
            <a:custGeom>
              <a:avLst/>
              <a:gdLst>
                <a:gd name="connsiteX0" fmla="*/ 7050263 w 7050263"/>
                <a:gd name="connsiteY0" fmla="*/ 1077072 h 1077072"/>
                <a:gd name="connsiteX1" fmla="*/ 6527988 w 7050263"/>
                <a:gd name="connsiteY1" fmla="*/ 1046335 h 1077072"/>
                <a:gd name="connsiteX2" fmla="*/ 5954517 w 7050263"/>
                <a:gd name="connsiteY2" fmla="*/ 1006596 h 1077072"/>
                <a:gd name="connsiteX3" fmla="*/ 1096443 w 7050263"/>
                <a:gd name="connsiteY3" fmla="*/ 720694 h 1077072"/>
                <a:gd name="connsiteX4" fmla="*/ 522273 w 7050263"/>
                <a:gd name="connsiteY4" fmla="*/ 692891 h 1077072"/>
                <a:gd name="connsiteX5" fmla="*/ 0 w 7050263"/>
                <a:gd name="connsiteY5" fmla="*/ 662154 h 1077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50263" h="1077072">
                  <a:moveTo>
                    <a:pt x="7050263" y="1077072"/>
                  </a:moveTo>
                  <a:lnTo>
                    <a:pt x="6527988" y="1046335"/>
                  </a:lnTo>
                  <a:cubicBezTo>
                    <a:pt x="6364835" y="1036734"/>
                    <a:pt x="6169725" y="1025246"/>
                    <a:pt x="5954517" y="1006596"/>
                  </a:cubicBezTo>
                  <a:cubicBezTo>
                    <a:pt x="4537206" y="-224148"/>
                    <a:pt x="2662819" y="-334457"/>
                    <a:pt x="1096443" y="720694"/>
                  </a:cubicBezTo>
                  <a:cubicBezTo>
                    <a:pt x="880559" y="713550"/>
                    <a:pt x="685430" y="702492"/>
                    <a:pt x="522273" y="692891"/>
                  </a:cubicBezTo>
                  <a:lnTo>
                    <a:pt x="0" y="662154"/>
                  </a:lnTo>
                </a:path>
              </a:pathLst>
            </a:custGeom>
            <a:noFill/>
            <a:ln w="508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 32">
              <a:extLst>
                <a:ext uri="{FF2B5EF4-FFF2-40B4-BE49-F238E27FC236}">
                  <a16:creationId xmlns:a16="http://schemas.microsoft.com/office/drawing/2014/main" id="{7F6A578C-B7B0-8D4A-5271-37929575A23F}"/>
                </a:ext>
              </a:extLst>
            </p:cNvPr>
            <p:cNvSpPr/>
            <p:nvPr/>
          </p:nvSpPr>
          <p:spPr>
            <a:xfrm>
              <a:off x="8712821" y="4723324"/>
              <a:ext cx="7050259" cy="1527256"/>
            </a:xfrm>
            <a:custGeom>
              <a:avLst/>
              <a:gdLst>
                <a:gd name="connsiteX0" fmla="*/ 7050260 w 7050259"/>
                <a:gd name="connsiteY0" fmla="*/ 1527257 h 1527256"/>
                <a:gd name="connsiteX1" fmla="*/ 5948627 w 7050259"/>
                <a:gd name="connsiteY1" fmla="*/ 1462429 h 1527256"/>
                <a:gd name="connsiteX2" fmla="*/ 5699357 w 7050259"/>
                <a:gd name="connsiteY2" fmla="*/ 1201959 h 1527256"/>
                <a:gd name="connsiteX3" fmla="*/ 1379741 w 7050259"/>
                <a:gd name="connsiteY3" fmla="*/ 947746 h 1527256"/>
                <a:gd name="connsiteX4" fmla="*/ 1101630 w 7050259"/>
                <a:gd name="connsiteY4" fmla="*/ 1177175 h 1527256"/>
                <a:gd name="connsiteX5" fmla="*/ 0 w 7050259"/>
                <a:gd name="connsiteY5" fmla="*/ 1112338 h 152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50259" h="1527256">
                  <a:moveTo>
                    <a:pt x="7050260" y="1527257"/>
                  </a:moveTo>
                  <a:cubicBezTo>
                    <a:pt x="7050260" y="1527257"/>
                    <a:pt x="6609776" y="1501339"/>
                    <a:pt x="5948627" y="1462429"/>
                  </a:cubicBezTo>
                  <a:cubicBezTo>
                    <a:pt x="5758736" y="1435007"/>
                    <a:pt x="5797760" y="1316754"/>
                    <a:pt x="5699357" y="1201959"/>
                  </a:cubicBezTo>
                  <a:cubicBezTo>
                    <a:pt x="4779614" y="-261119"/>
                    <a:pt x="2481736" y="-439104"/>
                    <a:pt x="1379741" y="947746"/>
                  </a:cubicBezTo>
                  <a:cubicBezTo>
                    <a:pt x="1268127" y="1050178"/>
                    <a:pt x="1293006" y="1172193"/>
                    <a:pt x="1101630" y="1177175"/>
                  </a:cubicBezTo>
                  <a:lnTo>
                    <a:pt x="0" y="1112338"/>
                  </a:lnTo>
                </a:path>
              </a:pathLst>
            </a:custGeom>
            <a:noFill/>
            <a:ln w="508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 33">
              <a:extLst>
                <a:ext uri="{FF2B5EF4-FFF2-40B4-BE49-F238E27FC236}">
                  <a16:creationId xmlns:a16="http://schemas.microsoft.com/office/drawing/2014/main" id="{09E71170-C896-9BE7-A56F-777B3A771B5E}"/>
                </a:ext>
              </a:extLst>
            </p:cNvPr>
            <p:cNvSpPr/>
            <p:nvPr/>
          </p:nvSpPr>
          <p:spPr>
            <a:xfrm>
              <a:off x="8680865" y="5124026"/>
              <a:ext cx="7050259" cy="1668870"/>
            </a:xfrm>
            <a:custGeom>
              <a:avLst/>
              <a:gdLst>
                <a:gd name="connsiteX0" fmla="*/ 7050260 w 7050259"/>
                <a:gd name="connsiteY0" fmla="*/ 1668870 h 1668870"/>
                <a:gd name="connsiteX1" fmla="*/ 6527985 w 7050259"/>
                <a:gd name="connsiteY1" fmla="*/ 1638133 h 1668870"/>
                <a:gd name="connsiteX2" fmla="*/ 5881475 w 7050259"/>
                <a:gd name="connsiteY2" fmla="*/ 1495782 h 1668870"/>
                <a:gd name="connsiteX3" fmla="*/ 4252700 w 7050259"/>
                <a:gd name="connsiteY3" fmla="*/ 117505 h 1668870"/>
                <a:gd name="connsiteX4" fmla="*/ 1152903 w 7050259"/>
                <a:gd name="connsiteY4" fmla="*/ 1217500 h 1668870"/>
                <a:gd name="connsiteX5" fmla="*/ 522273 w 7050259"/>
                <a:gd name="connsiteY5" fmla="*/ 1284689 h 1668870"/>
                <a:gd name="connsiteX6" fmla="*/ 0 w 7050259"/>
                <a:gd name="connsiteY6" fmla="*/ 1253952 h 1668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50259" h="1668870">
                  <a:moveTo>
                    <a:pt x="7050260" y="1668870"/>
                  </a:moveTo>
                  <a:lnTo>
                    <a:pt x="6527985" y="1638133"/>
                  </a:lnTo>
                  <a:cubicBezTo>
                    <a:pt x="6302461" y="1606053"/>
                    <a:pt x="6041848" y="1676214"/>
                    <a:pt x="5881475" y="1495782"/>
                  </a:cubicBezTo>
                  <a:cubicBezTo>
                    <a:pt x="5445469" y="914414"/>
                    <a:pt x="4964361" y="373127"/>
                    <a:pt x="4252700" y="117505"/>
                  </a:cubicBezTo>
                  <a:cubicBezTo>
                    <a:pt x="3077449" y="-250884"/>
                    <a:pt x="1977359" y="282830"/>
                    <a:pt x="1152903" y="1217500"/>
                  </a:cubicBezTo>
                  <a:cubicBezTo>
                    <a:pt x="1015076" y="1380377"/>
                    <a:pt x="721887" y="1277631"/>
                    <a:pt x="522273" y="1284689"/>
                  </a:cubicBezTo>
                  <a:lnTo>
                    <a:pt x="0" y="1253952"/>
                  </a:lnTo>
                </a:path>
              </a:pathLst>
            </a:custGeom>
            <a:noFill/>
            <a:ln w="508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 34">
              <a:extLst>
                <a:ext uri="{FF2B5EF4-FFF2-40B4-BE49-F238E27FC236}">
                  <a16:creationId xmlns:a16="http://schemas.microsoft.com/office/drawing/2014/main" id="{AEF500AA-60D6-8D96-57EB-9265F5166B20}"/>
                </a:ext>
              </a:extLst>
            </p:cNvPr>
            <p:cNvSpPr/>
            <p:nvPr/>
          </p:nvSpPr>
          <p:spPr>
            <a:xfrm>
              <a:off x="8648974" y="6920722"/>
              <a:ext cx="7050260" cy="1677855"/>
            </a:xfrm>
            <a:custGeom>
              <a:avLst/>
              <a:gdLst>
                <a:gd name="connsiteX0" fmla="*/ 7050260 w 7050260"/>
                <a:gd name="connsiteY0" fmla="*/ 414919 h 1677855"/>
                <a:gd name="connsiteX1" fmla="*/ 6527986 w 7050260"/>
                <a:gd name="connsiteY1" fmla="*/ 384182 h 1677855"/>
                <a:gd name="connsiteX2" fmla="*/ 5998567 w 7050260"/>
                <a:gd name="connsiteY2" fmla="*/ 431244 h 1677855"/>
                <a:gd name="connsiteX3" fmla="*/ 3788357 w 7050260"/>
                <a:gd name="connsiteY3" fmla="*/ 1669085 h 1677855"/>
                <a:gd name="connsiteX4" fmla="*/ 1056997 w 7050260"/>
                <a:gd name="connsiteY4" fmla="*/ 140427 h 1677855"/>
                <a:gd name="connsiteX5" fmla="*/ 522273 w 7050260"/>
                <a:gd name="connsiteY5" fmla="*/ 30737 h 1677855"/>
                <a:gd name="connsiteX6" fmla="*/ 0 w 7050260"/>
                <a:gd name="connsiteY6" fmla="*/ 0 h 167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50260" h="1677855">
                  <a:moveTo>
                    <a:pt x="7050260" y="414919"/>
                  </a:moveTo>
                  <a:lnTo>
                    <a:pt x="6527986" y="384182"/>
                  </a:lnTo>
                  <a:cubicBezTo>
                    <a:pt x="6346887" y="323507"/>
                    <a:pt x="6088788" y="351063"/>
                    <a:pt x="5998567" y="431244"/>
                  </a:cubicBezTo>
                  <a:cubicBezTo>
                    <a:pt x="5284383" y="944928"/>
                    <a:pt x="4690470" y="1593933"/>
                    <a:pt x="3788357" y="1669085"/>
                  </a:cubicBezTo>
                  <a:cubicBezTo>
                    <a:pt x="2628136" y="1771793"/>
                    <a:pt x="1821264" y="954862"/>
                    <a:pt x="1056997" y="140427"/>
                  </a:cubicBezTo>
                  <a:cubicBezTo>
                    <a:pt x="979321" y="7620"/>
                    <a:pt x="723717" y="-7429"/>
                    <a:pt x="522273" y="30737"/>
                  </a:cubicBezTo>
                  <a:lnTo>
                    <a:pt x="0" y="0"/>
                  </a:lnTo>
                </a:path>
              </a:pathLst>
            </a:custGeom>
            <a:noFill/>
            <a:ln w="508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 35">
              <a:extLst>
                <a:ext uri="{FF2B5EF4-FFF2-40B4-BE49-F238E27FC236}">
                  <a16:creationId xmlns:a16="http://schemas.microsoft.com/office/drawing/2014/main" id="{BF524FE9-B804-EFE9-40A6-68861EB7999A}"/>
                </a:ext>
              </a:extLst>
            </p:cNvPr>
            <p:cNvSpPr/>
            <p:nvPr/>
          </p:nvSpPr>
          <p:spPr>
            <a:xfrm>
              <a:off x="8617033" y="7463027"/>
              <a:ext cx="7050263" cy="1522128"/>
            </a:xfrm>
            <a:custGeom>
              <a:avLst/>
              <a:gdLst>
                <a:gd name="connsiteX0" fmla="*/ 7050264 w 7050263"/>
                <a:gd name="connsiteY0" fmla="*/ 414919 h 1522128"/>
                <a:gd name="connsiteX1" fmla="*/ 5948631 w 7050263"/>
                <a:gd name="connsiteY1" fmla="*/ 350082 h 1522128"/>
                <a:gd name="connsiteX2" fmla="*/ 5670520 w 7050263"/>
                <a:gd name="connsiteY2" fmla="*/ 579520 h 1522128"/>
                <a:gd name="connsiteX3" fmla="*/ 1350904 w 7050263"/>
                <a:gd name="connsiteY3" fmla="*/ 325298 h 1522128"/>
                <a:gd name="connsiteX4" fmla="*/ 1101625 w 7050263"/>
                <a:gd name="connsiteY4" fmla="*/ 64837 h 1522128"/>
                <a:gd name="connsiteX5" fmla="*/ 0 w 7050263"/>
                <a:gd name="connsiteY5" fmla="*/ 0 h 1522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50263" h="1522128">
                  <a:moveTo>
                    <a:pt x="7050264" y="414919"/>
                  </a:moveTo>
                  <a:cubicBezTo>
                    <a:pt x="7050264" y="414919"/>
                    <a:pt x="6609780" y="388992"/>
                    <a:pt x="5948631" y="350082"/>
                  </a:cubicBezTo>
                  <a:cubicBezTo>
                    <a:pt x="5756827" y="355045"/>
                    <a:pt x="5781715" y="477050"/>
                    <a:pt x="5670520" y="579520"/>
                  </a:cubicBezTo>
                  <a:cubicBezTo>
                    <a:pt x="4499336" y="1936214"/>
                    <a:pt x="2326750" y="1808350"/>
                    <a:pt x="1350904" y="325298"/>
                  </a:cubicBezTo>
                  <a:cubicBezTo>
                    <a:pt x="1252082" y="210484"/>
                    <a:pt x="1291097" y="92231"/>
                    <a:pt x="1101625" y="64837"/>
                  </a:cubicBezTo>
                  <a:lnTo>
                    <a:pt x="0" y="0"/>
                  </a:lnTo>
                </a:path>
              </a:pathLst>
            </a:custGeom>
            <a:noFill/>
            <a:ln w="508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 36">
              <a:extLst>
                <a:ext uri="{FF2B5EF4-FFF2-40B4-BE49-F238E27FC236}">
                  <a16:creationId xmlns:a16="http://schemas.microsoft.com/office/drawing/2014/main" id="{B3BD7DF8-E19D-5455-F46B-121B2849CB27}"/>
                </a:ext>
              </a:extLst>
            </p:cNvPr>
            <p:cNvSpPr/>
            <p:nvPr/>
          </p:nvSpPr>
          <p:spPr>
            <a:xfrm>
              <a:off x="8585149" y="8005314"/>
              <a:ext cx="7050258" cy="1141092"/>
            </a:xfrm>
            <a:custGeom>
              <a:avLst/>
              <a:gdLst>
                <a:gd name="connsiteX0" fmla="*/ 7050259 w 7050258"/>
                <a:gd name="connsiteY0" fmla="*/ 414918 h 1141092"/>
                <a:gd name="connsiteX1" fmla="*/ 6527984 w 7050258"/>
                <a:gd name="connsiteY1" fmla="*/ 384181 h 1141092"/>
                <a:gd name="connsiteX2" fmla="*/ 5953817 w 7050258"/>
                <a:gd name="connsiteY2" fmla="*/ 356378 h 1141092"/>
                <a:gd name="connsiteX3" fmla="*/ 2093058 w 7050258"/>
                <a:gd name="connsiteY3" fmla="*/ 694715 h 1141092"/>
                <a:gd name="connsiteX4" fmla="*/ 1095743 w 7050258"/>
                <a:gd name="connsiteY4" fmla="*/ 70475 h 1141092"/>
                <a:gd name="connsiteX5" fmla="*/ 522273 w 7050258"/>
                <a:gd name="connsiteY5" fmla="*/ 30737 h 1141092"/>
                <a:gd name="connsiteX6" fmla="*/ 0 w 7050258"/>
                <a:gd name="connsiteY6" fmla="*/ 0 h 114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50258" h="1141092">
                  <a:moveTo>
                    <a:pt x="7050259" y="414918"/>
                  </a:moveTo>
                  <a:lnTo>
                    <a:pt x="6527984" y="384181"/>
                  </a:lnTo>
                  <a:cubicBezTo>
                    <a:pt x="6364830" y="374580"/>
                    <a:pt x="6169720" y="363093"/>
                    <a:pt x="5953817" y="356378"/>
                  </a:cubicBezTo>
                  <a:cubicBezTo>
                    <a:pt x="4731740" y="892750"/>
                    <a:pt x="3406108" y="1626927"/>
                    <a:pt x="2093058" y="694715"/>
                  </a:cubicBezTo>
                  <a:cubicBezTo>
                    <a:pt x="1764798" y="461658"/>
                    <a:pt x="1526749" y="148418"/>
                    <a:pt x="1095743" y="70475"/>
                  </a:cubicBezTo>
                  <a:cubicBezTo>
                    <a:pt x="880516" y="52244"/>
                    <a:pt x="685429" y="40338"/>
                    <a:pt x="522273" y="30737"/>
                  </a:cubicBezTo>
                  <a:lnTo>
                    <a:pt x="0" y="0"/>
                  </a:lnTo>
                </a:path>
              </a:pathLst>
            </a:custGeom>
            <a:noFill/>
            <a:ln w="508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 37">
              <a:extLst>
                <a:ext uri="{FF2B5EF4-FFF2-40B4-BE49-F238E27FC236}">
                  <a16:creationId xmlns:a16="http://schemas.microsoft.com/office/drawing/2014/main" id="{0CA5EF41-8ED7-050F-7DEA-B12AD6771E90}"/>
                </a:ext>
              </a:extLst>
            </p:cNvPr>
            <p:cNvSpPr/>
            <p:nvPr/>
          </p:nvSpPr>
          <p:spPr>
            <a:xfrm>
              <a:off x="8553228" y="8547639"/>
              <a:ext cx="7050261" cy="707869"/>
            </a:xfrm>
            <a:custGeom>
              <a:avLst/>
              <a:gdLst>
                <a:gd name="connsiteX0" fmla="*/ 7050261 w 7050261"/>
                <a:gd name="connsiteY0" fmla="*/ 414909 h 707869"/>
                <a:gd name="connsiteX1" fmla="*/ 5601014 w 7050261"/>
                <a:gd name="connsiteY1" fmla="*/ 329622 h 707869"/>
                <a:gd name="connsiteX2" fmla="*/ 5251218 w 7050261"/>
                <a:gd name="connsiteY2" fmla="*/ 346224 h 707869"/>
                <a:gd name="connsiteX3" fmla="*/ 1794681 w 7050261"/>
                <a:gd name="connsiteY3" fmla="*/ 142808 h 707869"/>
                <a:gd name="connsiteX4" fmla="*/ 1449247 w 7050261"/>
                <a:gd name="connsiteY4" fmla="*/ 85287 h 707869"/>
                <a:gd name="connsiteX5" fmla="*/ 0 w 7050261"/>
                <a:gd name="connsiteY5" fmla="*/ 0 h 707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50261" h="707869">
                  <a:moveTo>
                    <a:pt x="7050261" y="414909"/>
                  </a:moveTo>
                  <a:lnTo>
                    <a:pt x="5601014" y="329622"/>
                  </a:lnTo>
                  <a:cubicBezTo>
                    <a:pt x="5479608" y="322478"/>
                    <a:pt x="5360679" y="324031"/>
                    <a:pt x="5251218" y="346224"/>
                  </a:cubicBezTo>
                  <a:cubicBezTo>
                    <a:pt x="4132154" y="911752"/>
                    <a:pt x="2814075" y="791432"/>
                    <a:pt x="1794681" y="142808"/>
                  </a:cubicBezTo>
                  <a:cubicBezTo>
                    <a:pt x="1688582" y="107918"/>
                    <a:pt x="1570652" y="92430"/>
                    <a:pt x="1449247" y="85287"/>
                  </a:cubicBezTo>
                  <a:lnTo>
                    <a:pt x="0" y="0"/>
                  </a:lnTo>
                </a:path>
              </a:pathLst>
            </a:custGeom>
            <a:noFill/>
            <a:ln w="508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 38">
              <a:extLst>
                <a:ext uri="{FF2B5EF4-FFF2-40B4-BE49-F238E27FC236}">
                  <a16:creationId xmlns:a16="http://schemas.microsoft.com/office/drawing/2014/main" id="{46BC6B3E-3208-FE5F-E797-39DF17B5E40B}"/>
                </a:ext>
              </a:extLst>
            </p:cNvPr>
            <p:cNvSpPr/>
            <p:nvPr/>
          </p:nvSpPr>
          <p:spPr>
            <a:xfrm>
              <a:off x="8521706" y="9089926"/>
              <a:ext cx="7049836" cy="414889"/>
            </a:xfrm>
            <a:custGeom>
              <a:avLst/>
              <a:gdLst>
                <a:gd name="connsiteX0" fmla="*/ 7049837 w 7049836"/>
                <a:gd name="connsiteY0" fmla="*/ 414890 h 414889"/>
                <a:gd name="connsiteX1" fmla="*/ 5600589 w 7049836"/>
                <a:gd name="connsiteY1" fmla="*/ 329594 h 414889"/>
                <a:gd name="connsiteX2" fmla="*/ 5222303 w 7049836"/>
                <a:gd name="connsiteY2" fmla="*/ 307334 h 414889"/>
                <a:gd name="connsiteX3" fmla="*/ 1827527 w 7049836"/>
                <a:gd name="connsiteY3" fmla="*/ 107547 h 414889"/>
                <a:gd name="connsiteX4" fmla="*/ 1449241 w 7049836"/>
                <a:gd name="connsiteY4" fmla="*/ 85287 h 414889"/>
                <a:gd name="connsiteX5" fmla="*/ 0 w 7049836"/>
                <a:gd name="connsiteY5" fmla="*/ 0 h 414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49836" h="414889">
                  <a:moveTo>
                    <a:pt x="7049837" y="414890"/>
                  </a:moveTo>
                  <a:lnTo>
                    <a:pt x="5600589" y="329594"/>
                  </a:lnTo>
                  <a:cubicBezTo>
                    <a:pt x="5479183" y="322450"/>
                    <a:pt x="5352663" y="315001"/>
                    <a:pt x="5222303" y="307334"/>
                  </a:cubicBezTo>
                  <a:cubicBezTo>
                    <a:pt x="4078446" y="364407"/>
                    <a:pt x="2970850" y="299228"/>
                    <a:pt x="1827527" y="107547"/>
                  </a:cubicBezTo>
                  <a:lnTo>
                    <a:pt x="1449241" y="85287"/>
                  </a:lnTo>
                  <a:cubicBezTo>
                    <a:pt x="599379" y="35271"/>
                    <a:pt x="0" y="0"/>
                    <a:pt x="0" y="0"/>
                  </a:cubicBezTo>
                </a:path>
              </a:pathLst>
            </a:custGeom>
            <a:noFill/>
            <a:ln w="508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 39">
              <a:extLst>
                <a:ext uri="{FF2B5EF4-FFF2-40B4-BE49-F238E27FC236}">
                  <a16:creationId xmlns:a16="http://schemas.microsoft.com/office/drawing/2014/main" id="{2F3127C6-A03E-5AEC-357A-3C3165106673}"/>
                </a:ext>
              </a:extLst>
            </p:cNvPr>
            <p:cNvSpPr/>
            <p:nvPr/>
          </p:nvSpPr>
          <p:spPr>
            <a:xfrm>
              <a:off x="8489352" y="9632175"/>
              <a:ext cx="7050262" cy="414908"/>
            </a:xfrm>
            <a:custGeom>
              <a:avLst/>
              <a:gdLst>
                <a:gd name="connsiteX0" fmla="*/ 7050262 w 7050262"/>
                <a:gd name="connsiteY0" fmla="*/ 414909 h 414908"/>
                <a:gd name="connsiteX1" fmla="*/ 0 w 7050262"/>
                <a:gd name="connsiteY1" fmla="*/ 0 h 414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50262" h="414908">
                  <a:moveTo>
                    <a:pt x="7050262" y="414909"/>
                  </a:moveTo>
                  <a:lnTo>
                    <a:pt x="0" y="0"/>
                  </a:lnTo>
                </a:path>
              </a:pathLst>
            </a:custGeom>
            <a:noFill/>
            <a:ln w="508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49" name="Текст 55">
            <a:extLst>
              <a:ext uri="{FF2B5EF4-FFF2-40B4-BE49-F238E27FC236}">
                <a16:creationId xmlns:a16="http://schemas.microsoft.com/office/drawing/2014/main" id="{D6860B03-824D-F03A-3E48-E2B26EFBBF2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6752879" y="12027301"/>
            <a:ext cx="6767817" cy="86177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8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</a:defRPr>
            </a:lvl2pPr>
            <a:lvl3pPr marL="0" indent="0">
              <a:buNone/>
              <a:defRPr sz="3200">
                <a:solidFill>
                  <a:schemeClr val="tx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50" name="Текст 55">
            <a:extLst>
              <a:ext uri="{FF2B5EF4-FFF2-40B4-BE49-F238E27FC236}">
                <a16:creationId xmlns:a16="http://schemas.microsoft.com/office/drawing/2014/main" id="{4A4ADFF9-0EF4-0D79-DC0D-10CA0B858A5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6752879" y="11185470"/>
            <a:ext cx="6767817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</a:defRPr>
            </a:lvl2pPr>
            <a:lvl3pPr marL="0" indent="0">
              <a:buNone/>
              <a:defRPr sz="3200">
                <a:solidFill>
                  <a:schemeClr val="tx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7" name="Полилиния 6">
            <a:extLst>
              <a:ext uri="{FF2B5EF4-FFF2-40B4-BE49-F238E27FC236}">
                <a16:creationId xmlns:a16="http://schemas.microsoft.com/office/drawing/2014/main" id="{7D22F5BB-CEEA-DC82-3ECA-FDEE7E5834D7}"/>
              </a:ext>
            </a:extLst>
          </p:cNvPr>
          <p:cNvSpPr/>
          <p:nvPr/>
        </p:nvSpPr>
        <p:spPr>
          <a:xfrm rot="10800000" flipH="1">
            <a:off x="922338" y="3582319"/>
            <a:ext cx="22522744" cy="6733218"/>
          </a:xfrm>
          <a:custGeom>
            <a:avLst/>
            <a:gdLst>
              <a:gd name="connsiteX0" fmla="*/ 986133 w 22522744"/>
              <a:gd name="connsiteY0" fmla="*/ 6733218 h 6733218"/>
              <a:gd name="connsiteX1" fmla="*/ 21536612 w 22522744"/>
              <a:gd name="connsiteY1" fmla="*/ 6733218 h 6733218"/>
              <a:gd name="connsiteX2" fmla="*/ 22522744 w 22522744"/>
              <a:gd name="connsiteY2" fmla="*/ 5747085 h 6733218"/>
              <a:gd name="connsiteX3" fmla="*/ 22522744 w 22522744"/>
              <a:gd name="connsiteY3" fmla="*/ 1963935 h 6733218"/>
              <a:gd name="connsiteX4" fmla="*/ 21536612 w 22522744"/>
              <a:gd name="connsiteY4" fmla="*/ 977802 h 6733218"/>
              <a:gd name="connsiteX5" fmla="*/ 17739634 w 22522744"/>
              <a:gd name="connsiteY5" fmla="*/ 977802 h 6733218"/>
              <a:gd name="connsiteX6" fmla="*/ 17644810 w 22522744"/>
              <a:gd name="connsiteY6" fmla="*/ 945475 h 6733218"/>
              <a:gd name="connsiteX7" fmla="*/ 17467990 w 22522744"/>
              <a:gd name="connsiteY7" fmla="*/ 809445 h 6733218"/>
              <a:gd name="connsiteX8" fmla="*/ 16826354 w 22522744"/>
              <a:gd name="connsiteY8" fmla="*/ 42322 h 6733218"/>
              <a:gd name="connsiteX9" fmla="*/ 16735862 w 22522744"/>
              <a:gd name="connsiteY9" fmla="*/ 0 h 6733218"/>
              <a:gd name="connsiteX10" fmla="*/ 16617778 w 22522744"/>
              <a:gd name="connsiteY10" fmla="*/ 118072 h 6733218"/>
              <a:gd name="connsiteX11" fmla="*/ 16617778 w 22522744"/>
              <a:gd name="connsiteY11" fmla="*/ 496926 h 6733218"/>
              <a:gd name="connsiteX12" fmla="*/ 16314286 w 22522744"/>
              <a:gd name="connsiteY12" fmla="*/ 954800 h 6733218"/>
              <a:gd name="connsiteX13" fmla="*/ 16240194 w 22522744"/>
              <a:gd name="connsiteY13" fmla="*/ 977802 h 6733218"/>
              <a:gd name="connsiteX14" fmla="*/ 986133 w 22522744"/>
              <a:gd name="connsiteY14" fmla="*/ 977802 h 6733218"/>
              <a:gd name="connsiteX15" fmla="*/ 0 w 22522744"/>
              <a:gd name="connsiteY15" fmla="*/ 1963935 h 6733218"/>
              <a:gd name="connsiteX16" fmla="*/ 0 w 22522744"/>
              <a:gd name="connsiteY16" fmla="*/ 5747085 h 6733218"/>
              <a:gd name="connsiteX17" fmla="*/ 986133 w 22522744"/>
              <a:gd name="connsiteY17" fmla="*/ 6733218 h 6733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2522744" h="6733218">
                <a:moveTo>
                  <a:pt x="986133" y="6733218"/>
                </a:moveTo>
                <a:lnTo>
                  <a:pt x="21536612" y="6733218"/>
                </a:lnTo>
                <a:cubicBezTo>
                  <a:pt x="22081236" y="6733218"/>
                  <a:pt x="22522744" y="6291711"/>
                  <a:pt x="22522744" y="5747085"/>
                </a:cubicBezTo>
                <a:lnTo>
                  <a:pt x="22522744" y="1963935"/>
                </a:lnTo>
                <a:cubicBezTo>
                  <a:pt x="22522744" y="1419309"/>
                  <a:pt x="22081236" y="977802"/>
                  <a:pt x="21536612" y="977802"/>
                </a:cubicBezTo>
                <a:lnTo>
                  <a:pt x="17739634" y="977802"/>
                </a:lnTo>
                <a:lnTo>
                  <a:pt x="17644810" y="945475"/>
                </a:lnTo>
                <a:cubicBezTo>
                  <a:pt x="17577422" y="913983"/>
                  <a:pt x="17516860" y="867881"/>
                  <a:pt x="17467990" y="809445"/>
                </a:cubicBezTo>
                <a:lnTo>
                  <a:pt x="16826354" y="42322"/>
                </a:lnTo>
                <a:cubicBezTo>
                  <a:pt x="16804026" y="15499"/>
                  <a:pt x="16770818" y="0"/>
                  <a:pt x="16735862" y="0"/>
                </a:cubicBezTo>
                <a:cubicBezTo>
                  <a:pt x="16670622" y="0"/>
                  <a:pt x="16617778" y="52862"/>
                  <a:pt x="16617778" y="118072"/>
                </a:cubicBezTo>
                <a:lnTo>
                  <a:pt x="16617778" y="496926"/>
                </a:lnTo>
                <a:cubicBezTo>
                  <a:pt x="16617778" y="702759"/>
                  <a:pt x="16492626" y="879363"/>
                  <a:pt x="16314286" y="954800"/>
                </a:cubicBezTo>
                <a:lnTo>
                  <a:pt x="16240194" y="977802"/>
                </a:lnTo>
                <a:lnTo>
                  <a:pt x="986133" y="977802"/>
                </a:lnTo>
                <a:cubicBezTo>
                  <a:pt x="441507" y="977802"/>
                  <a:pt x="0" y="1419309"/>
                  <a:pt x="0" y="1963935"/>
                </a:cubicBezTo>
                <a:lnTo>
                  <a:pt x="0" y="5747085"/>
                </a:lnTo>
                <a:cubicBezTo>
                  <a:pt x="0" y="6291711"/>
                  <a:pt x="441507" y="6733218"/>
                  <a:pt x="986133" y="6733218"/>
                </a:cubicBezTo>
                <a:close/>
              </a:path>
            </a:pathLst>
          </a:custGeom>
          <a:gradFill>
            <a:gsLst>
              <a:gs pos="38000">
                <a:schemeClr val="bg1"/>
              </a:gs>
              <a:gs pos="93000">
                <a:schemeClr val="tx2">
                  <a:lumMod val="40000"/>
                  <a:lumOff val="60000"/>
                </a:schemeClr>
              </a:gs>
            </a:gsLst>
            <a:lin ang="18000000" scaled="0"/>
          </a:gradFill>
          <a:ln w="13362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42" name="Заголовок 8">
            <a:extLst>
              <a:ext uri="{FF2B5EF4-FFF2-40B4-BE49-F238E27FC236}">
                <a16:creationId xmlns:a16="http://schemas.microsoft.com/office/drawing/2014/main" id="{06A9CF14-33C2-7304-A54A-E05C49E202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8941" y="4500355"/>
            <a:ext cx="18104530" cy="3693319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algn="ctr" defTabSz="1828595" rtl="0" eaLnBrk="1" latinLnBrk="0" hangingPunct="1">
              <a:lnSpc>
                <a:spcPct val="90000"/>
              </a:lnSpc>
              <a:spcAft>
                <a:spcPts val="0"/>
              </a:spcAft>
              <a:defRPr lang="ru-RU" sz="13000" kern="1200" dirty="0">
                <a:ln w="254000"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YS Text Wide Heavy Wide" pitchFamily="2" charset="-52"/>
              </a:defRPr>
            </a:lvl1pPr>
          </a:lstStyle>
          <a:p>
            <a:r>
              <a:rPr lang="ru-RU" dirty="0"/>
              <a:t>Спасибо за внимание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785655A-AA45-FFC7-EBBF-40137CB079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688602" y="695474"/>
            <a:ext cx="2752759" cy="76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78179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с подзаголовком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Заголовок 20">
            <a:extLst>
              <a:ext uri="{FF2B5EF4-FFF2-40B4-BE49-F238E27FC236}">
                <a16:creationId xmlns:a16="http://schemas.microsoft.com/office/drawing/2014/main" id="{7436C6E8-2BF2-A7DD-A6E8-F7A22E55E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2338" y="791369"/>
            <a:ext cx="21029613" cy="123110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8" name="Текст 11">
            <a:extLst>
              <a:ext uri="{FF2B5EF4-FFF2-40B4-BE49-F238E27FC236}">
                <a16:creationId xmlns:a16="http://schemas.microsoft.com/office/drawing/2014/main" id="{AB8AA476-A078-9867-7590-B11A1818670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2336" y="2326891"/>
            <a:ext cx="21029613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3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Под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10280444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с подзаголовком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Заголовок 20">
            <a:extLst>
              <a:ext uri="{FF2B5EF4-FFF2-40B4-BE49-F238E27FC236}">
                <a16:creationId xmlns:a16="http://schemas.microsoft.com/office/drawing/2014/main" id="{7436C6E8-2BF2-A7DD-A6E8-F7A22E55E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2339" y="791369"/>
            <a:ext cx="21029610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8" name="Текст 11">
            <a:extLst>
              <a:ext uri="{FF2B5EF4-FFF2-40B4-BE49-F238E27FC236}">
                <a16:creationId xmlns:a16="http://schemas.microsoft.com/office/drawing/2014/main" id="{AB8AA476-A078-9867-7590-B11A1818670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2336" y="2148475"/>
            <a:ext cx="21029613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3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Под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405726552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4 раздела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Заголовок 20">
            <a:extLst>
              <a:ext uri="{FF2B5EF4-FFF2-40B4-BE49-F238E27FC236}">
                <a16:creationId xmlns:a16="http://schemas.microsoft.com/office/drawing/2014/main" id="{7436C6E8-2BF2-A7DD-A6E8-F7A22E55E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2339" y="791369"/>
            <a:ext cx="11268868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2" name="Рисунок 2">
            <a:extLst>
              <a:ext uri="{FF2B5EF4-FFF2-40B4-BE49-F238E27FC236}">
                <a16:creationId xmlns:a16="http://schemas.microsoft.com/office/drawing/2014/main" id="{E9DCBDBA-329C-413C-89A0-B22039D0AE90}"/>
              </a:ext>
            </a:extLst>
          </p:cNvPr>
          <p:cNvSpPr/>
          <p:nvPr userDrawn="1"/>
        </p:nvSpPr>
        <p:spPr>
          <a:xfrm rot="10003791">
            <a:off x="-27398045" y="6755178"/>
            <a:ext cx="37651226" cy="16275492"/>
          </a:xfrm>
          <a:custGeom>
            <a:avLst/>
            <a:gdLst>
              <a:gd name="connsiteX0" fmla="*/ 24781932 w 25004707"/>
              <a:gd name="connsiteY0" fmla="*/ 4992328 h 10808782"/>
              <a:gd name="connsiteX1" fmla="*/ 24813712 w 25004707"/>
              <a:gd name="connsiteY1" fmla="*/ 4507894 h 10808782"/>
              <a:gd name="connsiteX2" fmla="*/ 24781932 w 25004707"/>
              <a:gd name="connsiteY2" fmla="*/ 4992328 h 10808782"/>
              <a:gd name="connsiteX3" fmla="*/ 24749994 w 25004707"/>
              <a:gd name="connsiteY3" fmla="*/ 5477249 h 10808782"/>
              <a:gd name="connsiteX4" fmla="*/ 24781932 w 25004707"/>
              <a:gd name="connsiteY4" fmla="*/ 4992328 h 10808782"/>
              <a:gd name="connsiteX5" fmla="*/ 23497668 w 25004707"/>
              <a:gd name="connsiteY5" fmla="*/ 4908160 h 10808782"/>
              <a:gd name="connsiteX6" fmla="*/ 23465886 w 25004707"/>
              <a:gd name="connsiteY6" fmla="*/ 5393065 h 10808782"/>
              <a:gd name="connsiteX7" fmla="*/ 24813712 w 25004707"/>
              <a:gd name="connsiteY7" fmla="*/ 4507894 h 10808782"/>
              <a:gd name="connsiteX8" fmla="*/ 24845492 w 25004707"/>
              <a:gd name="connsiteY8" fmla="*/ 4022989 h 10808782"/>
              <a:gd name="connsiteX9" fmla="*/ 24813712 w 25004707"/>
              <a:gd name="connsiteY9" fmla="*/ 4507894 h 10808782"/>
              <a:gd name="connsiteX10" fmla="*/ 23529446 w 25004707"/>
              <a:gd name="connsiteY10" fmla="*/ 4423711 h 10808782"/>
              <a:gd name="connsiteX11" fmla="*/ 24718214 w 25004707"/>
              <a:gd name="connsiteY11" fmla="*/ 5961666 h 10808782"/>
              <a:gd name="connsiteX12" fmla="*/ 24686276 w 25004707"/>
              <a:gd name="connsiteY12" fmla="*/ 6446571 h 10808782"/>
              <a:gd name="connsiteX13" fmla="*/ 23402168 w 25004707"/>
              <a:gd name="connsiteY13" fmla="*/ 6362388 h 10808782"/>
              <a:gd name="connsiteX14" fmla="*/ 24718214 w 25004707"/>
              <a:gd name="connsiteY14" fmla="*/ 5961666 h 10808782"/>
              <a:gd name="connsiteX15" fmla="*/ 24749994 w 25004707"/>
              <a:gd name="connsiteY15" fmla="*/ 5477249 h 10808782"/>
              <a:gd name="connsiteX16" fmla="*/ 24718214 w 25004707"/>
              <a:gd name="connsiteY16" fmla="*/ 5961666 h 10808782"/>
              <a:gd name="connsiteX17" fmla="*/ 23433948 w 25004707"/>
              <a:gd name="connsiteY17" fmla="*/ 5877498 h 10808782"/>
              <a:gd name="connsiteX18" fmla="*/ 24749994 w 25004707"/>
              <a:gd name="connsiteY18" fmla="*/ 5477249 h 10808782"/>
              <a:gd name="connsiteX19" fmla="*/ 23465886 w 25004707"/>
              <a:gd name="connsiteY19" fmla="*/ 5393065 h 10808782"/>
              <a:gd name="connsiteX20" fmla="*/ 24940990 w 25004707"/>
              <a:gd name="connsiteY20" fmla="*/ 2568777 h 10808782"/>
              <a:gd name="connsiteX21" fmla="*/ 24909210 w 25004707"/>
              <a:gd name="connsiteY21" fmla="*/ 3053682 h 10808782"/>
              <a:gd name="connsiteX22" fmla="*/ 23624944 w 25004707"/>
              <a:gd name="connsiteY22" fmla="*/ 2969499 h 10808782"/>
              <a:gd name="connsiteX23" fmla="*/ 24877430 w 25004707"/>
              <a:gd name="connsiteY23" fmla="*/ 3538571 h 10808782"/>
              <a:gd name="connsiteX24" fmla="*/ 24845492 w 25004707"/>
              <a:gd name="connsiteY24" fmla="*/ 4023005 h 10808782"/>
              <a:gd name="connsiteX25" fmla="*/ 24845492 w 25004707"/>
              <a:gd name="connsiteY25" fmla="*/ 4023005 h 10808782"/>
              <a:gd name="connsiteX26" fmla="*/ 24856664 w 25004707"/>
              <a:gd name="connsiteY26" fmla="*/ 4023744 h 10808782"/>
              <a:gd name="connsiteX27" fmla="*/ 24845492 w 25004707"/>
              <a:gd name="connsiteY27" fmla="*/ 4023005 h 10808782"/>
              <a:gd name="connsiteX28" fmla="*/ 23561384 w 25004707"/>
              <a:gd name="connsiteY28" fmla="*/ 3938837 h 10808782"/>
              <a:gd name="connsiteX29" fmla="*/ 24940990 w 25004707"/>
              <a:gd name="connsiteY29" fmla="*/ 2568777 h 10808782"/>
              <a:gd name="connsiteX30" fmla="*/ 23656882 w 25004707"/>
              <a:gd name="connsiteY30" fmla="*/ 2484594 h 10808782"/>
              <a:gd name="connsiteX31" fmla="*/ 23624944 w 25004707"/>
              <a:gd name="connsiteY31" fmla="*/ 2969499 h 10808782"/>
              <a:gd name="connsiteX32" fmla="*/ 24940990 w 25004707"/>
              <a:gd name="connsiteY32" fmla="*/ 2568777 h 10808782"/>
              <a:gd name="connsiteX33" fmla="*/ 24952160 w 25004707"/>
              <a:gd name="connsiteY33" fmla="*/ 2569500 h 10808782"/>
              <a:gd name="connsiteX34" fmla="*/ 24940990 w 25004707"/>
              <a:gd name="connsiteY34" fmla="*/ 2568777 h 10808782"/>
              <a:gd name="connsiteX35" fmla="*/ 25004708 w 25004707"/>
              <a:gd name="connsiteY35" fmla="*/ 1599423 h 10808782"/>
              <a:gd name="connsiteX36" fmla="*/ 5763304 w 25004707"/>
              <a:gd name="connsiteY36" fmla="*/ 338142 h 10808782"/>
              <a:gd name="connsiteX37" fmla="*/ 631905 w 25004707"/>
              <a:gd name="connsiteY37" fmla="*/ 1774 h 10808782"/>
              <a:gd name="connsiteX38" fmla="*/ 604841 w 25004707"/>
              <a:gd name="connsiteY38" fmla="*/ 0 h 10808782"/>
              <a:gd name="connsiteX39" fmla="*/ 0 w 25004707"/>
              <a:gd name="connsiteY39" fmla="*/ 9209356 h 10808782"/>
              <a:gd name="connsiteX40" fmla="*/ 1284177 w 25004707"/>
              <a:gd name="connsiteY40" fmla="*/ 9293539 h 10808782"/>
              <a:gd name="connsiteX41" fmla="*/ 24909210 w 25004707"/>
              <a:gd name="connsiteY41" fmla="*/ 3053651 h 10808782"/>
              <a:gd name="connsiteX42" fmla="*/ 24877430 w 25004707"/>
              <a:gd name="connsiteY42" fmla="*/ 3538556 h 10808782"/>
              <a:gd name="connsiteX43" fmla="*/ 23593164 w 25004707"/>
              <a:gd name="connsiteY43" fmla="*/ 3454388 h 10808782"/>
              <a:gd name="connsiteX44" fmla="*/ 24590780 w 25004707"/>
              <a:gd name="connsiteY44" fmla="*/ 7900799 h 10808782"/>
              <a:gd name="connsiteX45" fmla="*/ 24622718 w 25004707"/>
              <a:gd name="connsiteY45" fmla="*/ 7415910 h 10808782"/>
              <a:gd name="connsiteX46" fmla="*/ 24590780 w 25004707"/>
              <a:gd name="connsiteY46" fmla="*/ 7900799 h 10808782"/>
              <a:gd name="connsiteX47" fmla="*/ 23306672 w 25004707"/>
              <a:gd name="connsiteY47" fmla="*/ 7816615 h 10808782"/>
              <a:gd name="connsiteX48" fmla="*/ 23274890 w 25004707"/>
              <a:gd name="connsiteY48" fmla="*/ 8301049 h 10808782"/>
              <a:gd name="connsiteX49" fmla="*/ 21990782 w 25004707"/>
              <a:gd name="connsiteY49" fmla="*/ 8216849 h 10808782"/>
              <a:gd name="connsiteX50" fmla="*/ 21466882 w 25004707"/>
              <a:gd name="connsiteY50" fmla="*/ 8182522 h 10808782"/>
              <a:gd name="connsiteX51" fmla="*/ 20799970 w 25004707"/>
              <a:gd name="connsiteY51" fmla="*/ 8169870 h 10808782"/>
              <a:gd name="connsiteX52" fmla="*/ 24590780 w 25004707"/>
              <a:gd name="connsiteY52" fmla="*/ 7900799 h 10808782"/>
              <a:gd name="connsiteX53" fmla="*/ 24601948 w 25004707"/>
              <a:gd name="connsiteY53" fmla="*/ 7901538 h 10808782"/>
              <a:gd name="connsiteX54" fmla="*/ 24622718 w 25004707"/>
              <a:gd name="connsiteY54" fmla="*/ 7415910 h 10808782"/>
              <a:gd name="connsiteX55" fmla="*/ 24654496 w 25004707"/>
              <a:gd name="connsiteY55" fmla="*/ 6931005 h 10808782"/>
              <a:gd name="connsiteX56" fmla="*/ 24622718 w 25004707"/>
              <a:gd name="connsiteY56" fmla="*/ 7415910 h 10808782"/>
              <a:gd name="connsiteX57" fmla="*/ 23338452 w 25004707"/>
              <a:gd name="connsiteY57" fmla="*/ 7331710 h 10808782"/>
              <a:gd name="connsiteX58" fmla="*/ 24558998 w 25004707"/>
              <a:gd name="connsiteY58" fmla="*/ 8385232 h 10808782"/>
              <a:gd name="connsiteX59" fmla="*/ 24527218 w 25004707"/>
              <a:gd name="connsiteY59" fmla="*/ 8870137 h 10808782"/>
              <a:gd name="connsiteX60" fmla="*/ 23242952 w 25004707"/>
              <a:gd name="connsiteY60" fmla="*/ 8785953 h 10808782"/>
              <a:gd name="connsiteX61" fmla="*/ 24558998 w 25004707"/>
              <a:gd name="connsiteY61" fmla="*/ 8385232 h 10808782"/>
              <a:gd name="connsiteX62" fmla="*/ 24590780 w 25004707"/>
              <a:gd name="connsiteY62" fmla="*/ 7900799 h 10808782"/>
              <a:gd name="connsiteX63" fmla="*/ 24558998 w 25004707"/>
              <a:gd name="connsiteY63" fmla="*/ 8385232 h 10808782"/>
              <a:gd name="connsiteX64" fmla="*/ 23274890 w 25004707"/>
              <a:gd name="connsiteY64" fmla="*/ 8301049 h 10808782"/>
              <a:gd name="connsiteX65" fmla="*/ 23242952 w 25004707"/>
              <a:gd name="connsiteY65" fmla="*/ 8785953 h 10808782"/>
              <a:gd name="connsiteX66" fmla="*/ 24654496 w 25004707"/>
              <a:gd name="connsiteY66" fmla="*/ 6931005 h 10808782"/>
              <a:gd name="connsiteX67" fmla="*/ 24686434 w 25004707"/>
              <a:gd name="connsiteY67" fmla="*/ 6446571 h 10808782"/>
              <a:gd name="connsiteX68" fmla="*/ 24697448 w 25004707"/>
              <a:gd name="connsiteY68" fmla="*/ 6447294 h 10808782"/>
              <a:gd name="connsiteX69" fmla="*/ 24654496 w 25004707"/>
              <a:gd name="connsiteY69" fmla="*/ 6931005 h 10808782"/>
              <a:gd name="connsiteX70" fmla="*/ 23370388 w 25004707"/>
              <a:gd name="connsiteY70" fmla="*/ 6846837 h 10808782"/>
              <a:gd name="connsiteX71" fmla="*/ 24463500 w 25004707"/>
              <a:gd name="connsiteY71" fmla="*/ 9839444 h 10808782"/>
              <a:gd name="connsiteX72" fmla="*/ 24431722 w 25004707"/>
              <a:gd name="connsiteY72" fmla="*/ 10323878 h 10808782"/>
              <a:gd name="connsiteX73" fmla="*/ 23147614 w 25004707"/>
              <a:gd name="connsiteY73" fmla="*/ 10239694 h 10808782"/>
              <a:gd name="connsiteX74" fmla="*/ 23338608 w 25004707"/>
              <a:gd name="connsiteY74" fmla="*/ 7331726 h 10808782"/>
              <a:gd name="connsiteX75" fmla="*/ 23306672 w 25004707"/>
              <a:gd name="connsiteY75" fmla="*/ 7816631 h 10808782"/>
              <a:gd name="connsiteX76" fmla="*/ 22022564 w 25004707"/>
              <a:gd name="connsiteY76" fmla="*/ 7732447 h 10808782"/>
              <a:gd name="connsiteX77" fmla="*/ 23242952 w 25004707"/>
              <a:gd name="connsiteY77" fmla="*/ 8785953 h 10808782"/>
              <a:gd name="connsiteX78" fmla="*/ 23211172 w 25004707"/>
              <a:gd name="connsiteY78" fmla="*/ 9270371 h 10808782"/>
              <a:gd name="connsiteX79" fmla="*/ 23242952 w 25004707"/>
              <a:gd name="connsiteY79" fmla="*/ 8785953 h 10808782"/>
              <a:gd name="connsiteX80" fmla="*/ 21958844 w 25004707"/>
              <a:gd name="connsiteY80" fmla="*/ 8701770 h 10808782"/>
              <a:gd name="connsiteX81" fmla="*/ 23433948 w 25004707"/>
              <a:gd name="connsiteY81" fmla="*/ 5877498 h 10808782"/>
              <a:gd name="connsiteX82" fmla="*/ 23465886 w 25004707"/>
              <a:gd name="connsiteY82" fmla="*/ 5393065 h 10808782"/>
              <a:gd name="connsiteX83" fmla="*/ 23433948 w 25004707"/>
              <a:gd name="connsiteY83" fmla="*/ 5877498 h 10808782"/>
              <a:gd name="connsiteX84" fmla="*/ 22149840 w 25004707"/>
              <a:gd name="connsiteY84" fmla="*/ 5793299 h 10808782"/>
              <a:gd name="connsiteX85" fmla="*/ 22138828 w 25004707"/>
              <a:gd name="connsiteY85" fmla="*/ 6277685 h 10808782"/>
              <a:gd name="connsiteX86" fmla="*/ 23465886 w 25004707"/>
              <a:gd name="connsiteY86" fmla="*/ 5393065 h 10808782"/>
              <a:gd name="connsiteX87" fmla="*/ 22181622 w 25004707"/>
              <a:gd name="connsiteY87" fmla="*/ 5308881 h 10808782"/>
              <a:gd name="connsiteX88" fmla="*/ 23115676 w 25004707"/>
              <a:gd name="connsiteY88" fmla="*/ 10724599 h 10808782"/>
              <a:gd name="connsiteX89" fmla="*/ 23147614 w 25004707"/>
              <a:gd name="connsiteY89" fmla="*/ 10239709 h 10808782"/>
              <a:gd name="connsiteX90" fmla="*/ 23115676 w 25004707"/>
              <a:gd name="connsiteY90" fmla="*/ 10724599 h 10808782"/>
              <a:gd name="connsiteX91" fmla="*/ 24399940 w 25004707"/>
              <a:gd name="connsiteY91" fmla="*/ 10808782 h 10808782"/>
              <a:gd name="connsiteX92" fmla="*/ 24431722 w 25004707"/>
              <a:gd name="connsiteY92" fmla="*/ 10323878 h 10808782"/>
              <a:gd name="connsiteX93" fmla="*/ 23115676 w 25004707"/>
              <a:gd name="connsiteY93" fmla="*/ 10724599 h 10808782"/>
              <a:gd name="connsiteX94" fmla="*/ 21831568 w 25004707"/>
              <a:gd name="connsiteY94" fmla="*/ 10640431 h 10808782"/>
              <a:gd name="connsiteX95" fmla="*/ 23147614 w 25004707"/>
              <a:gd name="connsiteY95" fmla="*/ 10239709 h 10808782"/>
              <a:gd name="connsiteX96" fmla="*/ 23179392 w 25004707"/>
              <a:gd name="connsiteY96" fmla="*/ 9755261 h 10808782"/>
              <a:gd name="connsiteX97" fmla="*/ 23147614 w 25004707"/>
              <a:gd name="connsiteY97" fmla="*/ 10239709 h 10808782"/>
              <a:gd name="connsiteX98" fmla="*/ 21863348 w 25004707"/>
              <a:gd name="connsiteY98" fmla="*/ 10155526 h 10808782"/>
              <a:gd name="connsiteX99" fmla="*/ 23720600 w 25004707"/>
              <a:gd name="connsiteY99" fmla="*/ 1515244 h 10808782"/>
              <a:gd name="connsiteX100" fmla="*/ 23688662 w 25004707"/>
              <a:gd name="connsiteY100" fmla="*/ 2000144 h 10808782"/>
              <a:gd name="connsiteX101" fmla="*/ 23688662 w 25004707"/>
              <a:gd name="connsiteY101" fmla="*/ 2000144 h 10808782"/>
              <a:gd name="connsiteX102" fmla="*/ 24972772 w 25004707"/>
              <a:gd name="connsiteY102" fmla="*/ 2084312 h 10808782"/>
              <a:gd name="connsiteX103" fmla="*/ 23688662 w 25004707"/>
              <a:gd name="connsiteY103" fmla="*/ 2000144 h 10808782"/>
              <a:gd name="connsiteX104" fmla="*/ 22404554 w 25004707"/>
              <a:gd name="connsiteY104" fmla="*/ 1915976 h 10808782"/>
              <a:gd name="connsiteX105" fmla="*/ 23179392 w 25004707"/>
              <a:gd name="connsiteY105" fmla="*/ 9755261 h 10808782"/>
              <a:gd name="connsiteX106" fmla="*/ 23211172 w 25004707"/>
              <a:gd name="connsiteY106" fmla="*/ 9270387 h 10808782"/>
              <a:gd name="connsiteX107" fmla="*/ 23179392 w 25004707"/>
              <a:gd name="connsiteY107" fmla="*/ 9755261 h 10808782"/>
              <a:gd name="connsiteX108" fmla="*/ 21895126 w 25004707"/>
              <a:gd name="connsiteY108" fmla="*/ 9671092 h 10808782"/>
              <a:gd name="connsiteX109" fmla="*/ 21863348 w 25004707"/>
              <a:gd name="connsiteY109" fmla="*/ 10155526 h 10808782"/>
              <a:gd name="connsiteX110" fmla="*/ 23179392 w 25004707"/>
              <a:gd name="connsiteY110" fmla="*/ 9755261 h 10808782"/>
              <a:gd name="connsiteX111" fmla="*/ 24463500 w 25004707"/>
              <a:gd name="connsiteY111" fmla="*/ 9839460 h 10808782"/>
              <a:gd name="connsiteX112" fmla="*/ 24495438 w 25004707"/>
              <a:gd name="connsiteY112" fmla="*/ 9354555 h 10808782"/>
              <a:gd name="connsiteX113" fmla="*/ 24506452 w 25004707"/>
              <a:gd name="connsiteY113" fmla="*/ 9355294 h 10808782"/>
              <a:gd name="connsiteX114" fmla="*/ 23593164 w 25004707"/>
              <a:gd name="connsiteY114" fmla="*/ 3454388 h 10808782"/>
              <a:gd name="connsiteX115" fmla="*/ 23625102 w 25004707"/>
              <a:gd name="connsiteY115" fmla="*/ 2969483 h 10808782"/>
              <a:gd name="connsiteX116" fmla="*/ 23593164 w 25004707"/>
              <a:gd name="connsiteY116" fmla="*/ 3454388 h 10808782"/>
              <a:gd name="connsiteX117" fmla="*/ 22309056 w 25004707"/>
              <a:gd name="connsiteY117" fmla="*/ 3370204 h 10808782"/>
              <a:gd name="connsiteX118" fmla="*/ 23624944 w 25004707"/>
              <a:gd name="connsiteY118" fmla="*/ 2969499 h 10808782"/>
              <a:gd name="connsiteX119" fmla="*/ 22340836 w 25004707"/>
              <a:gd name="connsiteY119" fmla="*/ 2885315 h 10808782"/>
              <a:gd name="connsiteX120" fmla="*/ 23593164 w 25004707"/>
              <a:gd name="connsiteY120" fmla="*/ 3454388 h 10808782"/>
              <a:gd name="connsiteX121" fmla="*/ 23561384 w 25004707"/>
              <a:gd name="connsiteY121" fmla="*/ 3938821 h 10808782"/>
              <a:gd name="connsiteX122" fmla="*/ 22277118 w 25004707"/>
              <a:gd name="connsiteY122" fmla="*/ 3854653 h 10808782"/>
              <a:gd name="connsiteX123" fmla="*/ 23434106 w 25004707"/>
              <a:gd name="connsiteY123" fmla="*/ 5877482 h 10808782"/>
              <a:gd name="connsiteX124" fmla="*/ 23402168 w 25004707"/>
              <a:gd name="connsiteY124" fmla="*/ 6362388 h 10808782"/>
              <a:gd name="connsiteX125" fmla="*/ 22450808 w 25004707"/>
              <a:gd name="connsiteY125" fmla="*/ 6300020 h 10808782"/>
              <a:gd name="connsiteX126" fmla="*/ 22138828 w 25004707"/>
              <a:gd name="connsiteY126" fmla="*/ 6277685 h 10808782"/>
              <a:gd name="connsiteX127" fmla="*/ 23370388 w 25004707"/>
              <a:gd name="connsiteY127" fmla="*/ 6846837 h 10808782"/>
              <a:gd name="connsiteX128" fmla="*/ 23402168 w 25004707"/>
              <a:gd name="connsiteY128" fmla="*/ 6362404 h 10808782"/>
              <a:gd name="connsiteX129" fmla="*/ 23370388 w 25004707"/>
              <a:gd name="connsiteY129" fmla="*/ 6846837 h 10808782"/>
              <a:gd name="connsiteX130" fmla="*/ 23338452 w 25004707"/>
              <a:gd name="connsiteY130" fmla="*/ 7331710 h 10808782"/>
              <a:gd name="connsiteX131" fmla="*/ 23370388 w 25004707"/>
              <a:gd name="connsiteY131" fmla="*/ 6846837 h 10808782"/>
              <a:gd name="connsiteX132" fmla="*/ 22133950 w 25004707"/>
              <a:gd name="connsiteY132" fmla="*/ 6765781 h 10808782"/>
              <a:gd name="connsiteX133" fmla="*/ 23529604 w 25004707"/>
              <a:gd name="connsiteY133" fmla="*/ 4423711 h 10808782"/>
              <a:gd name="connsiteX134" fmla="*/ 23561384 w 25004707"/>
              <a:gd name="connsiteY134" fmla="*/ 3938806 h 10808782"/>
              <a:gd name="connsiteX135" fmla="*/ 23529604 w 25004707"/>
              <a:gd name="connsiteY135" fmla="*/ 4423711 h 10808782"/>
              <a:gd name="connsiteX136" fmla="*/ 23497668 w 25004707"/>
              <a:gd name="connsiteY136" fmla="*/ 4908160 h 10808782"/>
              <a:gd name="connsiteX137" fmla="*/ 22213560 w 25004707"/>
              <a:gd name="connsiteY137" fmla="*/ 4823976 h 10808782"/>
              <a:gd name="connsiteX138" fmla="*/ 23529604 w 25004707"/>
              <a:gd name="connsiteY138" fmla="*/ 4423711 h 10808782"/>
              <a:gd name="connsiteX139" fmla="*/ 22245338 w 25004707"/>
              <a:gd name="connsiteY139" fmla="*/ 4339527 h 10808782"/>
              <a:gd name="connsiteX140" fmla="*/ 23338452 w 25004707"/>
              <a:gd name="connsiteY140" fmla="*/ 7331710 h 10808782"/>
              <a:gd name="connsiteX141" fmla="*/ 22387090 w 25004707"/>
              <a:gd name="connsiteY141" fmla="*/ 7269358 h 10808782"/>
              <a:gd name="connsiteX142" fmla="*/ 22074952 w 25004707"/>
              <a:gd name="connsiteY142" fmla="*/ 7250780 h 10808782"/>
              <a:gd name="connsiteX143" fmla="*/ 23688662 w 25004707"/>
              <a:gd name="connsiteY143" fmla="*/ 2000160 h 10808782"/>
              <a:gd name="connsiteX144" fmla="*/ 23656882 w 25004707"/>
              <a:gd name="connsiteY144" fmla="*/ 2484594 h 10808782"/>
              <a:gd name="connsiteX145" fmla="*/ 22372618 w 25004707"/>
              <a:gd name="connsiteY145" fmla="*/ 2400410 h 10808782"/>
              <a:gd name="connsiteX146" fmla="*/ 23211172 w 25004707"/>
              <a:gd name="connsiteY146" fmla="*/ 9270371 h 10808782"/>
              <a:gd name="connsiteX147" fmla="*/ 24495438 w 25004707"/>
              <a:gd name="connsiteY147" fmla="*/ 9354555 h 10808782"/>
              <a:gd name="connsiteX148" fmla="*/ 24527218 w 25004707"/>
              <a:gd name="connsiteY148" fmla="*/ 8870122 h 10808782"/>
              <a:gd name="connsiteX149" fmla="*/ 24538388 w 25004707"/>
              <a:gd name="connsiteY149" fmla="*/ 8870860 h 10808782"/>
              <a:gd name="connsiteX150" fmla="*/ 23211172 w 25004707"/>
              <a:gd name="connsiteY150" fmla="*/ 9270371 h 10808782"/>
              <a:gd name="connsiteX151" fmla="*/ 21927064 w 25004707"/>
              <a:gd name="connsiteY151" fmla="*/ 9186203 h 10808782"/>
              <a:gd name="connsiteX152" fmla="*/ 21831568 w 25004707"/>
              <a:gd name="connsiteY152" fmla="*/ 10640431 h 10808782"/>
              <a:gd name="connsiteX153" fmla="*/ 21863348 w 25004707"/>
              <a:gd name="connsiteY153" fmla="*/ 10155526 h 10808782"/>
              <a:gd name="connsiteX154" fmla="*/ 21831568 w 25004707"/>
              <a:gd name="connsiteY154" fmla="*/ 10640431 h 10808782"/>
              <a:gd name="connsiteX155" fmla="*/ 20547302 w 25004707"/>
              <a:gd name="connsiteY155" fmla="*/ 10556248 h 10808782"/>
              <a:gd name="connsiteX156" fmla="*/ 21863348 w 25004707"/>
              <a:gd name="connsiteY156" fmla="*/ 10155526 h 10808782"/>
              <a:gd name="connsiteX157" fmla="*/ 20579240 w 25004707"/>
              <a:gd name="connsiteY157" fmla="*/ 10071342 h 10808782"/>
              <a:gd name="connsiteX158" fmla="*/ 22340836 w 25004707"/>
              <a:gd name="connsiteY158" fmla="*/ 2885299 h 10808782"/>
              <a:gd name="connsiteX159" fmla="*/ 22308898 w 25004707"/>
              <a:gd name="connsiteY159" fmla="*/ 3370204 h 10808782"/>
              <a:gd name="connsiteX160" fmla="*/ 21024790 w 25004707"/>
              <a:gd name="connsiteY160" fmla="*/ 3286020 h 10808782"/>
              <a:gd name="connsiteX161" fmla="*/ 22277118 w 25004707"/>
              <a:gd name="connsiteY161" fmla="*/ 3854653 h 10808782"/>
              <a:gd name="connsiteX162" fmla="*/ 22308898 w 25004707"/>
              <a:gd name="connsiteY162" fmla="*/ 3370220 h 10808782"/>
              <a:gd name="connsiteX163" fmla="*/ 22277118 w 25004707"/>
              <a:gd name="connsiteY163" fmla="*/ 3854653 h 10808782"/>
              <a:gd name="connsiteX164" fmla="*/ 20993010 w 25004707"/>
              <a:gd name="connsiteY164" fmla="*/ 3770469 h 10808782"/>
              <a:gd name="connsiteX165" fmla="*/ 21927064 w 25004707"/>
              <a:gd name="connsiteY165" fmla="*/ 9186203 h 10808782"/>
              <a:gd name="connsiteX166" fmla="*/ 21895126 w 25004707"/>
              <a:gd name="connsiteY166" fmla="*/ 9671109 h 10808782"/>
              <a:gd name="connsiteX167" fmla="*/ 20611018 w 25004707"/>
              <a:gd name="connsiteY167" fmla="*/ 9586925 h 10808782"/>
              <a:gd name="connsiteX168" fmla="*/ 21927064 w 25004707"/>
              <a:gd name="connsiteY168" fmla="*/ 9186203 h 10808782"/>
              <a:gd name="connsiteX169" fmla="*/ 21958844 w 25004707"/>
              <a:gd name="connsiteY169" fmla="*/ 8701770 h 10808782"/>
              <a:gd name="connsiteX170" fmla="*/ 21927064 w 25004707"/>
              <a:gd name="connsiteY170" fmla="*/ 9186203 h 10808782"/>
              <a:gd name="connsiteX171" fmla="*/ 20642800 w 25004707"/>
              <a:gd name="connsiteY171" fmla="*/ 9102019 h 10808782"/>
              <a:gd name="connsiteX172" fmla="*/ 22436334 w 25004707"/>
              <a:gd name="connsiteY172" fmla="*/ 1431070 h 10808782"/>
              <a:gd name="connsiteX173" fmla="*/ 22404554 w 25004707"/>
              <a:gd name="connsiteY173" fmla="*/ 1915976 h 10808782"/>
              <a:gd name="connsiteX174" fmla="*/ 22404554 w 25004707"/>
              <a:gd name="connsiteY174" fmla="*/ 1915976 h 10808782"/>
              <a:gd name="connsiteX175" fmla="*/ 21120288 w 25004707"/>
              <a:gd name="connsiteY175" fmla="*/ 1831793 h 10808782"/>
              <a:gd name="connsiteX176" fmla="*/ 22022564 w 25004707"/>
              <a:gd name="connsiteY176" fmla="*/ 7732431 h 10808782"/>
              <a:gd name="connsiteX177" fmla="*/ 22074952 w 25004707"/>
              <a:gd name="connsiteY177" fmla="*/ 7250780 h 10808782"/>
              <a:gd name="connsiteX178" fmla="*/ 22022564 w 25004707"/>
              <a:gd name="connsiteY178" fmla="*/ 7732431 h 10808782"/>
              <a:gd name="connsiteX179" fmla="*/ 21113838 w 25004707"/>
              <a:gd name="connsiteY179" fmla="*/ 7756637 h 10808782"/>
              <a:gd name="connsiteX180" fmla="*/ 22022564 w 25004707"/>
              <a:gd name="connsiteY180" fmla="*/ 7732431 h 10808782"/>
              <a:gd name="connsiteX181" fmla="*/ 21958844 w 25004707"/>
              <a:gd name="connsiteY181" fmla="*/ 8701770 h 10808782"/>
              <a:gd name="connsiteX182" fmla="*/ 22181622 w 25004707"/>
              <a:gd name="connsiteY182" fmla="*/ 5308897 h 10808782"/>
              <a:gd name="connsiteX183" fmla="*/ 22149840 w 25004707"/>
              <a:gd name="connsiteY183" fmla="*/ 5793330 h 10808782"/>
              <a:gd name="connsiteX184" fmla="*/ 21252128 w 25004707"/>
              <a:gd name="connsiteY184" fmla="*/ 5650708 h 10808782"/>
              <a:gd name="connsiteX185" fmla="*/ 21488592 w 25004707"/>
              <a:gd name="connsiteY185" fmla="*/ 6165430 h 10808782"/>
              <a:gd name="connsiteX186" fmla="*/ 21015036 w 25004707"/>
              <a:gd name="connsiteY186" fmla="*/ 5981942 h 10808782"/>
              <a:gd name="connsiteX187" fmla="*/ 22074952 w 25004707"/>
              <a:gd name="connsiteY187" fmla="*/ 7250780 h 10808782"/>
              <a:gd name="connsiteX188" fmla="*/ 22133950 w 25004707"/>
              <a:gd name="connsiteY188" fmla="*/ 6766253 h 10808782"/>
              <a:gd name="connsiteX189" fmla="*/ 22138828 w 25004707"/>
              <a:gd name="connsiteY189" fmla="*/ 6277685 h 10808782"/>
              <a:gd name="connsiteX190" fmla="*/ 22133950 w 25004707"/>
              <a:gd name="connsiteY190" fmla="*/ 6765781 h 10808782"/>
              <a:gd name="connsiteX191" fmla="*/ 21562380 w 25004707"/>
              <a:gd name="connsiteY191" fmla="*/ 6728310 h 10808782"/>
              <a:gd name="connsiteX192" fmla="*/ 22138828 w 25004707"/>
              <a:gd name="connsiteY192" fmla="*/ 6277685 h 10808782"/>
              <a:gd name="connsiteX193" fmla="*/ 21488592 w 25004707"/>
              <a:gd name="connsiteY193" fmla="*/ 6165414 h 10808782"/>
              <a:gd name="connsiteX194" fmla="*/ 22245338 w 25004707"/>
              <a:gd name="connsiteY194" fmla="*/ 4339527 h 10808782"/>
              <a:gd name="connsiteX195" fmla="*/ 22277276 w 25004707"/>
              <a:gd name="connsiteY195" fmla="*/ 3854622 h 10808782"/>
              <a:gd name="connsiteX196" fmla="*/ 22245338 w 25004707"/>
              <a:gd name="connsiteY196" fmla="*/ 4339527 h 10808782"/>
              <a:gd name="connsiteX197" fmla="*/ 20961230 w 25004707"/>
              <a:gd name="connsiteY197" fmla="*/ 4255359 h 10808782"/>
              <a:gd name="connsiteX198" fmla="*/ 21958844 w 25004707"/>
              <a:gd name="connsiteY198" fmla="*/ 8701770 h 10808782"/>
              <a:gd name="connsiteX199" fmla="*/ 20674580 w 25004707"/>
              <a:gd name="connsiteY199" fmla="*/ 8617586 h 10808782"/>
              <a:gd name="connsiteX200" fmla="*/ 20642800 w 25004707"/>
              <a:gd name="connsiteY200" fmla="*/ 9102019 h 10808782"/>
              <a:gd name="connsiteX201" fmla="*/ 22181622 w 25004707"/>
              <a:gd name="connsiteY201" fmla="*/ 5308881 h 10808782"/>
              <a:gd name="connsiteX202" fmla="*/ 22213560 w 25004707"/>
              <a:gd name="connsiteY202" fmla="*/ 4823992 h 10808782"/>
              <a:gd name="connsiteX203" fmla="*/ 22181622 w 25004707"/>
              <a:gd name="connsiteY203" fmla="*/ 5308881 h 10808782"/>
              <a:gd name="connsiteX204" fmla="*/ 21849030 w 25004707"/>
              <a:gd name="connsiteY204" fmla="*/ 5287081 h 10808782"/>
              <a:gd name="connsiteX205" fmla="*/ 20995686 w 25004707"/>
              <a:gd name="connsiteY205" fmla="*/ 5199596 h 10808782"/>
              <a:gd name="connsiteX206" fmla="*/ 21252128 w 25004707"/>
              <a:gd name="connsiteY206" fmla="*/ 5651180 h 10808782"/>
              <a:gd name="connsiteX207" fmla="*/ 20568856 w 25004707"/>
              <a:gd name="connsiteY207" fmla="*/ 5391367 h 10808782"/>
              <a:gd name="connsiteX208" fmla="*/ 21015666 w 25004707"/>
              <a:gd name="connsiteY208" fmla="*/ 5981974 h 10808782"/>
              <a:gd name="connsiteX209" fmla="*/ 22245338 w 25004707"/>
              <a:gd name="connsiteY209" fmla="*/ 4339543 h 10808782"/>
              <a:gd name="connsiteX210" fmla="*/ 22213560 w 25004707"/>
              <a:gd name="connsiteY210" fmla="*/ 4823976 h 10808782"/>
              <a:gd name="connsiteX211" fmla="*/ 20929452 w 25004707"/>
              <a:gd name="connsiteY211" fmla="*/ 4739792 h 10808782"/>
              <a:gd name="connsiteX212" fmla="*/ 22372774 w 25004707"/>
              <a:gd name="connsiteY212" fmla="*/ 2400425 h 10808782"/>
              <a:gd name="connsiteX213" fmla="*/ 22340836 w 25004707"/>
              <a:gd name="connsiteY213" fmla="*/ 2885315 h 10808782"/>
              <a:gd name="connsiteX214" fmla="*/ 22340836 w 25004707"/>
              <a:gd name="connsiteY214" fmla="*/ 2885315 h 10808782"/>
              <a:gd name="connsiteX215" fmla="*/ 21056728 w 25004707"/>
              <a:gd name="connsiteY215" fmla="*/ 2801147 h 10808782"/>
              <a:gd name="connsiteX216" fmla="*/ 22404398 w 25004707"/>
              <a:gd name="connsiteY216" fmla="*/ 1915976 h 10808782"/>
              <a:gd name="connsiteX217" fmla="*/ 22372618 w 25004707"/>
              <a:gd name="connsiteY217" fmla="*/ 2400410 h 10808782"/>
              <a:gd name="connsiteX218" fmla="*/ 22372618 w 25004707"/>
              <a:gd name="connsiteY218" fmla="*/ 2400410 h 10808782"/>
              <a:gd name="connsiteX219" fmla="*/ 21088510 w 25004707"/>
              <a:gd name="connsiteY219" fmla="*/ 2316226 h 10808782"/>
              <a:gd name="connsiteX220" fmla="*/ 20579240 w 25004707"/>
              <a:gd name="connsiteY220" fmla="*/ 10071342 h 10808782"/>
              <a:gd name="connsiteX221" fmla="*/ 20611018 w 25004707"/>
              <a:gd name="connsiteY221" fmla="*/ 9586909 h 10808782"/>
              <a:gd name="connsiteX222" fmla="*/ 20579240 w 25004707"/>
              <a:gd name="connsiteY222" fmla="*/ 10071342 h 10808782"/>
              <a:gd name="connsiteX223" fmla="*/ 19294974 w 25004707"/>
              <a:gd name="connsiteY223" fmla="*/ 9987158 h 10808782"/>
              <a:gd name="connsiteX224" fmla="*/ 21562380 w 25004707"/>
              <a:gd name="connsiteY224" fmla="*/ 6728766 h 10808782"/>
              <a:gd name="connsiteX225" fmla="*/ 21415592 w 25004707"/>
              <a:gd name="connsiteY225" fmla="*/ 7277186 h 10808782"/>
              <a:gd name="connsiteX226" fmla="*/ 22074952 w 25004707"/>
              <a:gd name="connsiteY226" fmla="*/ 7250749 h 10808782"/>
              <a:gd name="connsiteX227" fmla="*/ 20993010 w 25004707"/>
              <a:gd name="connsiteY227" fmla="*/ 3770469 h 10808782"/>
              <a:gd name="connsiteX228" fmla="*/ 21024790 w 25004707"/>
              <a:gd name="connsiteY228" fmla="*/ 3286052 h 10808782"/>
              <a:gd name="connsiteX229" fmla="*/ 20993010 w 25004707"/>
              <a:gd name="connsiteY229" fmla="*/ 3770469 h 10808782"/>
              <a:gd name="connsiteX230" fmla="*/ 19708746 w 25004707"/>
              <a:gd name="connsiteY230" fmla="*/ 3686286 h 10808782"/>
              <a:gd name="connsiteX231" fmla="*/ 20929294 w 25004707"/>
              <a:gd name="connsiteY231" fmla="*/ 4739792 h 10808782"/>
              <a:gd name="connsiteX232" fmla="*/ 20995528 w 25004707"/>
              <a:gd name="connsiteY232" fmla="*/ 5199596 h 10808782"/>
              <a:gd name="connsiteX233" fmla="*/ 20097030 w 25004707"/>
              <a:gd name="connsiteY233" fmla="*/ 4955313 h 10808782"/>
              <a:gd name="connsiteX234" fmla="*/ 20642800 w 25004707"/>
              <a:gd name="connsiteY234" fmla="*/ 9102019 h 10808782"/>
              <a:gd name="connsiteX235" fmla="*/ 20611018 w 25004707"/>
              <a:gd name="connsiteY235" fmla="*/ 9586925 h 10808782"/>
              <a:gd name="connsiteX236" fmla="*/ 19326754 w 25004707"/>
              <a:gd name="connsiteY236" fmla="*/ 9502741 h 10808782"/>
              <a:gd name="connsiteX237" fmla="*/ 20642800 w 25004707"/>
              <a:gd name="connsiteY237" fmla="*/ 9102019 h 10808782"/>
              <a:gd name="connsiteX238" fmla="*/ 19358692 w 25004707"/>
              <a:gd name="connsiteY238" fmla="*/ 9017836 h 10808782"/>
              <a:gd name="connsiteX239" fmla="*/ 20961230 w 25004707"/>
              <a:gd name="connsiteY239" fmla="*/ 4255359 h 10808782"/>
              <a:gd name="connsiteX240" fmla="*/ 20929294 w 25004707"/>
              <a:gd name="connsiteY240" fmla="*/ 4739792 h 10808782"/>
              <a:gd name="connsiteX241" fmla="*/ 19750594 w 25004707"/>
              <a:gd name="connsiteY241" fmla="*/ 4599921 h 10808782"/>
              <a:gd name="connsiteX242" fmla="*/ 20961230 w 25004707"/>
              <a:gd name="connsiteY242" fmla="*/ 4255359 h 10808782"/>
              <a:gd name="connsiteX243" fmla="*/ 20993010 w 25004707"/>
              <a:gd name="connsiteY243" fmla="*/ 3770454 h 10808782"/>
              <a:gd name="connsiteX244" fmla="*/ 20961230 w 25004707"/>
              <a:gd name="connsiteY244" fmla="*/ 4255359 h 10808782"/>
              <a:gd name="connsiteX245" fmla="*/ 19676964 w 25004707"/>
              <a:gd name="connsiteY245" fmla="*/ 4171175 h 10808782"/>
              <a:gd name="connsiteX246" fmla="*/ 21120288 w 25004707"/>
              <a:gd name="connsiteY246" fmla="*/ 1831808 h 10808782"/>
              <a:gd name="connsiteX247" fmla="*/ 21088510 w 25004707"/>
              <a:gd name="connsiteY247" fmla="*/ 2316226 h 10808782"/>
              <a:gd name="connsiteX248" fmla="*/ 21088510 w 25004707"/>
              <a:gd name="connsiteY248" fmla="*/ 2316226 h 10808782"/>
              <a:gd name="connsiteX249" fmla="*/ 21056728 w 25004707"/>
              <a:gd name="connsiteY249" fmla="*/ 2801131 h 10808782"/>
              <a:gd name="connsiteX250" fmla="*/ 21088510 w 25004707"/>
              <a:gd name="connsiteY250" fmla="*/ 2316226 h 10808782"/>
              <a:gd name="connsiteX251" fmla="*/ 19804244 w 25004707"/>
              <a:gd name="connsiteY251" fmla="*/ 2232058 h 10808782"/>
              <a:gd name="connsiteX252" fmla="*/ 21152226 w 25004707"/>
              <a:gd name="connsiteY252" fmla="*/ 1346888 h 10808782"/>
              <a:gd name="connsiteX253" fmla="*/ 21120288 w 25004707"/>
              <a:gd name="connsiteY253" fmla="*/ 1831793 h 10808782"/>
              <a:gd name="connsiteX254" fmla="*/ 21120288 w 25004707"/>
              <a:gd name="connsiteY254" fmla="*/ 1831793 h 10808782"/>
              <a:gd name="connsiteX255" fmla="*/ 19836180 w 25004707"/>
              <a:gd name="connsiteY255" fmla="*/ 1747609 h 10808782"/>
              <a:gd name="connsiteX256" fmla="*/ 21056728 w 25004707"/>
              <a:gd name="connsiteY256" fmla="*/ 2801131 h 10808782"/>
              <a:gd name="connsiteX257" fmla="*/ 21024790 w 25004707"/>
              <a:gd name="connsiteY257" fmla="*/ 3286020 h 10808782"/>
              <a:gd name="connsiteX258" fmla="*/ 21056728 w 25004707"/>
              <a:gd name="connsiteY258" fmla="*/ 2801131 h 10808782"/>
              <a:gd name="connsiteX259" fmla="*/ 19772464 w 25004707"/>
              <a:gd name="connsiteY259" fmla="*/ 2716963 h 10808782"/>
              <a:gd name="connsiteX260" fmla="*/ 21024790 w 25004707"/>
              <a:gd name="connsiteY260" fmla="*/ 3286020 h 10808782"/>
              <a:gd name="connsiteX261" fmla="*/ 19740684 w 25004707"/>
              <a:gd name="connsiteY261" fmla="*/ 3201853 h 10808782"/>
              <a:gd name="connsiteX262" fmla="*/ 21488592 w 25004707"/>
              <a:gd name="connsiteY262" fmla="*/ 6165430 h 10808782"/>
              <a:gd name="connsiteX263" fmla="*/ 21562380 w 25004707"/>
              <a:gd name="connsiteY263" fmla="*/ 6728310 h 10808782"/>
              <a:gd name="connsiteX264" fmla="*/ 21184006 w 25004707"/>
              <a:gd name="connsiteY264" fmla="*/ 6703508 h 10808782"/>
              <a:gd name="connsiteX265" fmla="*/ 20674736 w 25004707"/>
              <a:gd name="connsiteY265" fmla="*/ 8617602 h 10808782"/>
              <a:gd name="connsiteX266" fmla="*/ 20690628 w 25004707"/>
              <a:gd name="connsiteY266" fmla="*/ 8375378 h 10808782"/>
              <a:gd name="connsiteX267" fmla="*/ 20800442 w 25004707"/>
              <a:gd name="connsiteY267" fmla="*/ 8170860 h 10808782"/>
              <a:gd name="connsiteX268" fmla="*/ 21113838 w 25004707"/>
              <a:gd name="connsiteY268" fmla="*/ 7756165 h 10808782"/>
              <a:gd name="connsiteX269" fmla="*/ 21415434 w 25004707"/>
              <a:gd name="connsiteY269" fmla="*/ 7276714 h 10808782"/>
              <a:gd name="connsiteX270" fmla="*/ 20579240 w 25004707"/>
              <a:gd name="connsiteY270" fmla="*/ 10071342 h 10808782"/>
              <a:gd name="connsiteX271" fmla="*/ 20547302 w 25004707"/>
              <a:gd name="connsiteY271" fmla="*/ 10556248 h 10808782"/>
              <a:gd name="connsiteX272" fmla="*/ 19263194 w 25004707"/>
              <a:gd name="connsiteY272" fmla="*/ 10472064 h 10808782"/>
              <a:gd name="connsiteX273" fmla="*/ 20800442 w 25004707"/>
              <a:gd name="connsiteY273" fmla="*/ 8170372 h 10808782"/>
              <a:gd name="connsiteX274" fmla="*/ 21113838 w 25004707"/>
              <a:gd name="connsiteY274" fmla="*/ 7756149 h 10808782"/>
              <a:gd name="connsiteX275" fmla="*/ 20096558 w 25004707"/>
              <a:gd name="connsiteY275" fmla="*/ 4954825 h 10808782"/>
              <a:gd name="connsiteX276" fmla="*/ 20568856 w 25004707"/>
              <a:gd name="connsiteY276" fmla="*/ 5391367 h 10808782"/>
              <a:gd name="connsiteX277" fmla="*/ 19539460 w 25004707"/>
              <a:gd name="connsiteY277" fmla="*/ 4997829 h 10808782"/>
              <a:gd name="connsiteX278" fmla="*/ 19676964 w 25004707"/>
              <a:gd name="connsiteY278" fmla="*/ 4170719 h 10808782"/>
              <a:gd name="connsiteX279" fmla="*/ 19750594 w 25004707"/>
              <a:gd name="connsiteY279" fmla="*/ 4599953 h 10808782"/>
              <a:gd name="connsiteX280" fmla="*/ 18586528 w 25004707"/>
              <a:gd name="connsiteY280" fmla="*/ 4366498 h 10808782"/>
              <a:gd name="connsiteX281" fmla="*/ 20097188 w 25004707"/>
              <a:gd name="connsiteY281" fmla="*/ 4954857 h 10808782"/>
              <a:gd name="connsiteX282" fmla="*/ 19751068 w 25004707"/>
              <a:gd name="connsiteY282" fmla="*/ 4599984 h 10808782"/>
              <a:gd name="connsiteX283" fmla="*/ 19772464 w 25004707"/>
              <a:gd name="connsiteY283" fmla="*/ 2716947 h 10808782"/>
              <a:gd name="connsiteX284" fmla="*/ 19740684 w 25004707"/>
              <a:gd name="connsiteY284" fmla="*/ 3201853 h 10808782"/>
              <a:gd name="connsiteX285" fmla="*/ 18456576 w 25004707"/>
              <a:gd name="connsiteY285" fmla="*/ 3117669 h 10808782"/>
              <a:gd name="connsiteX286" fmla="*/ 20922686 w 25004707"/>
              <a:gd name="connsiteY286" fmla="*/ 7397316 h 10808782"/>
              <a:gd name="connsiteX287" fmla="*/ 21184006 w 25004707"/>
              <a:gd name="connsiteY287" fmla="*/ 6703963 h 10808782"/>
              <a:gd name="connsiteX288" fmla="*/ 19877714 w 25004707"/>
              <a:gd name="connsiteY288" fmla="*/ 8295752 h 10808782"/>
              <a:gd name="connsiteX289" fmla="*/ 20403032 w 25004707"/>
              <a:gd name="connsiteY289" fmla="*/ 7924611 h 10808782"/>
              <a:gd name="connsiteX290" fmla="*/ 19740684 w 25004707"/>
              <a:gd name="connsiteY290" fmla="*/ 3201853 h 10808782"/>
              <a:gd name="connsiteX291" fmla="*/ 19708746 w 25004707"/>
              <a:gd name="connsiteY291" fmla="*/ 3686286 h 10808782"/>
              <a:gd name="connsiteX292" fmla="*/ 19708746 w 25004707"/>
              <a:gd name="connsiteY292" fmla="*/ 3686286 h 10808782"/>
              <a:gd name="connsiteX293" fmla="*/ 18424638 w 25004707"/>
              <a:gd name="connsiteY293" fmla="*/ 3602118 h 10808782"/>
              <a:gd name="connsiteX294" fmla="*/ 19804244 w 25004707"/>
              <a:gd name="connsiteY294" fmla="*/ 2232042 h 10808782"/>
              <a:gd name="connsiteX295" fmla="*/ 19772464 w 25004707"/>
              <a:gd name="connsiteY295" fmla="*/ 2716947 h 10808782"/>
              <a:gd name="connsiteX296" fmla="*/ 18488356 w 25004707"/>
              <a:gd name="connsiteY296" fmla="*/ 2632764 h 10808782"/>
              <a:gd name="connsiteX297" fmla="*/ 19804244 w 25004707"/>
              <a:gd name="connsiteY297" fmla="*/ 2232042 h 10808782"/>
              <a:gd name="connsiteX298" fmla="*/ 19836180 w 25004707"/>
              <a:gd name="connsiteY298" fmla="*/ 1747625 h 10808782"/>
              <a:gd name="connsiteX299" fmla="*/ 19804244 w 25004707"/>
              <a:gd name="connsiteY299" fmla="*/ 2232042 h 10808782"/>
              <a:gd name="connsiteX300" fmla="*/ 18520136 w 25004707"/>
              <a:gd name="connsiteY300" fmla="*/ 2147874 h 10808782"/>
              <a:gd name="connsiteX301" fmla="*/ 19676964 w 25004707"/>
              <a:gd name="connsiteY301" fmla="*/ 4171175 h 10808782"/>
              <a:gd name="connsiteX302" fmla="*/ 19708902 w 25004707"/>
              <a:gd name="connsiteY302" fmla="*/ 3686270 h 10808782"/>
              <a:gd name="connsiteX303" fmla="*/ 19676964 w 25004707"/>
              <a:gd name="connsiteY303" fmla="*/ 4171175 h 10808782"/>
              <a:gd name="connsiteX304" fmla="*/ 19344218 w 25004707"/>
              <a:gd name="connsiteY304" fmla="*/ 4149359 h 10808782"/>
              <a:gd name="connsiteX305" fmla="*/ 18402454 w 25004707"/>
              <a:gd name="connsiteY305" fmla="*/ 4077278 h 10808782"/>
              <a:gd name="connsiteX306" fmla="*/ 19326754 w 25004707"/>
              <a:gd name="connsiteY306" fmla="*/ 9502725 h 10808782"/>
              <a:gd name="connsiteX307" fmla="*/ 19294974 w 25004707"/>
              <a:gd name="connsiteY307" fmla="*/ 9987158 h 10808782"/>
              <a:gd name="connsiteX308" fmla="*/ 18010866 w 25004707"/>
              <a:gd name="connsiteY308" fmla="*/ 9902991 h 10808782"/>
              <a:gd name="connsiteX309" fmla="*/ 19263194 w 25004707"/>
              <a:gd name="connsiteY309" fmla="*/ 10472064 h 10808782"/>
              <a:gd name="connsiteX310" fmla="*/ 19294974 w 25004707"/>
              <a:gd name="connsiteY310" fmla="*/ 9987175 h 10808782"/>
              <a:gd name="connsiteX311" fmla="*/ 19263194 w 25004707"/>
              <a:gd name="connsiteY311" fmla="*/ 10472064 h 10808782"/>
              <a:gd name="connsiteX312" fmla="*/ 17978928 w 25004707"/>
              <a:gd name="connsiteY312" fmla="*/ 10387896 h 10808782"/>
              <a:gd name="connsiteX313" fmla="*/ 19326754 w 25004707"/>
              <a:gd name="connsiteY313" fmla="*/ 9502741 h 10808782"/>
              <a:gd name="connsiteX314" fmla="*/ 19358692 w 25004707"/>
              <a:gd name="connsiteY314" fmla="*/ 9017852 h 10808782"/>
              <a:gd name="connsiteX315" fmla="*/ 19326754 w 25004707"/>
              <a:gd name="connsiteY315" fmla="*/ 9502741 h 10808782"/>
              <a:gd name="connsiteX316" fmla="*/ 18042646 w 25004707"/>
              <a:gd name="connsiteY316" fmla="*/ 9418573 h 10808782"/>
              <a:gd name="connsiteX317" fmla="*/ 19358692 w 25004707"/>
              <a:gd name="connsiteY317" fmla="*/ 9017852 h 10808782"/>
              <a:gd name="connsiteX318" fmla="*/ 19487700 w 25004707"/>
              <a:gd name="connsiteY318" fmla="*/ 8601900 h 10808782"/>
              <a:gd name="connsiteX319" fmla="*/ 19358692 w 25004707"/>
              <a:gd name="connsiteY319" fmla="*/ 9017852 h 10808782"/>
              <a:gd name="connsiteX320" fmla="*/ 18082764 w 25004707"/>
              <a:gd name="connsiteY320" fmla="*/ 8945975 h 10808782"/>
              <a:gd name="connsiteX321" fmla="*/ 21015666 w 25004707"/>
              <a:gd name="connsiteY321" fmla="*/ 5981974 h 10808782"/>
              <a:gd name="connsiteX322" fmla="*/ 21184006 w 25004707"/>
              <a:gd name="connsiteY322" fmla="*/ 6703508 h 10808782"/>
              <a:gd name="connsiteX323" fmla="*/ 21015666 w 25004707"/>
              <a:gd name="connsiteY323" fmla="*/ 5981974 h 10808782"/>
              <a:gd name="connsiteX324" fmla="*/ 20273552 w 25004707"/>
              <a:gd name="connsiteY324" fmla="*/ 5643966 h 10808782"/>
              <a:gd name="connsiteX325" fmla="*/ 21184006 w 25004707"/>
              <a:gd name="connsiteY325" fmla="*/ 6703508 h 10808782"/>
              <a:gd name="connsiteX326" fmla="*/ 20666240 w 25004707"/>
              <a:gd name="connsiteY326" fmla="*/ 6669558 h 10808782"/>
              <a:gd name="connsiteX327" fmla="*/ 19487700 w 25004707"/>
              <a:gd name="connsiteY327" fmla="*/ 8602388 h 10808782"/>
              <a:gd name="connsiteX328" fmla="*/ 19877244 w 25004707"/>
              <a:gd name="connsiteY328" fmla="*/ 8295720 h 10808782"/>
              <a:gd name="connsiteX329" fmla="*/ 20922686 w 25004707"/>
              <a:gd name="connsiteY329" fmla="*/ 7397331 h 10808782"/>
              <a:gd name="connsiteX330" fmla="*/ 20402560 w 25004707"/>
              <a:gd name="connsiteY330" fmla="*/ 7924564 h 10808782"/>
              <a:gd name="connsiteX331" fmla="*/ 19330530 w 25004707"/>
              <a:gd name="connsiteY331" fmla="*/ 8180368 h 10808782"/>
              <a:gd name="connsiteX332" fmla="*/ 19867960 w 25004707"/>
              <a:gd name="connsiteY332" fmla="*/ 1262715 h 10808782"/>
              <a:gd name="connsiteX333" fmla="*/ 19836024 w 25004707"/>
              <a:gd name="connsiteY333" fmla="*/ 1747609 h 10808782"/>
              <a:gd name="connsiteX334" fmla="*/ 18551914 w 25004707"/>
              <a:gd name="connsiteY334" fmla="*/ 1663441 h 10808782"/>
              <a:gd name="connsiteX335" fmla="*/ 18583852 w 25004707"/>
              <a:gd name="connsiteY335" fmla="*/ 1178533 h 10808782"/>
              <a:gd name="connsiteX336" fmla="*/ 18551914 w 25004707"/>
              <a:gd name="connsiteY336" fmla="*/ 1663425 h 10808782"/>
              <a:gd name="connsiteX337" fmla="*/ 18551914 w 25004707"/>
              <a:gd name="connsiteY337" fmla="*/ 1663425 h 10808782"/>
              <a:gd name="connsiteX338" fmla="*/ 18520136 w 25004707"/>
              <a:gd name="connsiteY338" fmla="*/ 2147874 h 10808782"/>
              <a:gd name="connsiteX339" fmla="*/ 18551914 w 25004707"/>
              <a:gd name="connsiteY339" fmla="*/ 1663425 h 10808782"/>
              <a:gd name="connsiteX340" fmla="*/ 17267806 w 25004707"/>
              <a:gd name="connsiteY340" fmla="*/ 1579257 h 10808782"/>
              <a:gd name="connsiteX341" fmla="*/ 18586528 w 25004707"/>
              <a:gd name="connsiteY341" fmla="*/ 4366498 h 10808782"/>
              <a:gd name="connsiteX342" fmla="*/ 18402610 w 25004707"/>
              <a:gd name="connsiteY342" fmla="*/ 4076822 h 10808782"/>
              <a:gd name="connsiteX343" fmla="*/ 18586528 w 25004707"/>
              <a:gd name="connsiteY343" fmla="*/ 4366498 h 10808782"/>
              <a:gd name="connsiteX344" fmla="*/ 18962698 w 25004707"/>
              <a:gd name="connsiteY344" fmla="*/ 4627804 h 10808782"/>
              <a:gd name="connsiteX345" fmla="*/ 18586528 w 25004707"/>
              <a:gd name="connsiteY345" fmla="*/ 4366498 h 10808782"/>
              <a:gd name="connsiteX346" fmla="*/ 17200786 w 25004707"/>
              <a:gd name="connsiteY346" fmla="*/ 4158019 h 10808782"/>
              <a:gd name="connsiteX347" fmla="*/ 18488356 w 25004707"/>
              <a:gd name="connsiteY347" fmla="*/ 2632764 h 10808782"/>
              <a:gd name="connsiteX348" fmla="*/ 18456418 w 25004707"/>
              <a:gd name="connsiteY348" fmla="*/ 3117653 h 10808782"/>
              <a:gd name="connsiteX349" fmla="*/ 17172310 w 25004707"/>
              <a:gd name="connsiteY349" fmla="*/ 3033485 h 10808782"/>
              <a:gd name="connsiteX350" fmla="*/ 18488356 w 25004707"/>
              <a:gd name="connsiteY350" fmla="*/ 2632764 h 10808782"/>
              <a:gd name="connsiteX351" fmla="*/ 18520136 w 25004707"/>
              <a:gd name="connsiteY351" fmla="*/ 2147874 h 10808782"/>
              <a:gd name="connsiteX352" fmla="*/ 18488356 w 25004707"/>
              <a:gd name="connsiteY352" fmla="*/ 2632764 h 10808782"/>
              <a:gd name="connsiteX353" fmla="*/ 17204090 w 25004707"/>
              <a:gd name="connsiteY353" fmla="*/ 2548596 h 10808782"/>
              <a:gd name="connsiteX354" fmla="*/ 18424638 w 25004707"/>
              <a:gd name="connsiteY354" fmla="*/ 3602118 h 10808782"/>
              <a:gd name="connsiteX355" fmla="*/ 18402454 w 25004707"/>
              <a:gd name="connsiteY355" fmla="*/ 4077310 h 10808782"/>
              <a:gd name="connsiteX356" fmla="*/ 17125426 w 25004707"/>
              <a:gd name="connsiteY356" fmla="*/ 3949824 h 10808782"/>
              <a:gd name="connsiteX357" fmla="*/ 18424638 w 25004707"/>
              <a:gd name="connsiteY357" fmla="*/ 3602118 h 10808782"/>
              <a:gd name="connsiteX358" fmla="*/ 18456418 w 25004707"/>
              <a:gd name="connsiteY358" fmla="*/ 3117684 h 10808782"/>
              <a:gd name="connsiteX359" fmla="*/ 18424638 w 25004707"/>
              <a:gd name="connsiteY359" fmla="*/ 3602118 h 10808782"/>
              <a:gd name="connsiteX360" fmla="*/ 17140372 w 25004707"/>
              <a:gd name="connsiteY360" fmla="*/ 3517934 h 10808782"/>
              <a:gd name="connsiteX361" fmla="*/ 18520136 w 25004707"/>
              <a:gd name="connsiteY361" fmla="*/ 2147874 h 10808782"/>
              <a:gd name="connsiteX362" fmla="*/ 17236028 w 25004707"/>
              <a:gd name="connsiteY362" fmla="*/ 2063691 h 10808782"/>
              <a:gd name="connsiteX363" fmla="*/ 18962698 w 25004707"/>
              <a:gd name="connsiteY363" fmla="*/ 4627804 h 10808782"/>
              <a:gd name="connsiteX364" fmla="*/ 17358900 w 25004707"/>
              <a:gd name="connsiteY364" fmla="*/ 4323180 h 10808782"/>
              <a:gd name="connsiteX365" fmla="*/ 18962698 w 25004707"/>
              <a:gd name="connsiteY365" fmla="*/ 4627804 h 10808782"/>
              <a:gd name="connsiteX366" fmla="*/ 20096558 w 25004707"/>
              <a:gd name="connsiteY366" fmla="*/ 4954825 h 10808782"/>
              <a:gd name="connsiteX367" fmla="*/ 20273552 w 25004707"/>
              <a:gd name="connsiteY367" fmla="*/ 5643966 h 10808782"/>
              <a:gd name="connsiteX368" fmla="*/ 19539618 w 25004707"/>
              <a:gd name="connsiteY368" fmla="*/ 4997813 h 10808782"/>
              <a:gd name="connsiteX369" fmla="*/ 20273552 w 25004707"/>
              <a:gd name="connsiteY369" fmla="*/ 5643966 h 10808782"/>
              <a:gd name="connsiteX370" fmla="*/ 20666240 w 25004707"/>
              <a:gd name="connsiteY370" fmla="*/ 6669558 h 10808782"/>
              <a:gd name="connsiteX371" fmla="*/ 20273552 w 25004707"/>
              <a:gd name="connsiteY371" fmla="*/ 5643966 h 10808782"/>
              <a:gd name="connsiteX372" fmla="*/ 18261016 w 25004707"/>
              <a:gd name="connsiteY372" fmla="*/ 5022238 h 10808782"/>
              <a:gd name="connsiteX373" fmla="*/ 18710344 w 25004707"/>
              <a:gd name="connsiteY373" fmla="*/ 8471883 h 10808782"/>
              <a:gd name="connsiteX374" fmla="*/ 18303180 w 25004707"/>
              <a:gd name="connsiteY374" fmla="*/ 8681872 h 10808782"/>
              <a:gd name="connsiteX375" fmla="*/ 19487858 w 25004707"/>
              <a:gd name="connsiteY375" fmla="*/ 8602371 h 10808782"/>
              <a:gd name="connsiteX376" fmla="*/ 20666084 w 25004707"/>
              <a:gd name="connsiteY376" fmla="*/ 6669542 h 10808782"/>
              <a:gd name="connsiteX377" fmla="*/ 20142814 w 25004707"/>
              <a:gd name="connsiteY377" fmla="*/ 7635092 h 10808782"/>
              <a:gd name="connsiteX378" fmla="*/ 19330530 w 25004707"/>
              <a:gd name="connsiteY378" fmla="*/ 8179866 h 10808782"/>
              <a:gd name="connsiteX379" fmla="*/ 18710188 w 25004707"/>
              <a:gd name="connsiteY379" fmla="*/ 8471868 h 10808782"/>
              <a:gd name="connsiteX380" fmla="*/ 19330530 w 25004707"/>
              <a:gd name="connsiteY380" fmla="*/ 8179881 h 10808782"/>
              <a:gd name="connsiteX381" fmla="*/ 17402166 w 25004707"/>
              <a:gd name="connsiteY381" fmla="*/ 8385201 h 10808782"/>
              <a:gd name="connsiteX382" fmla="*/ 18082764 w 25004707"/>
              <a:gd name="connsiteY382" fmla="*/ 8945975 h 10808782"/>
              <a:gd name="connsiteX383" fmla="*/ 18303180 w 25004707"/>
              <a:gd name="connsiteY383" fmla="*/ 8681400 h 10808782"/>
              <a:gd name="connsiteX384" fmla="*/ 18082764 w 25004707"/>
              <a:gd name="connsiteY384" fmla="*/ 8945975 h 10808782"/>
              <a:gd name="connsiteX385" fmla="*/ 18042646 w 25004707"/>
              <a:gd name="connsiteY385" fmla="*/ 9418573 h 10808782"/>
              <a:gd name="connsiteX386" fmla="*/ 18082764 w 25004707"/>
              <a:gd name="connsiteY386" fmla="*/ 8945975 h 10808782"/>
              <a:gd name="connsiteX387" fmla="*/ 16799444 w 25004707"/>
              <a:gd name="connsiteY387" fmla="*/ 8904669 h 10808782"/>
              <a:gd name="connsiteX388" fmla="*/ 17978928 w 25004707"/>
              <a:gd name="connsiteY388" fmla="*/ 10387896 h 10808782"/>
              <a:gd name="connsiteX389" fmla="*/ 18010866 w 25004707"/>
              <a:gd name="connsiteY389" fmla="*/ 9902991 h 10808782"/>
              <a:gd name="connsiteX390" fmla="*/ 17978928 w 25004707"/>
              <a:gd name="connsiteY390" fmla="*/ 10387896 h 10808782"/>
              <a:gd name="connsiteX391" fmla="*/ 16694821 w 25004707"/>
              <a:gd name="connsiteY391" fmla="*/ 10303712 h 10808782"/>
              <a:gd name="connsiteX392" fmla="*/ 18010866 w 25004707"/>
              <a:gd name="connsiteY392" fmla="*/ 9902991 h 10808782"/>
              <a:gd name="connsiteX393" fmla="*/ 18042646 w 25004707"/>
              <a:gd name="connsiteY393" fmla="*/ 9418558 h 10808782"/>
              <a:gd name="connsiteX394" fmla="*/ 16758537 w 25004707"/>
              <a:gd name="connsiteY394" fmla="*/ 9334389 h 10808782"/>
              <a:gd name="connsiteX395" fmla="*/ 18010866 w 25004707"/>
              <a:gd name="connsiteY395" fmla="*/ 9902991 h 10808782"/>
              <a:gd name="connsiteX396" fmla="*/ 16726601 w 25004707"/>
              <a:gd name="connsiteY396" fmla="*/ 9818807 h 10808782"/>
              <a:gd name="connsiteX397" fmla="*/ 20666240 w 25004707"/>
              <a:gd name="connsiteY397" fmla="*/ 6669558 h 10808782"/>
              <a:gd name="connsiteX398" fmla="*/ 18998410 w 25004707"/>
              <a:gd name="connsiteY398" fmla="*/ 6560226 h 10808782"/>
              <a:gd name="connsiteX399" fmla="*/ 18261646 w 25004707"/>
              <a:gd name="connsiteY399" fmla="*/ 5022270 h 10808782"/>
              <a:gd name="connsiteX400" fmla="*/ 14385738 w 25004707"/>
              <a:gd name="connsiteY400" fmla="*/ 4808195 h 10808782"/>
              <a:gd name="connsiteX401" fmla="*/ 12486354 w 25004707"/>
              <a:gd name="connsiteY401" fmla="*/ 5165033 h 10808782"/>
              <a:gd name="connsiteX402" fmla="*/ 18962698 w 25004707"/>
              <a:gd name="connsiteY402" fmla="*/ 4628276 h 10808782"/>
              <a:gd name="connsiteX403" fmla="*/ 19539460 w 25004707"/>
              <a:gd name="connsiteY403" fmla="*/ 4998269 h 10808782"/>
              <a:gd name="connsiteX404" fmla="*/ 17654520 w 25004707"/>
              <a:gd name="connsiteY404" fmla="*/ 4542992 h 10808782"/>
              <a:gd name="connsiteX405" fmla="*/ 16758537 w 25004707"/>
              <a:gd name="connsiteY405" fmla="*/ 9334389 h 10808782"/>
              <a:gd name="connsiteX406" fmla="*/ 16800072 w 25004707"/>
              <a:gd name="connsiteY406" fmla="*/ 8904700 h 10808782"/>
              <a:gd name="connsiteX407" fmla="*/ 16758537 w 25004707"/>
              <a:gd name="connsiteY407" fmla="*/ 9334389 h 10808782"/>
              <a:gd name="connsiteX408" fmla="*/ 16726601 w 25004707"/>
              <a:gd name="connsiteY408" fmla="*/ 9818807 h 10808782"/>
              <a:gd name="connsiteX409" fmla="*/ 16758537 w 25004707"/>
              <a:gd name="connsiteY409" fmla="*/ 9334389 h 10808782"/>
              <a:gd name="connsiteX410" fmla="*/ 15474273 w 25004707"/>
              <a:gd name="connsiteY410" fmla="*/ 9250206 h 10808782"/>
              <a:gd name="connsiteX411" fmla="*/ 16726601 w 25004707"/>
              <a:gd name="connsiteY411" fmla="*/ 9818807 h 10808782"/>
              <a:gd name="connsiteX412" fmla="*/ 16694821 w 25004707"/>
              <a:gd name="connsiteY412" fmla="*/ 10303712 h 10808782"/>
              <a:gd name="connsiteX413" fmla="*/ 15410602 w 25004707"/>
              <a:gd name="connsiteY413" fmla="*/ 10219528 h 10808782"/>
              <a:gd name="connsiteX414" fmla="*/ 17267806 w 25004707"/>
              <a:gd name="connsiteY414" fmla="*/ 1579257 h 10808782"/>
              <a:gd name="connsiteX415" fmla="*/ 17236028 w 25004707"/>
              <a:gd name="connsiteY415" fmla="*/ 2063691 h 10808782"/>
              <a:gd name="connsiteX416" fmla="*/ 17267806 w 25004707"/>
              <a:gd name="connsiteY416" fmla="*/ 1579257 h 10808782"/>
              <a:gd name="connsiteX417" fmla="*/ 17299588 w 25004707"/>
              <a:gd name="connsiteY417" fmla="*/ 1094351 h 10808782"/>
              <a:gd name="connsiteX418" fmla="*/ 17267806 w 25004707"/>
              <a:gd name="connsiteY418" fmla="*/ 1579257 h 10808782"/>
              <a:gd name="connsiteX419" fmla="*/ 15983542 w 25004707"/>
              <a:gd name="connsiteY419" fmla="*/ 1495075 h 10808782"/>
              <a:gd name="connsiteX420" fmla="*/ 17236028 w 25004707"/>
              <a:gd name="connsiteY420" fmla="*/ 2063691 h 10808782"/>
              <a:gd name="connsiteX421" fmla="*/ 17204090 w 25004707"/>
              <a:gd name="connsiteY421" fmla="*/ 2548596 h 10808782"/>
              <a:gd name="connsiteX422" fmla="*/ 17236028 w 25004707"/>
              <a:gd name="connsiteY422" fmla="*/ 2063691 h 10808782"/>
              <a:gd name="connsiteX423" fmla="*/ 15951762 w 25004707"/>
              <a:gd name="connsiteY423" fmla="*/ 1979523 h 10808782"/>
              <a:gd name="connsiteX424" fmla="*/ 16799444 w 25004707"/>
              <a:gd name="connsiteY424" fmla="*/ 8904669 h 10808782"/>
              <a:gd name="connsiteX425" fmla="*/ 16902020 w 25004707"/>
              <a:gd name="connsiteY425" fmla="*/ 8707648 h 10808782"/>
              <a:gd name="connsiteX426" fmla="*/ 18303180 w 25004707"/>
              <a:gd name="connsiteY426" fmla="*/ 8681872 h 10808782"/>
              <a:gd name="connsiteX427" fmla="*/ 16799444 w 25004707"/>
              <a:gd name="connsiteY427" fmla="*/ 8904669 h 10808782"/>
              <a:gd name="connsiteX428" fmla="*/ 15487866 w 25004707"/>
              <a:gd name="connsiteY428" fmla="*/ 8816367 h 10808782"/>
              <a:gd name="connsiteX429" fmla="*/ 17204090 w 25004707"/>
              <a:gd name="connsiteY429" fmla="*/ 2548596 h 10808782"/>
              <a:gd name="connsiteX430" fmla="*/ 15919982 w 25004707"/>
              <a:gd name="connsiteY430" fmla="*/ 2464396 h 10808782"/>
              <a:gd name="connsiteX431" fmla="*/ 17172310 w 25004707"/>
              <a:gd name="connsiteY431" fmla="*/ 3033501 h 10808782"/>
              <a:gd name="connsiteX432" fmla="*/ 17140372 w 25004707"/>
              <a:gd name="connsiteY432" fmla="*/ 3517934 h 10808782"/>
              <a:gd name="connsiteX433" fmla="*/ 17140372 w 25004707"/>
              <a:gd name="connsiteY433" fmla="*/ 3517934 h 10808782"/>
              <a:gd name="connsiteX434" fmla="*/ 15856264 w 25004707"/>
              <a:gd name="connsiteY434" fmla="*/ 3433766 h 10808782"/>
              <a:gd name="connsiteX435" fmla="*/ 16726601 w 25004707"/>
              <a:gd name="connsiteY435" fmla="*/ 9818807 h 10808782"/>
              <a:gd name="connsiteX436" fmla="*/ 15442492 w 25004707"/>
              <a:gd name="connsiteY436" fmla="*/ 9734623 h 10808782"/>
              <a:gd name="connsiteX437" fmla="*/ 17204090 w 25004707"/>
              <a:gd name="connsiteY437" fmla="*/ 2548580 h 10808782"/>
              <a:gd name="connsiteX438" fmla="*/ 17172310 w 25004707"/>
              <a:gd name="connsiteY438" fmla="*/ 3033485 h 10808782"/>
              <a:gd name="connsiteX439" fmla="*/ 15888202 w 25004707"/>
              <a:gd name="connsiteY439" fmla="*/ 2949301 h 10808782"/>
              <a:gd name="connsiteX440" fmla="*/ 17402166 w 25004707"/>
              <a:gd name="connsiteY440" fmla="*/ 8385673 h 10808782"/>
              <a:gd name="connsiteX441" fmla="*/ 18066716 w 25004707"/>
              <a:gd name="connsiteY441" fmla="*/ 7989305 h 10808782"/>
              <a:gd name="connsiteX442" fmla="*/ 18998254 w 25004707"/>
              <a:gd name="connsiteY442" fmla="*/ 6560697 h 10808782"/>
              <a:gd name="connsiteX443" fmla="*/ 16901864 w 25004707"/>
              <a:gd name="connsiteY443" fmla="*/ 8707648 h 10808782"/>
              <a:gd name="connsiteX444" fmla="*/ 17080274 w 25004707"/>
              <a:gd name="connsiteY444" fmla="*/ 8564539 h 10808782"/>
              <a:gd name="connsiteX445" fmla="*/ 17402166 w 25004707"/>
              <a:gd name="connsiteY445" fmla="*/ 8385201 h 10808782"/>
              <a:gd name="connsiteX446" fmla="*/ 17200630 w 25004707"/>
              <a:gd name="connsiteY446" fmla="*/ 4158019 h 10808782"/>
              <a:gd name="connsiteX447" fmla="*/ 17124954 w 25004707"/>
              <a:gd name="connsiteY447" fmla="*/ 3949321 h 10808782"/>
              <a:gd name="connsiteX448" fmla="*/ 17140530 w 25004707"/>
              <a:gd name="connsiteY448" fmla="*/ 3517934 h 10808782"/>
              <a:gd name="connsiteX449" fmla="*/ 17125426 w 25004707"/>
              <a:gd name="connsiteY449" fmla="*/ 3949352 h 10808782"/>
              <a:gd name="connsiteX450" fmla="*/ 17201730 w 25004707"/>
              <a:gd name="connsiteY450" fmla="*/ 4158098 h 10808782"/>
              <a:gd name="connsiteX451" fmla="*/ 17358742 w 25004707"/>
              <a:gd name="connsiteY451" fmla="*/ 4323196 h 10808782"/>
              <a:gd name="connsiteX452" fmla="*/ 15489707 w 25004707"/>
              <a:gd name="connsiteY452" fmla="*/ 4211020 h 10808782"/>
              <a:gd name="connsiteX453" fmla="*/ 17654676 w 25004707"/>
              <a:gd name="connsiteY453" fmla="*/ 4542552 h 10808782"/>
              <a:gd name="connsiteX454" fmla="*/ 17359372 w 25004707"/>
              <a:gd name="connsiteY454" fmla="*/ 4322756 h 10808782"/>
              <a:gd name="connsiteX455" fmla="*/ 18261488 w 25004707"/>
              <a:gd name="connsiteY455" fmla="*/ 5022254 h 10808782"/>
              <a:gd name="connsiteX456" fmla="*/ 17654520 w 25004707"/>
              <a:gd name="connsiteY456" fmla="*/ 4542536 h 10808782"/>
              <a:gd name="connsiteX457" fmla="*/ 10846386 w 25004707"/>
              <a:gd name="connsiteY457" fmla="*/ 1158336 h 10808782"/>
              <a:gd name="connsiteX458" fmla="*/ 10814575 w 25004707"/>
              <a:gd name="connsiteY458" fmla="*/ 1642772 h 10808782"/>
              <a:gd name="connsiteX459" fmla="*/ 10846386 w 25004707"/>
              <a:gd name="connsiteY459" fmla="*/ 1158336 h 10808782"/>
              <a:gd name="connsiteX460" fmla="*/ 10878229 w 25004707"/>
              <a:gd name="connsiteY460" fmla="*/ 673426 h 10808782"/>
              <a:gd name="connsiteX461" fmla="*/ 10846386 w 25004707"/>
              <a:gd name="connsiteY461" fmla="*/ 1158336 h 10808782"/>
              <a:gd name="connsiteX462" fmla="*/ 9562215 w 25004707"/>
              <a:gd name="connsiteY462" fmla="*/ 1074149 h 10808782"/>
              <a:gd name="connsiteX463" fmla="*/ 10846386 w 25004707"/>
              <a:gd name="connsiteY463" fmla="*/ 1158336 h 10808782"/>
              <a:gd name="connsiteX464" fmla="*/ 12130541 w 25004707"/>
              <a:gd name="connsiteY464" fmla="*/ 1242500 h 10808782"/>
              <a:gd name="connsiteX465" fmla="*/ 10814575 w 25004707"/>
              <a:gd name="connsiteY465" fmla="*/ 1642772 h 10808782"/>
              <a:gd name="connsiteX466" fmla="*/ 10782701 w 25004707"/>
              <a:gd name="connsiteY466" fmla="*/ 2127677 h 10808782"/>
              <a:gd name="connsiteX467" fmla="*/ 10814575 w 25004707"/>
              <a:gd name="connsiteY467" fmla="*/ 1642772 h 10808782"/>
              <a:gd name="connsiteX468" fmla="*/ 12098730 w 25004707"/>
              <a:gd name="connsiteY468" fmla="*/ 1726956 h 10808782"/>
              <a:gd name="connsiteX469" fmla="*/ 10814575 w 25004707"/>
              <a:gd name="connsiteY469" fmla="*/ 1642772 h 10808782"/>
              <a:gd name="connsiteX470" fmla="*/ 9530388 w 25004707"/>
              <a:gd name="connsiteY470" fmla="*/ 1558589 h 10808782"/>
              <a:gd name="connsiteX471" fmla="*/ 10305289 w 25004707"/>
              <a:gd name="connsiteY471" fmla="*/ 9397889 h 10808782"/>
              <a:gd name="connsiteX472" fmla="*/ 10273446 w 25004707"/>
              <a:gd name="connsiteY472" fmla="*/ 9882778 h 10808782"/>
              <a:gd name="connsiteX473" fmla="*/ 8989260 w 25004707"/>
              <a:gd name="connsiteY473" fmla="*/ 9798610 h 10808782"/>
              <a:gd name="connsiteX474" fmla="*/ 10555692 w 25004707"/>
              <a:gd name="connsiteY474" fmla="*/ 5519827 h 10808782"/>
              <a:gd name="connsiteX475" fmla="*/ 10507424 w 25004707"/>
              <a:gd name="connsiteY475" fmla="*/ 6003648 h 10808782"/>
              <a:gd name="connsiteX476" fmla="*/ 10555614 w 25004707"/>
              <a:gd name="connsiteY476" fmla="*/ 5519341 h 10808782"/>
              <a:gd name="connsiteX477" fmla="*/ 10575783 w 25004707"/>
              <a:gd name="connsiteY477" fmla="*/ 5277870 h 10808782"/>
              <a:gd name="connsiteX478" fmla="*/ 10591688 w 25004707"/>
              <a:gd name="connsiteY478" fmla="*/ 5035661 h 10808782"/>
              <a:gd name="connsiteX479" fmla="*/ 11548855 w 25004707"/>
              <a:gd name="connsiteY479" fmla="*/ 5027347 h 10808782"/>
              <a:gd name="connsiteX480" fmla="*/ 10337085 w 25004707"/>
              <a:gd name="connsiteY480" fmla="*/ 8913455 h 10808782"/>
              <a:gd name="connsiteX481" fmla="*/ 10305258 w 25004707"/>
              <a:gd name="connsiteY481" fmla="*/ 9397889 h 10808782"/>
              <a:gd name="connsiteX482" fmla="*/ 9021087 w 25004707"/>
              <a:gd name="connsiteY482" fmla="*/ 9313705 h 10808782"/>
              <a:gd name="connsiteX483" fmla="*/ 10337085 w 25004707"/>
              <a:gd name="connsiteY483" fmla="*/ 8913455 h 10808782"/>
              <a:gd name="connsiteX484" fmla="*/ 10368913 w 25004707"/>
              <a:gd name="connsiteY484" fmla="*/ 8428566 h 10808782"/>
              <a:gd name="connsiteX485" fmla="*/ 10337085 w 25004707"/>
              <a:gd name="connsiteY485" fmla="*/ 8913455 h 10808782"/>
              <a:gd name="connsiteX486" fmla="*/ 9052883 w 25004707"/>
              <a:gd name="connsiteY486" fmla="*/ 8829287 h 10808782"/>
              <a:gd name="connsiteX487" fmla="*/ 10464347 w 25004707"/>
              <a:gd name="connsiteY487" fmla="*/ 6974794 h 10808782"/>
              <a:gd name="connsiteX488" fmla="*/ 10432536 w 25004707"/>
              <a:gd name="connsiteY488" fmla="*/ 7459228 h 10808782"/>
              <a:gd name="connsiteX489" fmla="*/ 9148365 w 25004707"/>
              <a:gd name="connsiteY489" fmla="*/ 7375059 h 10808782"/>
              <a:gd name="connsiteX490" fmla="*/ 9116522 w 25004707"/>
              <a:gd name="connsiteY490" fmla="*/ 7859965 h 10808782"/>
              <a:gd name="connsiteX491" fmla="*/ 10782731 w 25004707"/>
              <a:gd name="connsiteY491" fmla="*/ 2127662 h 10808782"/>
              <a:gd name="connsiteX492" fmla="*/ 10750888 w 25004707"/>
              <a:gd name="connsiteY492" fmla="*/ 2612551 h 10808782"/>
              <a:gd name="connsiteX493" fmla="*/ 10750888 w 25004707"/>
              <a:gd name="connsiteY493" fmla="*/ 2612551 h 10808782"/>
              <a:gd name="connsiteX494" fmla="*/ 12035043 w 25004707"/>
              <a:gd name="connsiteY494" fmla="*/ 2696735 h 10808782"/>
              <a:gd name="connsiteX495" fmla="*/ 10750888 w 25004707"/>
              <a:gd name="connsiteY495" fmla="*/ 2612551 h 10808782"/>
              <a:gd name="connsiteX496" fmla="*/ 9466717 w 25004707"/>
              <a:gd name="connsiteY496" fmla="*/ 2528383 h 10808782"/>
              <a:gd name="connsiteX497" fmla="*/ 10687250 w 25004707"/>
              <a:gd name="connsiteY497" fmla="*/ 3581905 h 10808782"/>
              <a:gd name="connsiteX498" fmla="*/ 10655422 w 25004707"/>
              <a:gd name="connsiteY498" fmla="*/ 4066339 h 10808782"/>
              <a:gd name="connsiteX499" fmla="*/ 10687250 w 25004707"/>
              <a:gd name="connsiteY499" fmla="*/ 3581905 h 10808782"/>
              <a:gd name="connsiteX500" fmla="*/ 10719077 w 25004707"/>
              <a:gd name="connsiteY500" fmla="*/ 3096984 h 10808782"/>
              <a:gd name="connsiteX501" fmla="*/ 10687250 w 25004707"/>
              <a:gd name="connsiteY501" fmla="*/ 3581905 h 10808782"/>
              <a:gd name="connsiteX502" fmla="*/ 9403063 w 25004707"/>
              <a:gd name="connsiteY502" fmla="*/ 3497721 h 10808782"/>
              <a:gd name="connsiteX503" fmla="*/ 10655422 w 25004707"/>
              <a:gd name="connsiteY503" fmla="*/ 4066339 h 10808782"/>
              <a:gd name="connsiteX504" fmla="*/ 9371251 w 25004707"/>
              <a:gd name="connsiteY504" fmla="*/ 3982155 h 10808782"/>
              <a:gd name="connsiteX505" fmla="*/ 10655422 w 25004707"/>
              <a:gd name="connsiteY505" fmla="*/ 4066339 h 10808782"/>
              <a:gd name="connsiteX506" fmla="*/ 11939593 w 25004707"/>
              <a:gd name="connsiteY506" fmla="*/ 4150506 h 10808782"/>
              <a:gd name="connsiteX507" fmla="*/ 10368881 w 25004707"/>
              <a:gd name="connsiteY507" fmla="*/ 8428566 h 10808782"/>
              <a:gd name="connsiteX508" fmla="*/ 10400693 w 25004707"/>
              <a:gd name="connsiteY508" fmla="*/ 7944132 h 10808782"/>
              <a:gd name="connsiteX509" fmla="*/ 11684864 w 25004707"/>
              <a:gd name="connsiteY509" fmla="*/ 8028316 h 10808782"/>
              <a:gd name="connsiteX510" fmla="*/ 10368881 w 25004707"/>
              <a:gd name="connsiteY510" fmla="*/ 8428566 h 10808782"/>
              <a:gd name="connsiteX511" fmla="*/ 11653068 w 25004707"/>
              <a:gd name="connsiteY511" fmla="*/ 8512733 h 10808782"/>
              <a:gd name="connsiteX512" fmla="*/ 10368881 w 25004707"/>
              <a:gd name="connsiteY512" fmla="*/ 8428566 h 10808782"/>
              <a:gd name="connsiteX513" fmla="*/ 9084726 w 25004707"/>
              <a:gd name="connsiteY513" fmla="*/ 8344382 h 10808782"/>
              <a:gd name="connsiteX514" fmla="*/ 10491817 w 25004707"/>
              <a:gd name="connsiteY514" fmla="*/ 6490549 h 10808782"/>
              <a:gd name="connsiteX515" fmla="*/ 10480222 w 25004707"/>
              <a:gd name="connsiteY515" fmla="*/ 6732585 h 10808782"/>
              <a:gd name="connsiteX516" fmla="*/ 10464317 w 25004707"/>
              <a:gd name="connsiteY516" fmla="*/ 6974794 h 10808782"/>
              <a:gd name="connsiteX517" fmla="*/ 9180145 w 25004707"/>
              <a:gd name="connsiteY517" fmla="*/ 6890626 h 10808782"/>
              <a:gd name="connsiteX518" fmla="*/ 10507361 w 25004707"/>
              <a:gd name="connsiteY518" fmla="*/ 6003632 h 10808782"/>
              <a:gd name="connsiteX519" fmla="*/ 10491943 w 25004707"/>
              <a:gd name="connsiteY519" fmla="*/ 6489606 h 10808782"/>
              <a:gd name="connsiteX520" fmla="*/ 10163458 w 25004707"/>
              <a:gd name="connsiteY520" fmla="*/ 6468073 h 10808782"/>
              <a:gd name="connsiteX521" fmla="*/ 9212005 w 25004707"/>
              <a:gd name="connsiteY521" fmla="*/ 6405705 h 10808782"/>
              <a:gd name="connsiteX522" fmla="*/ 10507361 w 25004707"/>
              <a:gd name="connsiteY522" fmla="*/ 6003632 h 10808782"/>
              <a:gd name="connsiteX523" fmla="*/ 9243879 w 25004707"/>
              <a:gd name="connsiteY523" fmla="*/ 5920832 h 10808782"/>
              <a:gd name="connsiteX524" fmla="*/ 10507361 w 25004707"/>
              <a:gd name="connsiteY524" fmla="*/ 6003632 h 10808782"/>
              <a:gd name="connsiteX525" fmla="*/ 11123456 w 25004707"/>
              <a:gd name="connsiteY525" fmla="*/ 6044043 h 10808782"/>
              <a:gd name="connsiteX526" fmla="*/ 10782701 w 25004707"/>
              <a:gd name="connsiteY526" fmla="*/ 2127677 h 10808782"/>
              <a:gd name="connsiteX527" fmla="*/ 12066887 w 25004707"/>
              <a:gd name="connsiteY527" fmla="*/ 2211845 h 10808782"/>
              <a:gd name="connsiteX528" fmla="*/ 10782701 w 25004707"/>
              <a:gd name="connsiteY528" fmla="*/ 2127677 h 10808782"/>
              <a:gd name="connsiteX529" fmla="*/ 9498529 w 25004707"/>
              <a:gd name="connsiteY529" fmla="*/ 2043493 h 10808782"/>
              <a:gd name="connsiteX530" fmla="*/ 10750841 w 25004707"/>
              <a:gd name="connsiteY530" fmla="*/ 2612582 h 10808782"/>
              <a:gd name="connsiteX531" fmla="*/ 10719029 w 25004707"/>
              <a:gd name="connsiteY531" fmla="*/ 3097016 h 10808782"/>
              <a:gd name="connsiteX532" fmla="*/ 9434859 w 25004707"/>
              <a:gd name="connsiteY532" fmla="*/ 3012832 h 10808782"/>
              <a:gd name="connsiteX533" fmla="*/ 10623563 w 25004707"/>
              <a:gd name="connsiteY533" fmla="*/ 4551244 h 10808782"/>
              <a:gd name="connsiteX534" fmla="*/ 10591752 w 25004707"/>
              <a:gd name="connsiteY534" fmla="*/ 5035661 h 10808782"/>
              <a:gd name="connsiteX535" fmla="*/ 9307550 w 25004707"/>
              <a:gd name="connsiteY535" fmla="*/ 4951493 h 10808782"/>
              <a:gd name="connsiteX536" fmla="*/ 9275706 w 25004707"/>
              <a:gd name="connsiteY536" fmla="*/ 5436398 h 10808782"/>
              <a:gd name="connsiteX537" fmla="*/ 10623563 w 25004707"/>
              <a:gd name="connsiteY537" fmla="*/ 4551244 h 10808782"/>
              <a:gd name="connsiteX538" fmla="*/ 10655390 w 25004707"/>
              <a:gd name="connsiteY538" fmla="*/ 4066339 h 10808782"/>
              <a:gd name="connsiteX539" fmla="*/ 10623563 w 25004707"/>
              <a:gd name="connsiteY539" fmla="*/ 4551244 h 10808782"/>
              <a:gd name="connsiteX540" fmla="*/ 9339392 w 25004707"/>
              <a:gd name="connsiteY540" fmla="*/ 4467060 h 10808782"/>
              <a:gd name="connsiteX541" fmla="*/ 10432504 w 25004707"/>
              <a:gd name="connsiteY541" fmla="*/ 7459228 h 10808782"/>
              <a:gd name="connsiteX542" fmla="*/ 10400662 w 25004707"/>
              <a:gd name="connsiteY542" fmla="*/ 7944132 h 10808782"/>
              <a:gd name="connsiteX543" fmla="*/ 9116475 w 25004707"/>
              <a:gd name="connsiteY543" fmla="*/ 7859949 h 10808782"/>
              <a:gd name="connsiteX544" fmla="*/ 5662142 w 25004707"/>
              <a:gd name="connsiteY544" fmla="*/ 1780254 h 10808782"/>
              <a:gd name="connsiteX545" fmla="*/ 5658194 w 25004707"/>
              <a:gd name="connsiteY545" fmla="*/ 2262267 h 10808782"/>
              <a:gd name="connsiteX546" fmla="*/ 5662142 w 25004707"/>
              <a:gd name="connsiteY546" fmla="*/ 1780254 h 10808782"/>
              <a:gd name="connsiteX547" fmla="*/ 4402830 w 25004707"/>
              <a:gd name="connsiteY547" fmla="*/ 1082261 h 10808782"/>
              <a:gd name="connsiteX548" fmla="*/ 5662142 w 25004707"/>
              <a:gd name="connsiteY548" fmla="*/ 1780254 h 10808782"/>
              <a:gd name="connsiteX549" fmla="*/ 6479129 w 25004707"/>
              <a:gd name="connsiteY549" fmla="*/ 1845561 h 10808782"/>
              <a:gd name="connsiteX550" fmla="*/ 6930187 w 25004707"/>
              <a:gd name="connsiteY550" fmla="*/ 1875142 h 10808782"/>
              <a:gd name="connsiteX551" fmla="*/ 5658194 w 25004707"/>
              <a:gd name="connsiteY551" fmla="*/ 2262267 h 10808782"/>
              <a:gd name="connsiteX552" fmla="*/ 4366723 w 25004707"/>
              <a:gd name="connsiteY552" fmla="*/ 1631817 h 10808782"/>
              <a:gd name="connsiteX553" fmla="*/ 5658194 w 25004707"/>
              <a:gd name="connsiteY553" fmla="*/ 2262267 h 10808782"/>
              <a:gd name="connsiteX554" fmla="*/ 5911822 w 25004707"/>
              <a:gd name="connsiteY554" fmla="*/ 2295353 h 10808782"/>
              <a:gd name="connsiteX555" fmla="*/ 6898297 w 25004707"/>
              <a:gd name="connsiteY555" fmla="*/ 2360015 h 10808782"/>
              <a:gd name="connsiteX556" fmla="*/ 6930156 w 25004707"/>
              <a:gd name="connsiteY556" fmla="*/ 1875126 h 10808782"/>
              <a:gd name="connsiteX557" fmla="*/ 5455005 w 25004707"/>
              <a:gd name="connsiteY557" fmla="*/ 4698958 h 10808782"/>
              <a:gd name="connsiteX558" fmla="*/ 5486817 w 25004707"/>
              <a:gd name="connsiteY558" fmla="*/ 4214524 h 10808782"/>
              <a:gd name="connsiteX559" fmla="*/ 6771003 w 25004707"/>
              <a:gd name="connsiteY559" fmla="*/ 4298708 h 10808782"/>
              <a:gd name="connsiteX560" fmla="*/ 5455005 w 25004707"/>
              <a:gd name="connsiteY560" fmla="*/ 4698958 h 10808782"/>
              <a:gd name="connsiteX561" fmla="*/ 6739176 w 25004707"/>
              <a:gd name="connsiteY561" fmla="*/ 4783142 h 10808782"/>
              <a:gd name="connsiteX562" fmla="*/ 5455005 w 25004707"/>
              <a:gd name="connsiteY562" fmla="*/ 4698958 h 10808782"/>
              <a:gd name="connsiteX563" fmla="*/ 5254428 w 25004707"/>
              <a:gd name="connsiteY563" fmla="*/ 4685802 h 10808782"/>
              <a:gd name="connsiteX564" fmla="*/ 4154818 w 25004707"/>
              <a:gd name="connsiteY564" fmla="*/ 4858838 h 10808782"/>
              <a:gd name="connsiteX565" fmla="*/ 5455005 w 25004707"/>
              <a:gd name="connsiteY565" fmla="*/ 4698958 h 10808782"/>
              <a:gd name="connsiteX566" fmla="*/ 5391335 w 25004707"/>
              <a:gd name="connsiteY566" fmla="*/ 5668281 h 10808782"/>
              <a:gd name="connsiteX567" fmla="*/ 4107179 w 25004707"/>
              <a:gd name="connsiteY567" fmla="*/ 5584097 h 10808782"/>
              <a:gd name="connsiteX568" fmla="*/ 5200355 w 25004707"/>
              <a:gd name="connsiteY568" fmla="*/ 8576736 h 10808782"/>
              <a:gd name="connsiteX569" fmla="*/ 5168543 w 25004707"/>
              <a:gd name="connsiteY569" fmla="*/ 9061169 h 10808782"/>
              <a:gd name="connsiteX570" fmla="*/ 3884356 w 25004707"/>
              <a:gd name="connsiteY570" fmla="*/ 8976986 h 10808782"/>
              <a:gd name="connsiteX571" fmla="*/ 5200355 w 25004707"/>
              <a:gd name="connsiteY571" fmla="*/ 8576736 h 10808782"/>
              <a:gd name="connsiteX572" fmla="*/ 5232197 w 25004707"/>
              <a:gd name="connsiteY572" fmla="*/ 8091847 h 10808782"/>
              <a:gd name="connsiteX573" fmla="*/ 5200355 w 25004707"/>
              <a:gd name="connsiteY573" fmla="*/ 8576736 h 10808782"/>
              <a:gd name="connsiteX574" fmla="*/ 3916184 w 25004707"/>
              <a:gd name="connsiteY574" fmla="*/ 8492568 h 10808782"/>
              <a:gd name="connsiteX575" fmla="*/ 5658225 w 25004707"/>
              <a:gd name="connsiteY575" fmla="*/ 2262283 h 10808782"/>
              <a:gd name="connsiteX576" fmla="*/ 5637521 w 25004707"/>
              <a:gd name="connsiteY576" fmla="*/ 2763912 h 10808782"/>
              <a:gd name="connsiteX577" fmla="*/ 6866517 w 25004707"/>
              <a:gd name="connsiteY577" fmla="*/ 2844465 h 10808782"/>
              <a:gd name="connsiteX578" fmla="*/ 5592415 w 25004707"/>
              <a:gd name="connsiteY578" fmla="*/ 3263937 h 10808782"/>
              <a:gd name="connsiteX579" fmla="*/ 5637489 w 25004707"/>
              <a:gd name="connsiteY579" fmla="*/ 2763896 h 10808782"/>
              <a:gd name="connsiteX580" fmla="*/ 4298128 w 25004707"/>
              <a:gd name="connsiteY580" fmla="*/ 2676113 h 10808782"/>
              <a:gd name="connsiteX581" fmla="*/ 5592415 w 25004707"/>
              <a:gd name="connsiteY581" fmla="*/ 3263937 h 10808782"/>
              <a:gd name="connsiteX582" fmla="*/ 5533291 w 25004707"/>
              <a:gd name="connsiteY582" fmla="*/ 3742335 h 10808782"/>
              <a:gd name="connsiteX583" fmla="*/ 5592415 w 25004707"/>
              <a:gd name="connsiteY583" fmla="*/ 3263937 h 10808782"/>
              <a:gd name="connsiteX584" fmla="*/ 5848183 w 25004707"/>
              <a:gd name="connsiteY584" fmla="*/ 3264220 h 10808782"/>
              <a:gd name="connsiteX585" fmla="*/ 6834674 w 25004707"/>
              <a:gd name="connsiteY585" fmla="*/ 3328898 h 10808782"/>
              <a:gd name="connsiteX586" fmla="*/ 5709640 w 25004707"/>
              <a:gd name="connsiteY586" fmla="*/ 821626 h 10808782"/>
              <a:gd name="connsiteX587" fmla="*/ 5677828 w 25004707"/>
              <a:gd name="connsiteY587" fmla="*/ 1306056 h 10808782"/>
              <a:gd name="connsiteX588" fmla="*/ 5622638 w 25004707"/>
              <a:gd name="connsiteY588" fmla="*/ 1302440 h 10808782"/>
              <a:gd name="connsiteX589" fmla="*/ 5501527 w 25004707"/>
              <a:gd name="connsiteY589" fmla="*/ 1263917 h 10808782"/>
              <a:gd name="connsiteX590" fmla="*/ 4424446 w 25004707"/>
              <a:gd name="connsiteY590" fmla="*/ 752908 h 10808782"/>
              <a:gd name="connsiteX591" fmla="*/ 5709640 w 25004707"/>
              <a:gd name="connsiteY591" fmla="*/ 821626 h 10808782"/>
              <a:gd name="connsiteX592" fmla="*/ 5741483 w 25004707"/>
              <a:gd name="connsiteY592" fmla="*/ 336712 h 10808782"/>
              <a:gd name="connsiteX593" fmla="*/ 5709640 w 25004707"/>
              <a:gd name="connsiteY593" fmla="*/ 821626 h 10808782"/>
              <a:gd name="connsiteX594" fmla="*/ 5509063 w 25004707"/>
              <a:gd name="connsiteY594" fmla="*/ 808462 h 10808782"/>
              <a:gd name="connsiteX595" fmla="*/ 4441500 w 25004707"/>
              <a:gd name="connsiteY595" fmla="*/ 493335 h 10808782"/>
              <a:gd name="connsiteX596" fmla="*/ 5136715 w 25004707"/>
              <a:gd name="connsiteY596" fmla="*/ 9546074 h 10808782"/>
              <a:gd name="connsiteX597" fmla="*/ 5168575 w 25004707"/>
              <a:gd name="connsiteY597" fmla="*/ 9061169 h 10808782"/>
              <a:gd name="connsiteX598" fmla="*/ 5136715 w 25004707"/>
              <a:gd name="connsiteY598" fmla="*/ 9546074 h 10808782"/>
              <a:gd name="connsiteX599" fmla="*/ 6420871 w 25004707"/>
              <a:gd name="connsiteY599" fmla="*/ 9630242 h 10808782"/>
              <a:gd name="connsiteX600" fmla="*/ 6452730 w 25004707"/>
              <a:gd name="connsiteY600" fmla="*/ 9145353 h 10808782"/>
              <a:gd name="connsiteX601" fmla="*/ 7736885 w 25004707"/>
              <a:gd name="connsiteY601" fmla="*/ 9229521 h 10808782"/>
              <a:gd name="connsiteX602" fmla="*/ 5136715 w 25004707"/>
              <a:gd name="connsiteY602" fmla="*/ 9546074 h 10808782"/>
              <a:gd name="connsiteX603" fmla="*/ 3852544 w 25004707"/>
              <a:gd name="connsiteY603" fmla="*/ 9461890 h 10808782"/>
              <a:gd name="connsiteX604" fmla="*/ 5486801 w 25004707"/>
              <a:gd name="connsiteY604" fmla="*/ 4214981 h 10808782"/>
              <a:gd name="connsiteX605" fmla="*/ 5491773 w 25004707"/>
              <a:gd name="connsiteY605" fmla="*/ 4139080 h 10808782"/>
              <a:gd name="connsiteX606" fmla="*/ 5497892 w 25004707"/>
              <a:gd name="connsiteY606" fmla="*/ 4062315 h 10808782"/>
              <a:gd name="connsiteX607" fmla="*/ 5533276 w 25004707"/>
              <a:gd name="connsiteY607" fmla="*/ 3742335 h 10808782"/>
              <a:gd name="connsiteX608" fmla="*/ 4193442 w 25004707"/>
              <a:gd name="connsiteY608" fmla="*/ 4269945 h 10808782"/>
              <a:gd name="connsiteX609" fmla="*/ 5327633 w 25004707"/>
              <a:gd name="connsiteY609" fmla="*/ 6638091 h 10808782"/>
              <a:gd name="connsiteX610" fmla="*/ 5359476 w 25004707"/>
              <a:gd name="connsiteY610" fmla="*/ 6153186 h 10808782"/>
              <a:gd name="connsiteX611" fmla="*/ 6643678 w 25004707"/>
              <a:gd name="connsiteY611" fmla="*/ 6237369 h 10808782"/>
              <a:gd name="connsiteX612" fmla="*/ 5327633 w 25004707"/>
              <a:gd name="connsiteY612" fmla="*/ 6638091 h 10808782"/>
              <a:gd name="connsiteX613" fmla="*/ 5295821 w 25004707"/>
              <a:gd name="connsiteY613" fmla="*/ 7122508 h 10808782"/>
              <a:gd name="connsiteX614" fmla="*/ 5327633 w 25004707"/>
              <a:gd name="connsiteY614" fmla="*/ 6638091 h 10808782"/>
              <a:gd name="connsiteX615" fmla="*/ 6611819 w 25004707"/>
              <a:gd name="connsiteY615" fmla="*/ 6722259 h 10808782"/>
              <a:gd name="connsiteX616" fmla="*/ 5327633 w 25004707"/>
              <a:gd name="connsiteY616" fmla="*/ 6638091 h 10808782"/>
              <a:gd name="connsiteX617" fmla="*/ 4043446 w 25004707"/>
              <a:gd name="connsiteY617" fmla="*/ 6553891 h 10808782"/>
              <a:gd name="connsiteX618" fmla="*/ 5295821 w 25004707"/>
              <a:gd name="connsiteY618" fmla="*/ 7122508 h 10808782"/>
              <a:gd name="connsiteX619" fmla="*/ 4011634 w 25004707"/>
              <a:gd name="connsiteY619" fmla="*/ 7038325 h 10808782"/>
              <a:gd name="connsiteX620" fmla="*/ 5295821 w 25004707"/>
              <a:gd name="connsiteY620" fmla="*/ 7122508 h 10808782"/>
              <a:gd name="connsiteX621" fmla="*/ 6579992 w 25004707"/>
              <a:gd name="connsiteY621" fmla="*/ 7206692 h 10808782"/>
              <a:gd name="connsiteX622" fmla="*/ 5391303 w 25004707"/>
              <a:gd name="connsiteY622" fmla="*/ 5668281 h 10808782"/>
              <a:gd name="connsiteX623" fmla="*/ 5359460 w 25004707"/>
              <a:gd name="connsiteY623" fmla="*/ 6153186 h 10808782"/>
              <a:gd name="connsiteX624" fmla="*/ 4075304 w 25004707"/>
              <a:gd name="connsiteY624" fmla="*/ 6069002 h 10808782"/>
              <a:gd name="connsiteX625" fmla="*/ 5676774 w 25004707"/>
              <a:gd name="connsiteY625" fmla="*/ 1305997 h 10808782"/>
              <a:gd name="connsiteX626" fmla="*/ 5661592 w 25004707"/>
              <a:gd name="connsiteY626" fmla="*/ 1780223 h 10808782"/>
              <a:gd name="connsiteX627" fmla="*/ 5295774 w 25004707"/>
              <a:gd name="connsiteY627" fmla="*/ 7122508 h 10808782"/>
              <a:gd name="connsiteX628" fmla="*/ 5263931 w 25004707"/>
              <a:gd name="connsiteY628" fmla="*/ 7607414 h 10808782"/>
              <a:gd name="connsiteX629" fmla="*/ 3979775 w 25004707"/>
              <a:gd name="connsiteY629" fmla="*/ 7523230 h 10808782"/>
              <a:gd name="connsiteX630" fmla="*/ 1666131 w 25004707"/>
              <a:gd name="connsiteY630" fmla="*/ 3477068 h 10808782"/>
              <a:gd name="connsiteX631" fmla="*/ 1697943 w 25004707"/>
              <a:gd name="connsiteY631" fmla="*/ 2992651 h 10808782"/>
              <a:gd name="connsiteX632" fmla="*/ 1666131 w 25004707"/>
              <a:gd name="connsiteY632" fmla="*/ 3477068 h 10808782"/>
              <a:gd name="connsiteX633" fmla="*/ 1634272 w 25004707"/>
              <a:gd name="connsiteY633" fmla="*/ 3961989 h 10808782"/>
              <a:gd name="connsiteX634" fmla="*/ 1666131 w 25004707"/>
              <a:gd name="connsiteY634" fmla="*/ 3477068 h 10808782"/>
              <a:gd name="connsiteX635" fmla="*/ 381954 w 25004707"/>
              <a:gd name="connsiteY635" fmla="*/ 3392900 h 10808782"/>
              <a:gd name="connsiteX636" fmla="*/ 1666131 w 25004707"/>
              <a:gd name="connsiteY636" fmla="*/ 3477068 h 10808782"/>
              <a:gd name="connsiteX637" fmla="*/ 2652607 w 25004707"/>
              <a:gd name="connsiteY637" fmla="*/ 3541731 h 10808782"/>
              <a:gd name="connsiteX638" fmla="*/ 2934679 w 25004707"/>
              <a:gd name="connsiteY638" fmla="*/ 3571987 h 10808782"/>
              <a:gd name="connsiteX639" fmla="*/ 1697943 w 25004707"/>
              <a:gd name="connsiteY639" fmla="*/ 2992651 h 10808782"/>
              <a:gd name="connsiteX640" fmla="*/ 1729801 w 25004707"/>
              <a:gd name="connsiteY640" fmla="*/ 2507730 h 10808782"/>
              <a:gd name="connsiteX641" fmla="*/ 1697943 w 25004707"/>
              <a:gd name="connsiteY641" fmla="*/ 2992651 h 10808782"/>
              <a:gd name="connsiteX642" fmla="*/ 403160 w 25004707"/>
              <a:gd name="connsiteY642" fmla="*/ 2907760 h 10808782"/>
              <a:gd name="connsiteX643" fmla="*/ 1602492 w 25004707"/>
              <a:gd name="connsiteY643" fmla="*/ 4446422 h 10808782"/>
              <a:gd name="connsiteX644" fmla="*/ 1634304 w 25004707"/>
              <a:gd name="connsiteY644" fmla="*/ 3961989 h 10808782"/>
              <a:gd name="connsiteX645" fmla="*/ 1602492 w 25004707"/>
              <a:gd name="connsiteY645" fmla="*/ 4446422 h 10808782"/>
              <a:gd name="connsiteX646" fmla="*/ 2886663 w 25004707"/>
              <a:gd name="connsiteY646" fmla="*/ 4530606 h 10808782"/>
              <a:gd name="connsiteX647" fmla="*/ 1602492 w 25004707"/>
              <a:gd name="connsiteY647" fmla="*/ 4446422 h 10808782"/>
              <a:gd name="connsiteX648" fmla="*/ 318315 w 25004707"/>
              <a:gd name="connsiteY648" fmla="*/ 4362239 h 10808782"/>
              <a:gd name="connsiteX649" fmla="*/ 1347818 w 25004707"/>
              <a:gd name="connsiteY649" fmla="*/ 8324201 h 10808782"/>
              <a:gd name="connsiteX650" fmla="*/ 1379664 w 25004707"/>
              <a:gd name="connsiteY650" fmla="*/ 7839312 h 10808782"/>
              <a:gd name="connsiteX651" fmla="*/ 1347818 w 25004707"/>
              <a:gd name="connsiteY651" fmla="*/ 8324201 h 10808782"/>
              <a:gd name="connsiteX652" fmla="*/ 2631997 w 25004707"/>
              <a:gd name="connsiteY652" fmla="*/ 8408384 h 10808782"/>
              <a:gd name="connsiteX653" fmla="*/ 2663840 w 25004707"/>
              <a:gd name="connsiteY653" fmla="*/ 7923495 h 10808782"/>
              <a:gd name="connsiteX654" fmla="*/ 1347818 w 25004707"/>
              <a:gd name="connsiteY654" fmla="*/ 8324201 h 10808782"/>
              <a:gd name="connsiteX655" fmla="*/ 63640 w 25004707"/>
              <a:gd name="connsiteY655" fmla="*/ 8240033 h 10808782"/>
              <a:gd name="connsiteX656" fmla="*/ 1411411 w 25004707"/>
              <a:gd name="connsiteY656" fmla="*/ 7354878 h 10808782"/>
              <a:gd name="connsiteX657" fmla="*/ 1443258 w 25004707"/>
              <a:gd name="connsiteY657" fmla="*/ 6869973 h 10808782"/>
              <a:gd name="connsiteX658" fmla="*/ 2727447 w 25004707"/>
              <a:gd name="connsiteY658" fmla="*/ 6954157 h 10808782"/>
              <a:gd name="connsiteX659" fmla="*/ 1411411 w 25004707"/>
              <a:gd name="connsiteY659" fmla="*/ 7354878 h 10808782"/>
              <a:gd name="connsiteX660" fmla="*/ 1379615 w 25004707"/>
              <a:gd name="connsiteY660" fmla="*/ 7839312 h 10808782"/>
              <a:gd name="connsiteX661" fmla="*/ 1411411 w 25004707"/>
              <a:gd name="connsiteY661" fmla="*/ 7354878 h 10808782"/>
              <a:gd name="connsiteX662" fmla="*/ 127234 w 25004707"/>
              <a:gd name="connsiteY662" fmla="*/ 7270695 h 10808782"/>
              <a:gd name="connsiteX663" fmla="*/ 1793456 w 25004707"/>
              <a:gd name="connsiteY663" fmla="*/ 1538423 h 10808782"/>
              <a:gd name="connsiteX664" fmla="*/ 1825315 w 25004707"/>
              <a:gd name="connsiteY664" fmla="*/ 1053519 h 10808782"/>
              <a:gd name="connsiteX665" fmla="*/ 1793456 w 25004707"/>
              <a:gd name="connsiteY665" fmla="*/ 1538423 h 10808782"/>
              <a:gd name="connsiteX666" fmla="*/ 509285 w 25004707"/>
              <a:gd name="connsiteY666" fmla="*/ 1454241 h 10808782"/>
              <a:gd name="connsiteX667" fmla="*/ 1793456 w 25004707"/>
              <a:gd name="connsiteY667" fmla="*/ 1538423 h 10808782"/>
              <a:gd name="connsiteX668" fmla="*/ 2244530 w 25004707"/>
              <a:gd name="connsiteY668" fmla="*/ 1567988 h 10808782"/>
              <a:gd name="connsiteX669" fmla="*/ 3063877 w 25004707"/>
              <a:gd name="connsiteY669" fmla="*/ 1613223 h 10808782"/>
              <a:gd name="connsiteX670" fmla="*/ 1825315 w 25004707"/>
              <a:gd name="connsiteY670" fmla="*/ 1053519 h 10808782"/>
              <a:gd name="connsiteX671" fmla="*/ 1857095 w 25004707"/>
              <a:gd name="connsiteY671" fmla="*/ 569070 h 10808782"/>
              <a:gd name="connsiteX672" fmla="*/ 1825315 w 25004707"/>
              <a:gd name="connsiteY672" fmla="*/ 1053519 h 10808782"/>
              <a:gd name="connsiteX673" fmla="*/ 541117 w 25004707"/>
              <a:gd name="connsiteY673" fmla="*/ 969340 h 10808782"/>
              <a:gd name="connsiteX674" fmla="*/ 1315958 w 25004707"/>
              <a:gd name="connsiteY674" fmla="*/ 8808634 h 10808782"/>
              <a:gd name="connsiteX675" fmla="*/ 1284111 w 25004707"/>
              <a:gd name="connsiteY675" fmla="*/ 9293539 h 10808782"/>
              <a:gd name="connsiteX676" fmla="*/ 2568295 w 25004707"/>
              <a:gd name="connsiteY676" fmla="*/ 9377707 h 10808782"/>
              <a:gd name="connsiteX677" fmla="*/ 1538806 w 25004707"/>
              <a:gd name="connsiteY677" fmla="*/ 5415746 h 10808782"/>
              <a:gd name="connsiteX678" fmla="*/ 1570617 w 25004707"/>
              <a:gd name="connsiteY678" fmla="*/ 4931312 h 10808782"/>
              <a:gd name="connsiteX679" fmla="*/ 1538806 w 25004707"/>
              <a:gd name="connsiteY679" fmla="*/ 5415746 h 10808782"/>
              <a:gd name="connsiteX680" fmla="*/ 1506961 w 25004707"/>
              <a:gd name="connsiteY680" fmla="*/ 5900650 h 10808782"/>
              <a:gd name="connsiteX681" fmla="*/ 1538806 w 25004707"/>
              <a:gd name="connsiteY681" fmla="*/ 5415746 h 10808782"/>
              <a:gd name="connsiteX682" fmla="*/ 254622 w 25004707"/>
              <a:gd name="connsiteY682" fmla="*/ 5331577 h 10808782"/>
              <a:gd name="connsiteX683" fmla="*/ 1570617 w 25004707"/>
              <a:gd name="connsiteY683" fmla="*/ 4931312 h 10808782"/>
              <a:gd name="connsiteX684" fmla="*/ 1602461 w 25004707"/>
              <a:gd name="connsiteY684" fmla="*/ 4446407 h 10808782"/>
              <a:gd name="connsiteX685" fmla="*/ 1570617 w 25004707"/>
              <a:gd name="connsiteY685" fmla="*/ 4931312 h 10808782"/>
              <a:gd name="connsiteX686" fmla="*/ 286431 w 25004707"/>
              <a:gd name="connsiteY686" fmla="*/ 4847128 h 10808782"/>
              <a:gd name="connsiteX687" fmla="*/ 1729786 w 25004707"/>
              <a:gd name="connsiteY687" fmla="*/ 2507761 h 10808782"/>
              <a:gd name="connsiteX688" fmla="*/ 1761597 w 25004707"/>
              <a:gd name="connsiteY688" fmla="*/ 2023328 h 10808782"/>
              <a:gd name="connsiteX689" fmla="*/ 2414287 w 25004707"/>
              <a:gd name="connsiteY689" fmla="*/ 2066111 h 10808782"/>
              <a:gd name="connsiteX690" fmla="*/ 2740663 w 25004707"/>
              <a:gd name="connsiteY690" fmla="*/ 2087031 h 10808782"/>
              <a:gd name="connsiteX691" fmla="*/ 3004360 w 25004707"/>
              <a:gd name="connsiteY691" fmla="*/ 2088776 h 10808782"/>
              <a:gd name="connsiteX692" fmla="*/ 1729786 w 25004707"/>
              <a:gd name="connsiteY692" fmla="*/ 2507761 h 10808782"/>
              <a:gd name="connsiteX693" fmla="*/ 2958782 w 25004707"/>
              <a:gd name="connsiteY693" fmla="*/ 2588330 h 10808782"/>
              <a:gd name="connsiteX694" fmla="*/ 1729786 w 25004707"/>
              <a:gd name="connsiteY694" fmla="*/ 2507761 h 10808782"/>
              <a:gd name="connsiteX695" fmla="*/ 434989 w 25004707"/>
              <a:gd name="connsiteY695" fmla="*/ 2422886 h 10808782"/>
              <a:gd name="connsiteX696" fmla="*/ 1475135 w 25004707"/>
              <a:gd name="connsiteY696" fmla="*/ 6385540 h 10808782"/>
              <a:gd name="connsiteX697" fmla="*/ 1443319 w 25004707"/>
              <a:gd name="connsiteY697" fmla="*/ 6869973 h 10808782"/>
              <a:gd name="connsiteX698" fmla="*/ 159142 w 25004707"/>
              <a:gd name="connsiteY698" fmla="*/ 6785789 h 10808782"/>
              <a:gd name="connsiteX699" fmla="*/ 1475135 w 25004707"/>
              <a:gd name="connsiteY699" fmla="*/ 6385540 h 10808782"/>
              <a:gd name="connsiteX700" fmla="*/ 1506961 w 25004707"/>
              <a:gd name="connsiteY700" fmla="*/ 5900650 h 10808782"/>
              <a:gd name="connsiteX701" fmla="*/ 1475135 w 25004707"/>
              <a:gd name="connsiteY701" fmla="*/ 6385540 h 10808782"/>
              <a:gd name="connsiteX702" fmla="*/ 190938 w 25004707"/>
              <a:gd name="connsiteY702" fmla="*/ 6301372 h 10808782"/>
              <a:gd name="connsiteX703" fmla="*/ 1857095 w 25004707"/>
              <a:gd name="connsiteY703" fmla="*/ 569070 h 10808782"/>
              <a:gd name="connsiteX704" fmla="*/ 1888954 w 25004707"/>
              <a:gd name="connsiteY704" fmla="*/ 84169 h 10808782"/>
              <a:gd name="connsiteX705" fmla="*/ 1857095 w 25004707"/>
              <a:gd name="connsiteY705" fmla="*/ 569070 h 10808782"/>
              <a:gd name="connsiteX706" fmla="*/ 3141266 w 25004707"/>
              <a:gd name="connsiteY706" fmla="*/ 653251 h 10808782"/>
              <a:gd name="connsiteX707" fmla="*/ 3173109 w 25004707"/>
              <a:gd name="connsiteY707" fmla="*/ 168350 h 10808782"/>
              <a:gd name="connsiteX708" fmla="*/ 1857095 w 25004707"/>
              <a:gd name="connsiteY708" fmla="*/ 569070 h 10808782"/>
              <a:gd name="connsiteX709" fmla="*/ 572924 w 25004707"/>
              <a:gd name="connsiteY709" fmla="*/ 484891 h 10808782"/>
              <a:gd name="connsiteX710" fmla="*/ 1379615 w 25004707"/>
              <a:gd name="connsiteY710" fmla="*/ 7839312 h 10808782"/>
              <a:gd name="connsiteX711" fmla="*/ 95437 w 25004707"/>
              <a:gd name="connsiteY711" fmla="*/ 7755128 h 10808782"/>
              <a:gd name="connsiteX712" fmla="*/ 1379615 w 25004707"/>
              <a:gd name="connsiteY712" fmla="*/ 7839312 h 10808782"/>
              <a:gd name="connsiteX713" fmla="*/ 2663793 w 25004707"/>
              <a:gd name="connsiteY713" fmla="*/ 7923495 h 10808782"/>
              <a:gd name="connsiteX714" fmla="*/ 1634272 w 25004707"/>
              <a:gd name="connsiteY714" fmla="*/ 3961989 h 10808782"/>
              <a:gd name="connsiteX715" fmla="*/ 2918475 w 25004707"/>
              <a:gd name="connsiteY715" fmla="*/ 4046173 h 10808782"/>
              <a:gd name="connsiteX716" fmla="*/ 1634272 w 25004707"/>
              <a:gd name="connsiteY716" fmla="*/ 3961989 h 10808782"/>
              <a:gd name="connsiteX717" fmla="*/ 350101 w 25004707"/>
              <a:gd name="connsiteY717" fmla="*/ 3877805 h 10808782"/>
              <a:gd name="connsiteX718" fmla="*/ 1506961 w 25004707"/>
              <a:gd name="connsiteY718" fmla="*/ 5900650 h 10808782"/>
              <a:gd name="connsiteX719" fmla="*/ 222779 w 25004707"/>
              <a:gd name="connsiteY719" fmla="*/ 5816467 h 10808782"/>
              <a:gd name="connsiteX720" fmla="*/ 1506961 w 25004707"/>
              <a:gd name="connsiteY720" fmla="*/ 5900650 h 10808782"/>
              <a:gd name="connsiteX721" fmla="*/ 2791118 w 25004707"/>
              <a:gd name="connsiteY721" fmla="*/ 5984834 h 10808782"/>
              <a:gd name="connsiteX722" fmla="*/ 1793441 w 25004707"/>
              <a:gd name="connsiteY722" fmla="*/ 1538407 h 10808782"/>
              <a:gd name="connsiteX723" fmla="*/ 1761597 w 25004707"/>
              <a:gd name="connsiteY723" fmla="*/ 2023296 h 10808782"/>
              <a:gd name="connsiteX724" fmla="*/ 477423 w 25004707"/>
              <a:gd name="connsiteY724" fmla="*/ 1939128 h 10808782"/>
              <a:gd name="connsiteX725" fmla="*/ 1347747 w 25004707"/>
              <a:gd name="connsiteY725" fmla="*/ 8324185 h 10808782"/>
              <a:gd name="connsiteX726" fmla="*/ 1315932 w 25004707"/>
              <a:gd name="connsiteY726" fmla="*/ 8808618 h 10808782"/>
              <a:gd name="connsiteX727" fmla="*/ 31754 w 25004707"/>
              <a:gd name="connsiteY727" fmla="*/ 8724434 h 10808782"/>
              <a:gd name="connsiteX728" fmla="*/ 2918475 w 25004707"/>
              <a:gd name="connsiteY728" fmla="*/ 4046173 h 10808782"/>
              <a:gd name="connsiteX729" fmla="*/ 2886663 w 25004707"/>
              <a:gd name="connsiteY729" fmla="*/ 4530606 h 10808782"/>
              <a:gd name="connsiteX730" fmla="*/ 2918475 w 25004707"/>
              <a:gd name="connsiteY730" fmla="*/ 4046173 h 10808782"/>
              <a:gd name="connsiteX731" fmla="*/ 2923446 w 25004707"/>
              <a:gd name="connsiteY731" fmla="*/ 3970272 h 10808782"/>
              <a:gd name="connsiteX732" fmla="*/ 2934176 w 25004707"/>
              <a:gd name="connsiteY732" fmla="*/ 3571956 h 10808782"/>
              <a:gd name="connsiteX733" fmla="*/ 2886663 w 25004707"/>
              <a:gd name="connsiteY733" fmla="*/ 4530606 h 10808782"/>
              <a:gd name="connsiteX734" fmla="*/ 3087240 w 25004707"/>
              <a:gd name="connsiteY734" fmla="*/ 4543731 h 10808782"/>
              <a:gd name="connsiteX735" fmla="*/ 4154818 w 25004707"/>
              <a:gd name="connsiteY735" fmla="*/ 4858838 h 10808782"/>
              <a:gd name="connsiteX736" fmla="*/ 2958782 w 25004707"/>
              <a:gd name="connsiteY736" fmla="*/ 2588330 h 10808782"/>
              <a:gd name="connsiteX737" fmla="*/ 3003841 w 25004707"/>
              <a:gd name="connsiteY737" fmla="*/ 2088289 h 10808782"/>
              <a:gd name="connsiteX738" fmla="*/ 3062980 w 25004707"/>
              <a:gd name="connsiteY738" fmla="*/ 1609875 h 10808782"/>
              <a:gd name="connsiteX739" fmla="*/ 2958782 w 25004707"/>
              <a:gd name="connsiteY739" fmla="*/ 2588330 h 10808782"/>
              <a:gd name="connsiteX740" fmla="*/ 2938062 w 25004707"/>
              <a:gd name="connsiteY740" fmla="*/ 3089943 h 10808782"/>
              <a:gd name="connsiteX741" fmla="*/ 4229533 w 25004707"/>
              <a:gd name="connsiteY741" fmla="*/ 3720409 h 10808782"/>
              <a:gd name="connsiteX742" fmla="*/ 4298128 w 25004707"/>
              <a:gd name="connsiteY742" fmla="*/ 2676113 h 10808782"/>
              <a:gd name="connsiteX743" fmla="*/ 2958782 w 25004707"/>
              <a:gd name="connsiteY743" fmla="*/ 2588330 h 10808782"/>
              <a:gd name="connsiteX744" fmla="*/ 4298128 w 25004707"/>
              <a:gd name="connsiteY744" fmla="*/ 2676113 h 10808782"/>
              <a:gd name="connsiteX745" fmla="*/ 3141329 w 25004707"/>
              <a:gd name="connsiteY745" fmla="*/ 653273 h 10808782"/>
              <a:gd name="connsiteX746" fmla="*/ 3109502 w 25004707"/>
              <a:gd name="connsiteY746" fmla="*/ 1137705 h 10808782"/>
              <a:gd name="connsiteX747" fmla="*/ 3109502 w 25004707"/>
              <a:gd name="connsiteY747" fmla="*/ 1137705 h 10808782"/>
              <a:gd name="connsiteX748" fmla="*/ 3063043 w 25004707"/>
              <a:gd name="connsiteY748" fmla="*/ 1609891 h 10808782"/>
              <a:gd name="connsiteX749" fmla="*/ 4402830 w 25004707"/>
              <a:gd name="connsiteY749" fmla="*/ 1082261 h 10808782"/>
              <a:gd name="connsiteX750" fmla="*/ 3109502 w 25004707"/>
              <a:gd name="connsiteY750" fmla="*/ 1137705 h 10808782"/>
              <a:gd name="connsiteX751" fmla="*/ 1825331 w 25004707"/>
              <a:gd name="connsiteY751" fmla="*/ 1053526 h 10808782"/>
              <a:gd name="connsiteX752" fmla="*/ 2938125 w 25004707"/>
              <a:gd name="connsiteY752" fmla="*/ 3089943 h 10808782"/>
              <a:gd name="connsiteX753" fmla="*/ 2934176 w 25004707"/>
              <a:gd name="connsiteY753" fmla="*/ 3571956 h 10808782"/>
              <a:gd name="connsiteX754" fmla="*/ 2934176 w 25004707"/>
              <a:gd name="connsiteY754" fmla="*/ 3571956 h 10808782"/>
              <a:gd name="connsiteX755" fmla="*/ 4193489 w 25004707"/>
              <a:gd name="connsiteY755" fmla="*/ 4269945 h 10808782"/>
              <a:gd name="connsiteX756" fmla="*/ 4229580 w 25004707"/>
              <a:gd name="connsiteY756" fmla="*/ 3720393 h 10808782"/>
              <a:gd name="connsiteX757" fmla="*/ 2854836 w 25004707"/>
              <a:gd name="connsiteY757" fmla="*/ 5015496 h 10808782"/>
              <a:gd name="connsiteX758" fmla="*/ 2823024 w 25004707"/>
              <a:gd name="connsiteY758" fmla="*/ 5499929 h 10808782"/>
              <a:gd name="connsiteX759" fmla="*/ 2854836 w 25004707"/>
              <a:gd name="connsiteY759" fmla="*/ 5015496 h 10808782"/>
              <a:gd name="connsiteX760" fmla="*/ 2886695 w 25004707"/>
              <a:gd name="connsiteY760" fmla="*/ 4530606 h 10808782"/>
              <a:gd name="connsiteX761" fmla="*/ 2854836 w 25004707"/>
              <a:gd name="connsiteY761" fmla="*/ 5015496 h 10808782"/>
              <a:gd name="connsiteX762" fmla="*/ 1570665 w 25004707"/>
              <a:gd name="connsiteY762" fmla="*/ 4931328 h 10808782"/>
              <a:gd name="connsiteX763" fmla="*/ 2823024 w 25004707"/>
              <a:gd name="connsiteY763" fmla="*/ 5499929 h 10808782"/>
              <a:gd name="connsiteX764" fmla="*/ 4107179 w 25004707"/>
              <a:gd name="connsiteY764" fmla="*/ 5584097 h 10808782"/>
              <a:gd name="connsiteX765" fmla="*/ 2823024 w 25004707"/>
              <a:gd name="connsiteY765" fmla="*/ 5499929 h 10808782"/>
              <a:gd name="connsiteX766" fmla="*/ 1538853 w 25004707"/>
              <a:gd name="connsiteY766" fmla="*/ 5415746 h 10808782"/>
              <a:gd name="connsiteX767" fmla="*/ 2663793 w 25004707"/>
              <a:gd name="connsiteY767" fmla="*/ 7923495 h 10808782"/>
              <a:gd name="connsiteX768" fmla="*/ 2695604 w 25004707"/>
              <a:gd name="connsiteY768" fmla="*/ 7439062 h 10808782"/>
              <a:gd name="connsiteX769" fmla="*/ 3979775 w 25004707"/>
              <a:gd name="connsiteY769" fmla="*/ 7523230 h 10808782"/>
              <a:gd name="connsiteX770" fmla="*/ 2663793 w 25004707"/>
              <a:gd name="connsiteY770" fmla="*/ 7923495 h 10808782"/>
              <a:gd name="connsiteX771" fmla="*/ 3947948 w 25004707"/>
              <a:gd name="connsiteY771" fmla="*/ 8007663 h 10808782"/>
              <a:gd name="connsiteX772" fmla="*/ 3979775 w 25004707"/>
              <a:gd name="connsiteY772" fmla="*/ 7523230 h 10808782"/>
              <a:gd name="connsiteX773" fmla="*/ 2568295 w 25004707"/>
              <a:gd name="connsiteY773" fmla="*/ 9377707 h 10808782"/>
              <a:gd name="connsiteX774" fmla="*/ 2600138 w 25004707"/>
              <a:gd name="connsiteY774" fmla="*/ 8892802 h 10808782"/>
              <a:gd name="connsiteX775" fmla="*/ 3884340 w 25004707"/>
              <a:gd name="connsiteY775" fmla="*/ 8976986 h 10808782"/>
              <a:gd name="connsiteX776" fmla="*/ 3916152 w 25004707"/>
              <a:gd name="connsiteY776" fmla="*/ 8492552 h 10808782"/>
              <a:gd name="connsiteX777" fmla="*/ 2568295 w 25004707"/>
              <a:gd name="connsiteY777" fmla="*/ 9377707 h 10808782"/>
              <a:gd name="connsiteX778" fmla="*/ 3852450 w 25004707"/>
              <a:gd name="connsiteY778" fmla="*/ 9461875 h 10808782"/>
              <a:gd name="connsiteX779" fmla="*/ 3884293 w 25004707"/>
              <a:gd name="connsiteY779" fmla="*/ 8976986 h 10808782"/>
              <a:gd name="connsiteX780" fmla="*/ 2822961 w 25004707"/>
              <a:gd name="connsiteY780" fmla="*/ 5499929 h 10808782"/>
              <a:gd name="connsiteX781" fmla="*/ 2791118 w 25004707"/>
              <a:gd name="connsiteY781" fmla="*/ 5984834 h 10808782"/>
              <a:gd name="connsiteX782" fmla="*/ 2791118 w 25004707"/>
              <a:gd name="connsiteY782" fmla="*/ 5984834 h 10808782"/>
              <a:gd name="connsiteX783" fmla="*/ 2759275 w 25004707"/>
              <a:gd name="connsiteY783" fmla="*/ 6469723 h 10808782"/>
              <a:gd name="connsiteX784" fmla="*/ 2791118 w 25004707"/>
              <a:gd name="connsiteY784" fmla="*/ 5984834 h 10808782"/>
              <a:gd name="connsiteX785" fmla="*/ 4075304 w 25004707"/>
              <a:gd name="connsiteY785" fmla="*/ 6069002 h 10808782"/>
              <a:gd name="connsiteX786" fmla="*/ 2759275 w 25004707"/>
              <a:gd name="connsiteY786" fmla="*/ 6469723 h 10808782"/>
              <a:gd name="connsiteX787" fmla="*/ 2727447 w 25004707"/>
              <a:gd name="connsiteY787" fmla="*/ 6954157 h 10808782"/>
              <a:gd name="connsiteX788" fmla="*/ 2759275 w 25004707"/>
              <a:gd name="connsiteY788" fmla="*/ 6469723 h 10808782"/>
              <a:gd name="connsiteX789" fmla="*/ 1475099 w 25004707"/>
              <a:gd name="connsiteY789" fmla="*/ 6385555 h 10808782"/>
              <a:gd name="connsiteX790" fmla="*/ 2759275 w 25004707"/>
              <a:gd name="connsiteY790" fmla="*/ 6469723 h 10808782"/>
              <a:gd name="connsiteX791" fmla="*/ 4043446 w 25004707"/>
              <a:gd name="connsiteY791" fmla="*/ 6553891 h 10808782"/>
              <a:gd name="connsiteX792" fmla="*/ 2727479 w 25004707"/>
              <a:gd name="connsiteY792" fmla="*/ 6954157 h 10808782"/>
              <a:gd name="connsiteX793" fmla="*/ 2695636 w 25004707"/>
              <a:gd name="connsiteY793" fmla="*/ 7439062 h 10808782"/>
              <a:gd name="connsiteX794" fmla="*/ 1411460 w 25004707"/>
              <a:gd name="connsiteY794" fmla="*/ 7354878 h 10808782"/>
              <a:gd name="connsiteX795" fmla="*/ 2727447 w 25004707"/>
              <a:gd name="connsiteY795" fmla="*/ 6954157 h 10808782"/>
              <a:gd name="connsiteX796" fmla="*/ 4011634 w 25004707"/>
              <a:gd name="connsiteY796" fmla="*/ 7038325 h 10808782"/>
              <a:gd name="connsiteX797" fmla="*/ 4298128 w 25004707"/>
              <a:gd name="connsiteY797" fmla="*/ 2676113 h 10808782"/>
              <a:gd name="connsiteX798" fmla="*/ 4366723 w 25004707"/>
              <a:gd name="connsiteY798" fmla="*/ 1631817 h 10808782"/>
              <a:gd name="connsiteX799" fmla="*/ 4043446 w 25004707"/>
              <a:gd name="connsiteY799" fmla="*/ 6553891 h 10808782"/>
              <a:gd name="connsiteX800" fmla="*/ 4011634 w 25004707"/>
              <a:gd name="connsiteY800" fmla="*/ 7038325 h 10808782"/>
              <a:gd name="connsiteX801" fmla="*/ 4043446 w 25004707"/>
              <a:gd name="connsiteY801" fmla="*/ 6553891 h 10808782"/>
              <a:gd name="connsiteX802" fmla="*/ 4075304 w 25004707"/>
              <a:gd name="connsiteY802" fmla="*/ 6069002 h 10808782"/>
              <a:gd name="connsiteX803" fmla="*/ 4011634 w 25004707"/>
              <a:gd name="connsiteY803" fmla="*/ 7038325 h 10808782"/>
              <a:gd name="connsiteX804" fmla="*/ 3979775 w 25004707"/>
              <a:gd name="connsiteY804" fmla="*/ 7523230 h 10808782"/>
              <a:gd name="connsiteX805" fmla="*/ 4457312 w 25004707"/>
              <a:gd name="connsiteY805" fmla="*/ 252523 h 10808782"/>
              <a:gd name="connsiteX806" fmla="*/ 4441500 w 25004707"/>
              <a:gd name="connsiteY806" fmla="*/ 493335 h 10808782"/>
              <a:gd name="connsiteX807" fmla="*/ 4441500 w 25004707"/>
              <a:gd name="connsiteY807" fmla="*/ 493335 h 10808782"/>
              <a:gd name="connsiteX808" fmla="*/ 3341890 w 25004707"/>
              <a:gd name="connsiteY808" fmla="*/ 666397 h 10808782"/>
              <a:gd name="connsiteX809" fmla="*/ 3141314 w 25004707"/>
              <a:gd name="connsiteY809" fmla="*/ 653248 h 10808782"/>
              <a:gd name="connsiteX810" fmla="*/ 4193505 w 25004707"/>
              <a:gd name="connsiteY810" fmla="*/ 4269945 h 10808782"/>
              <a:gd name="connsiteX811" fmla="*/ 4171904 w 25004707"/>
              <a:gd name="connsiteY811" fmla="*/ 4598837 h 10808782"/>
              <a:gd name="connsiteX812" fmla="*/ 4402830 w 25004707"/>
              <a:gd name="connsiteY812" fmla="*/ 1082261 h 10808782"/>
              <a:gd name="connsiteX813" fmla="*/ 4424415 w 25004707"/>
              <a:gd name="connsiteY813" fmla="*/ 753372 h 10808782"/>
              <a:gd name="connsiteX814" fmla="*/ 3289752 w 25004707"/>
              <a:gd name="connsiteY814" fmla="*/ 1119395 h 10808782"/>
              <a:gd name="connsiteX815" fmla="*/ 3109439 w 25004707"/>
              <a:gd name="connsiteY815" fmla="*/ 1138162 h 10808782"/>
              <a:gd name="connsiteX816" fmla="*/ 4366723 w 25004707"/>
              <a:gd name="connsiteY816" fmla="*/ 1631817 h 10808782"/>
              <a:gd name="connsiteX817" fmla="*/ 3003872 w 25004707"/>
              <a:gd name="connsiteY817" fmla="*/ 2088273 h 10808782"/>
              <a:gd name="connsiteX818" fmla="*/ 4402766 w 25004707"/>
              <a:gd name="connsiteY818" fmla="*/ 1082272 h 10808782"/>
              <a:gd name="connsiteX819" fmla="*/ 4366676 w 25004707"/>
              <a:gd name="connsiteY819" fmla="*/ 1631817 h 10808782"/>
              <a:gd name="connsiteX820" fmla="*/ 4107148 w 25004707"/>
              <a:gd name="connsiteY820" fmla="*/ 5584097 h 10808782"/>
              <a:gd name="connsiteX821" fmla="*/ 4075304 w 25004707"/>
              <a:gd name="connsiteY821" fmla="*/ 6069002 h 10808782"/>
              <a:gd name="connsiteX822" fmla="*/ 4136254 w 25004707"/>
              <a:gd name="connsiteY822" fmla="*/ 5141363 h 10808782"/>
              <a:gd name="connsiteX823" fmla="*/ 4107179 w 25004707"/>
              <a:gd name="connsiteY823" fmla="*/ 5584097 h 10808782"/>
              <a:gd name="connsiteX824" fmla="*/ 4136254 w 25004707"/>
              <a:gd name="connsiteY824" fmla="*/ 5141363 h 10808782"/>
              <a:gd name="connsiteX825" fmla="*/ 4154818 w 25004707"/>
              <a:gd name="connsiteY825" fmla="*/ 4858838 h 10808782"/>
              <a:gd name="connsiteX826" fmla="*/ 4136254 w 25004707"/>
              <a:gd name="connsiteY826" fmla="*/ 5141363 h 10808782"/>
              <a:gd name="connsiteX827" fmla="*/ 4901023 w 25004707"/>
              <a:gd name="connsiteY827" fmla="*/ 5149598 h 10808782"/>
              <a:gd name="connsiteX828" fmla="*/ 5423193 w 25004707"/>
              <a:gd name="connsiteY828" fmla="*/ 5183816 h 10808782"/>
              <a:gd name="connsiteX829" fmla="*/ 4136254 w 25004707"/>
              <a:gd name="connsiteY829" fmla="*/ 5141363 h 10808782"/>
              <a:gd name="connsiteX830" fmla="*/ 3509586 w 25004707"/>
              <a:gd name="connsiteY830" fmla="*/ 5059317 h 10808782"/>
              <a:gd name="connsiteX831" fmla="*/ 2854836 w 25004707"/>
              <a:gd name="connsiteY831" fmla="*/ 5015464 h 10808782"/>
              <a:gd name="connsiteX832" fmla="*/ 3948026 w 25004707"/>
              <a:gd name="connsiteY832" fmla="*/ 8007663 h 10808782"/>
              <a:gd name="connsiteX833" fmla="*/ 3916184 w 25004707"/>
              <a:gd name="connsiteY833" fmla="*/ 8492568 h 10808782"/>
              <a:gd name="connsiteX834" fmla="*/ 3916184 w 25004707"/>
              <a:gd name="connsiteY834" fmla="*/ 8492568 h 10808782"/>
              <a:gd name="connsiteX835" fmla="*/ 2632012 w 25004707"/>
              <a:gd name="connsiteY835" fmla="*/ 8408369 h 10808782"/>
              <a:gd name="connsiteX836" fmla="*/ 2600201 w 25004707"/>
              <a:gd name="connsiteY836" fmla="*/ 8892802 h 10808782"/>
              <a:gd name="connsiteX837" fmla="*/ 1316024 w 25004707"/>
              <a:gd name="connsiteY837" fmla="*/ 8808634 h 10808782"/>
              <a:gd name="connsiteX838" fmla="*/ 4154818 w 25004707"/>
              <a:gd name="connsiteY838" fmla="*/ 4858838 h 10808782"/>
              <a:gd name="connsiteX839" fmla="*/ 4171888 w 25004707"/>
              <a:gd name="connsiteY839" fmla="*/ 4598837 h 10808782"/>
              <a:gd name="connsiteX840" fmla="*/ 4441469 w 25004707"/>
              <a:gd name="connsiteY840" fmla="*/ 493350 h 10808782"/>
              <a:gd name="connsiteX841" fmla="*/ 4424383 w 25004707"/>
              <a:gd name="connsiteY841" fmla="*/ 753369 h 10808782"/>
              <a:gd name="connsiteX842" fmla="*/ 4171888 w 25004707"/>
              <a:gd name="connsiteY842" fmla="*/ 4598837 h 10808782"/>
              <a:gd name="connsiteX843" fmla="*/ 5486817 w 25004707"/>
              <a:gd name="connsiteY843" fmla="*/ 4214493 h 10808782"/>
              <a:gd name="connsiteX844" fmla="*/ 4171888 w 25004707"/>
              <a:gd name="connsiteY844" fmla="*/ 4598837 h 10808782"/>
              <a:gd name="connsiteX845" fmla="*/ 2918475 w 25004707"/>
              <a:gd name="connsiteY845" fmla="*/ 4046141 h 10808782"/>
              <a:gd name="connsiteX846" fmla="*/ 6516337 w 25004707"/>
              <a:gd name="connsiteY846" fmla="*/ 8176030 h 10808782"/>
              <a:gd name="connsiteX847" fmla="*/ 6484494 w 25004707"/>
              <a:gd name="connsiteY847" fmla="*/ 8660920 h 10808782"/>
              <a:gd name="connsiteX848" fmla="*/ 5200323 w 25004707"/>
              <a:gd name="connsiteY848" fmla="*/ 8576751 h 10808782"/>
              <a:gd name="connsiteX849" fmla="*/ 6516337 w 25004707"/>
              <a:gd name="connsiteY849" fmla="*/ 8176030 h 10808782"/>
              <a:gd name="connsiteX850" fmla="*/ 6548180 w 25004707"/>
              <a:gd name="connsiteY850" fmla="*/ 7691597 h 10808782"/>
              <a:gd name="connsiteX851" fmla="*/ 7832335 w 25004707"/>
              <a:gd name="connsiteY851" fmla="*/ 7775781 h 10808782"/>
              <a:gd name="connsiteX852" fmla="*/ 6516337 w 25004707"/>
              <a:gd name="connsiteY852" fmla="*/ 8176030 h 10808782"/>
              <a:gd name="connsiteX853" fmla="*/ 5232182 w 25004707"/>
              <a:gd name="connsiteY853" fmla="*/ 8091847 h 10808782"/>
              <a:gd name="connsiteX854" fmla="*/ 6516337 w 25004707"/>
              <a:gd name="connsiteY854" fmla="*/ 8176030 h 10808782"/>
              <a:gd name="connsiteX855" fmla="*/ 7800540 w 25004707"/>
              <a:gd name="connsiteY855" fmla="*/ 8260199 h 10808782"/>
              <a:gd name="connsiteX856" fmla="*/ 6484447 w 25004707"/>
              <a:gd name="connsiteY856" fmla="*/ 8660904 h 10808782"/>
              <a:gd name="connsiteX857" fmla="*/ 6452635 w 25004707"/>
              <a:gd name="connsiteY857" fmla="*/ 9145338 h 10808782"/>
              <a:gd name="connsiteX858" fmla="*/ 5168449 w 25004707"/>
              <a:gd name="connsiteY858" fmla="*/ 9061154 h 10808782"/>
              <a:gd name="connsiteX859" fmla="*/ 6707364 w 25004707"/>
              <a:gd name="connsiteY859" fmla="*/ 5268031 h 10808782"/>
              <a:gd name="connsiteX860" fmla="*/ 6675537 w 25004707"/>
              <a:gd name="connsiteY860" fmla="*/ 5752465 h 10808782"/>
              <a:gd name="connsiteX861" fmla="*/ 6675537 w 25004707"/>
              <a:gd name="connsiteY861" fmla="*/ 5752465 h 10808782"/>
              <a:gd name="connsiteX862" fmla="*/ 6643678 w 25004707"/>
              <a:gd name="connsiteY862" fmla="*/ 6237369 h 10808782"/>
              <a:gd name="connsiteX863" fmla="*/ 6675537 w 25004707"/>
              <a:gd name="connsiteY863" fmla="*/ 5752465 h 10808782"/>
              <a:gd name="connsiteX864" fmla="*/ 7959724 w 25004707"/>
              <a:gd name="connsiteY864" fmla="*/ 5836648 h 10808782"/>
              <a:gd name="connsiteX865" fmla="*/ 6675537 w 25004707"/>
              <a:gd name="connsiteY865" fmla="*/ 5752465 h 10808782"/>
              <a:gd name="connsiteX866" fmla="*/ 5391366 w 25004707"/>
              <a:gd name="connsiteY866" fmla="*/ 5668297 h 10808782"/>
              <a:gd name="connsiteX867" fmla="*/ 6739145 w 25004707"/>
              <a:gd name="connsiteY867" fmla="*/ 4783126 h 10808782"/>
              <a:gd name="connsiteX868" fmla="*/ 6707301 w 25004707"/>
              <a:gd name="connsiteY868" fmla="*/ 5268031 h 10808782"/>
              <a:gd name="connsiteX869" fmla="*/ 5423115 w 25004707"/>
              <a:gd name="connsiteY869" fmla="*/ 5183847 h 10808782"/>
              <a:gd name="connsiteX870" fmla="*/ 6771003 w 25004707"/>
              <a:gd name="connsiteY870" fmla="*/ 4298708 h 10808782"/>
              <a:gd name="connsiteX871" fmla="*/ 6802846 w 25004707"/>
              <a:gd name="connsiteY871" fmla="*/ 3813819 h 10808782"/>
              <a:gd name="connsiteX872" fmla="*/ 8087017 w 25004707"/>
              <a:gd name="connsiteY872" fmla="*/ 3897971 h 10808782"/>
              <a:gd name="connsiteX873" fmla="*/ 8118845 w 25004707"/>
              <a:gd name="connsiteY873" fmla="*/ 3413538 h 10808782"/>
              <a:gd name="connsiteX874" fmla="*/ 6771003 w 25004707"/>
              <a:gd name="connsiteY874" fmla="*/ 4298708 h 10808782"/>
              <a:gd name="connsiteX875" fmla="*/ 6739176 w 25004707"/>
              <a:gd name="connsiteY875" fmla="*/ 4783142 h 10808782"/>
              <a:gd name="connsiteX876" fmla="*/ 6962031 w 25004707"/>
              <a:gd name="connsiteY876" fmla="*/ 1390234 h 10808782"/>
              <a:gd name="connsiteX877" fmla="*/ 6930187 w 25004707"/>
              <a:gd name="connsiteY877" fmla="*/ 1875142 h 10808782"/>
              <a:gd name="connsiteX878" fmla="*/ 6962031 w 25004707"/>
              <a:gd name="connsiteY878" fmla="*/ 1390234 h 10808782"/>
              <a:gd name="connsiteX879" fmla="*/ 6993842 w 25004707"/>
              <a:gd name="connsiteY879" fmla="*/ 905794 h 10808782"/>
              <a:gd name="connsiteX880" fmla="*/ 6962031 w 25004707"/>
              <a:gd name="connsiteY880" fmla="*/ 1390234 h 10808782"/>
              <a:gd name="connsiteX881" fmla="*/ 5677875 w 25004707"/>
              <a:gd name="connsiteY881" fmla="*/ 1306052 h 10808782"/>
              <a:gd name="connsiteX882" fmla="*/ 6962031 w 25004707"/>
              <a:gd name="connsiteY882" fmla="*/ 1390234 h 10808782"/>
              <a:gd name="connsiteX883" fmla="*/ 8246217 w 25004707"/>
              <a:gd name="connsiteY883" fmla="*/ 1474414 h 10808782"/>
              <a:gd name="connsiteX884" fmla="*/ 6930187 w 25004707"/>
              <a:gd name="connsiteY884" fmla="*/ 1875142 h 10808782"/>
              <a:gd name="connsiteX885" fmla="*/ 8214374 w 25004707"/>
              <a:gd name="connsiteY885" fmla="*/ 1959310 h 10808782"/>
              <a:gd name="connsiteX886" fmla="*/ 8246217 w 25004707"/>
              <a:gd name="connsiteY886" fmla="*/ 1474414 h 10808782"/>
              <a:gd name="connsiteX887" fmla="*/ 7025685 w 25004707"/>
              <a:gd name="connsiteY887" fmla="*/ 420894 h 10808782"/>
              <a:gd name="connsiteX888" fmla="*/ 6993842 w 25004707"/>
              <a:gd name="connsiteY888" fmla="*/ 905794 h 10808782"/>
              <a:gd name="connsiteX889" fmla="*/ 6993842 w 25004707"/>
              <a:gd name="connsiteY889" fmla="*/ 905794 h 10808782"/>
              <a:gd name="connsiteX890" fmla="*/ 5709671 w 25004707"/>
              <a:gd name="connsiteY890" fmla="*/ 821615 h 10808782"/>
              <a:gd name="connsiteX891" fmla="*/ 6993842 w 25004707"/>
              <a:gd name="connsiteY891" fmla="*/ 905794 h 10808782"/>
              <a:gd name="connsiteX892" fmla="*/ 8278013 w 25004707"/>
              <a:gd name="connsiteY892" fmla="*/ 989967 h 10808782"/>
              <a:gd name="connsiteX893" fmla="*/ 8309856 w 25004707"/>
              <a:gd name="connsiteY893" fmla="*/ 505066 h 10808782"/>
              <a:gd name="connsiteX894" fmla="*/ 6739176 w 25004707"/>
              <a:gd name="connsiteY894" fmla="*/ 4783142 h 10808782"/>
              <a:gd name="connsiteX895" fmla="*/ 8023347 w 25004707"/>
              <a:gd name="connsiteY895" fmla="*/ 4867310 h 10808782"/>
              <a:gd name="connsiteX896" fmla="*/ 6611819 w 25004707"/>
              <a:gd name="connsiteY896" fmla="*/ 6722259 h 10808782"/>
              <a:gd name="connsiteX897" fmla="*/ 6579992 w 25004707"/>
              <a:gd name="connsiteY897" fmla="*/ 7206692 h 10808782"/>
              <a:gd name="connsiteX898" fmla="*/ 6611819 w 25004707"/>
              <a:gd name="connsiteY898" fmla="*/ 6722259 h 10808782"/>
              <a:gd name="connsiteX899" fmla="*/ 6643647 w 25004707"/>
              <a:gd name="connsiteY899" fmla="*/ 6237369 h 10808782"/>
              <a:gd name="connsiteX900" fmla="*/ 6611819 w 25004707"/>
              <a:gd name="connsiteY900" fmla="*/ 6722259 h 10808782"/>
              <a:gd name="connsiteX901" fmla="*/ 7895990 w 25004707"/>
              <a:gd name="connsiteY901" fmla="*/ 6806442 h 10808782"/>
              <a:gd name="connsiteX902" fmla="*/ 6579992 w 25004707"/>
              <a:gd name="connsiteY902" fmla="*/ 7206692 h 10808782"/>
              <a:gd name="connsiteX903" fmla="*/ 6548133 w 25004707"/>
              <a:gd name="connsiteY903" fmla="*/ 7691613 h 10808782"/>
              <a:gd name="connsiteX904" fmla="*/ 5263978 w 25004707"/>
              <a:gd name="connsiteY904" fmla="*/ 7607414 h 10808782"/>
              <a:gd name="connsiteX905" fmla="*/ 5232150 w 25004707"/>
              <a:gd name="connsiteY905" fmla="*/ 8091847 h 10808782"/>
              <a:gd name="connsiteX906" fmla="*/ 3947979 w 25004707"/>
              <a:gd name="connsiteY906" fmla="*/ 8007663 h 10808782"/>
              <a:gd name="connsiteX907" fmla="*/ 6643678 w 25004707"/>
              <a:gd name="connsiteY907" fmla="*/ 6237369 h 10808782"/>
              <a:gd name="connsiteX908" fmla="*/ 7927849 w 25004707"/>
              <a:gd name="connsiteY908" fmla="*/ 6321553 h 10808782"/>
              <a:gd name="connsiteX909" fmla="*/ 6898344 w 25004707"/>
              <a:gd name="connsiteY909" fmla="*/ 2360031 h 10808782"/>
              <a:gd name="connsiteX910" fmla="*/ 6866517 w 25004707"/>
              <a:gd name="connsiteY910" fmla="*/ 2844465 h 10808782"/>
              <a:gd name="connsiteX911" fmla="*/ 6866517 w 25004707"/>
              <a:gd name="connsiteY911" fmla="*/ 2844465 h 10808782"/>
              <a:gd name="connsiteX912" fmla="*/ 8150688 w 25004707"/>
              <a:gd name="connsiteY912" fmla="*/ 2928648 h 10808782"/>
              <a:gd name="connsiteX913" fmla="*/ 6866517 w 25004707"/>
              <a:gd name="connsiteY913" fmla="*/ 2844465 h 10808782"/>
              <a:gd name="connsiteX914" fmla="*/ 6802862 w 25004707"/>
              <a:gd name="connsiteY914" fmla="*/ 3813787 h 10808782"/>
              <a:gd name="connsiteX915" fmla="*/ 7832335 w 25004707"/>
              <a:gd name="connsiteY915" fmla="*/ 7775781 h 10808782"/>
              <a:gd name="connsiteX916" fmla="*/ 7864178 w 25004707"/>
              <a:gd name="connsiteY916" fmla="*/ 7290876 h 10808782"/>
              <a:gd name="connsiteX917" fmla="*/ 7832335 w 25004707"/>
              <a:gd name="connsiteY917" fmla="*/ 7775781 h 10808782"/>
              <a:gd name="connsiteX918" fmla="*/ 7800540 w 25004707"/>
              <a:gd name="connsiteY918" fmla="*/ 8260199 h 10808782"/>
              <a:gd name="connsiteX919" fmla="*/ 7832335 w 25004707"/>
              <a:gd name="connsiteY919" fmla="*/ 7775781 h 10808782"/>
              <a:gd name="connsiteX920" fmla="*/ 9116522 w 25004707"/>
              <a:gd name="connsiteY920" fmla="*/ 7859965 h 10808782"/>
              <a:gd name="connsiteX921" fmla="*/ 7864178 w 25004707"/>
              <a:gd name="connsiteY921" fmla="*/ 7290876 h 10808782"/>
              <a:gd name="connsiteX922" fmla="*/ 7895990 w 25004707"/>
              <a:gd name="connsiteY922" fmla="*/ 6806442 h 10808782"/>
              <a:gd name="connsiteX923" fmla="*/ 7864178 w 25004707"/>
              <a:gd name="connsiteY923" fmla="*/ 7290876 h 10808782"/>
              <a:gd name="connsiteX924" fmla="*/ 6580023 w 25004707"/>
              <a:gd name="connsiteY924" fmla="*/ 7206692 h 10808782"/>
              <a:gd name="connsiteX925" fmla="*/ 7864178 w 25004707"/>
              <a:gd name="connsiteY925" fmla="*/ 7290876 h 10808782"/>
              <a:gd name="connsiteX926" fmla="*/ 9148365 w 25004707"/>
              <a:gd name="connsiteY926" fmla="*/ 7375028 h 10808782"/>
              <a:gd name="connsiteX927" fmla="*/ 9180177 w 25004707"/>
              <a:gd name="connsiteY927" fmla="*/ 6890626 h 10808782"/>
              <a:gd name="connsiteX928" fmla="*/ 8023347 w 25004707"/>
              <a:gd name="connsiteY928" fmla="*/ 4867310 h 10808782"/>
              <a:gd name="connsiteX929" fmla="*/ 7991504 w 25004707"/>
              <a:gd name="connsiteY929" fmla="*/ 5352199 h 10808782"/>
              <a:gd name="connsiteX930" fmla="*/ 6707317 w 25004707"/>
              <a:gd name="connsiteY930" fmla="*/ 5268031 h 10808782"/>
              <a:gd name="connsiteX931" fmla="*/ 8023347 w 25004707"/>
              <a:gd name="connsiteY931" fmla="*/ 4867310 h 10808782"/>
              <a:gd name="connsiteX932" fmla="*/ 8055159 w 25004707"/>
              <a:gd name="connsiteY932" fmla="*/ 4382892 h 10808782"/>
              <a:gd name="connsiteX933" fmla="*/ 8023347 w 25004707"/>
              <a:gd name="connsiteY933" fmla="*/ 4867310 h 10808782"/>
              <a:gd name="connsiteX934" fmla="*/ 9307518 w 25004707"/>
              <a:gd name="connsiteY934" fmla="*/ 4951493 h 10808782"/>
              <a:gd name="connsiteX935" fmla="*/ 9339345 w 25004707"/>
              <a:gd name="connsiteY935" fmla="*/ 4467060 h 10808782"/>
              <a:gd name="connsiteX936" fmla="*/ 8150735 w 25004707"/>
              <a:gd name="connsiteY936" fmla="*/ 2928633 h 10808782"/>
              <a:gd name="connsiteX937" fmla="*/ 8118892 w 25004707"/>
              <a:gd name="connsiteY937" fmla="*/ 3413522 h 10808782"/>
              <a:gd name="connsiteX938" fmla="*/ 8118892 w 25004707"/>
              <a:gd name="connsiteY938" fmla="*/ 3413522 h 10808782"/>
              <a:gd name="connsiteX939" fmla="*/ 6834705 w 25004707"/>
              <a:gd name="connsiteY939" fmla="*/ 3329354 h 10808782"/>
              <a:gd name="connsiteX940" fmla="*/ 8118892 w 25004707"/>
              <a:gd name="connsiteY940" fmla="*/ 3413522 h 10808782"/>
              <a:gd name="connsiteX941" fmla="*/ 9403063 w 25004707"/>
              <a:gd name="connsiteY941" fmla="*/ 3497721 h 10808782"/>
              <a:gd name="connsiteX942" fmla="*/ 7927849 w 25004707"/>
              <a:gd name="connsiteY942" fmla="*/ 6321553 h 10808782"/>
              <a:gd name="connsiteX943" fmla="*/ 7895990 w 25004707"/>
              <a:gd name="connsiteY943" fmla="*/ 6806442 h 10808782"/>
              <a:gd name="connsiteX944" fmla="*/ 7927849 w 25004707"/>
              <a:gd name="connsiteY944" fmla="*/ 6321553 h 10808782"/>
              <a:gd name="connsiteX945" fmla="*/ 7959692 w 25004707"/>
              <a:gd name="connsiteY945" fmla="*/ 5836632 h 10808782"/>
              <a:gd name="connsiteX946" fmla="*/ 7895990 w 25004707"/>
              <a:gd name="connsiteY946" fmla="*/ 6806442 h 10808782"/>
              <a:gd name="connsiteX947" fmla="*/ 9180177 w 25004707"/>
              <a:gd name="connsiteY947" fmla="*/ 6890626 h 10808782"/>
              <a:gd name="connsiteX948" fmla="*/ 7736885 w 25004707"/>
              <a:gd name="connsiteY948" fmla="*/ 9229521 h 10808782"/>
              <a:gd name="connsiteX949" fmla="*/ 7705010 w 25004707"/>
              <a:gd name="connsiteY949" fmla="*/ 9714426 h 10808782"/>
              <a:gd name="connsiteX950" fmla="*/ 7736885 w 25004707"/>
              <a:gd name="connsiteY950" fmla="*/ 9229521 h 10808782"/>
              <a:gd name="connsiteX951" fmla="*/ 9021040 w 25004707"/>
              <a:gd name="connsiteY951" fmla="*/ 9313690 h 10808782"/>
              <a:gd name="connsiteX952" fmla="*/ 7736885 w 25004707"/>
              <a:gd name="connsiteY952" fmla="*/ 9229521 h 10808782"/>
              <a:gd name="connsiteX953" fmla="*/ 7800540 w 25004707"/>
              <a:gd name="connsiteY953" fmla="*/ 8260199 h 10808782"/>
              <a:gd name="connsiteX954" fmla="*/ 8087049 w 25004707"/>
              <a:gd name="connsiteY954" fmla="*/ 3897987 h 10808782"/>
              <a:gd name="connsiteX955" fmla="*/ 8055206 w 25004707"/>
              <a:gd name="connsiteY955" fmla="*/ 4382892 h 10808782"/>
              <a:gd name="connsiteX956" fmla="*/ 8055206 w 25004707"/>
              <a:gd name="connsiteY956" fmla="*/ 4382892 h 10808782"/>
              <a:gd name="connsiteX957" fmla="*/ 6771019 w 25004707"/>
              <a:gd name="connsiteY957" fmla="*/ 4298708 h 10808782"/>
              <a:gd name="connsiteX958" fmla="*/ 8055206 w 25004707"/>
              <a:gd name="connsiteY958" fmla="*/ 4382892 h 10808782"/>
              <a:gd name="connsiteX959" fmla="*/ 9339392 w 25004707"/>
              <a:gd name="connsiteY959" fmla="*/ 4467060 h 10808782"/>
              <a:gd name="connsiteX960" fmla="*/ 7959724 w 25004707"/>
              <a:gd name="connsiteY960" fmla="*/ 5836648 h 10808782"/>
              <a:gd name="connsiteX961" fmla="*/ 7991535 w 25004707"/>
              <a:gd name="connsiteY961" fmla="*/ 5352214 h 10808782"/>
              <a:gd name="connsiteX962" fmla="*/ 9275706 w 25004707"/>
              <a:gd name="connsiteY962" fmla="*/ 5436398 h 10808782"/>
              <a:gd name="connsiteX963" fmla="*/ 7959724 w 25004707"/>
              <a:gd name="connsiteY963" fmla="*/ 5836648 h 10808782"/>
              <a:gd name="connsiteX964" fmla="*/ 9243879 w 25004707"/>
              <a:gd name="connsiteY964" fmla="*/ 5920832 h 10808782"/>
              <a:gd name="connsiteX965" fmla="*/ 7705010 w 25004707"/>
              <a:gd name="connsiteY965" fmla="*/ 9714426 h 10808782"/>
              <a:gd name="connsiteX966" fmla="*/ 6420839 w 25004707"/>
              <a:gd name="connsiteY966" fmla="*/ 9630242 h 10808782"/>
              <a:gd name="connsiteX967" fmla="*/ 7705010 w 25004707"/>
              <a:gd name="connsiteY967" fmla="*/ 9714426 h 10808782"/>
              <a:gd name="connsiteX968" fmla="*/ 8989196 w 25004707"/>
              <a:gd name="connsiteY968" fmla="*/ 9798594 h 10808782"/>
              <a:gd name="connsiteX969" fmla="*/ 9021040 w 25004707"/>
              <a:gd name="connsiteY969" fmla="*/ 9313690 h 10808782"/>
              <a:gd name="connsiteX970" fmla="*/ 8246217 w 25004707"/>
              <a:gd name="connsiteY970" fmla="*/ 1474414 h 10808782"/>
              <a:gd name="connsiteX971" fmla="*/ 8278029 w 25004707"/>
              <a:gd name="connsiteY971" fmla="*/ 989981 h 10808782"/>
              <a:gd name="connsiteX972" fmla="*/ 9562184 w 25004707"/>
              <a:gd name="connsiteY972" fmla="*/ 1074155 h 10808782"/>
              <a:gd name="connsiteX973" fmla="*/ 7800540 w 25004707"/>
              <a:gd name="connsiteY973" fmla="*/ 8260199 h 10808782"/>
              <a:gd name="connsiteX974" fmla="*/ 9084726 w 25004707"/>
              <a:gd name="connsiteY974" fmla="*/ 8344382 h 10808782"/>
              <a:gd name="connsiteX975" fmla="*/ 8182500 w 25004707"/>
              <a:gd name="connsiteY975" fmla="*/ 2444199 h 10808782"/>
              <a:gd name="connsiteX976" fmla="*/ 8214343 w 25004707"/>
              <a:gd name="connsiteY976" fmla="*/ 1959294 h 10808782"/>
              <a:gd name="connsiteX977" fmla="*/ 9498529 w 25004707"/>
              <a:gd name="connsiteY977" fmla="*/ 2043493 h 10808782"/>
              <a:gd name="connsiteX978" fmla="*/ 8182500 w 25004707"/>
              <a:gd name="connsiteY978" fmla="*/ 2444199 h 10808782"/>
              <a:gd name="connsiteX979" fmla="*/ 8150688 w 25004707"/>
              <a:gd name="connsiteY979" fmla="*/ 2928648 h 10808782"/>
              <a:gd name="connsiteX980" fmla="*/ 8182500 w 25004707"/>
              <a:gd name="connsiteY980" fmla="*/ 2444199 h 10808782"/>
              <a:gd name="connsiteX981" fmla="*/ 9466686 w 25004707"/>
              <a:gd name="connsiteY981" fmla="*/ 2528399 h 10808782"/>
              <a:gd name="connsiteX982" fmla="*/ 8182500 w 25004707"/>
              <a:gd name="connsiteY982" fmla="*/ 2444199 h 10808782"/>
              <a:gd name="connsiteX983" fmla="*/ 6898329 w 25004707"/>
              <a:gd name="connsiteY983" fmla="*/ 2360015 h 10808782"/>
              <a:gd name="connsiteX984" fmla="*/ 8150688 w 25004707"/>
              <a:gd name="connsiteY984" fmla="*/ 2928648 h 10808782"/>
              <a:gd name="connsiteX985" fmla="*/ 9434859 w 25004707"/>
              <a:gd name="connsiteY985" fmla="*/ 3012832 h 10808782"/>
              <a:gd name="connsiteX986" fmla="*/ 9275706 w 25004707"/>
              <a:gd name="connsiteY986" fmla="*/ 5436398 h 10808782"/>
              <a:gd name="connsiteX987" fmla="*/ 9243879 w 25004707"/>
              <a:gd name="connsiteY987" fmla="*/ 5920832 h 10808782"/>
              <a:gd name="connsiteX988" fmla="*/ 9243879 w 25004707"/>
              <a:gd name="connsiteY988" fmla="*/ 5920832 h 10808782"/>
              <a:gd name="connsiteX989" fmla="*/ 9212035 w 25004707"/>
              <a:gd name="connsiteY989" fmla="*/ 6405721 h 10808782"/>
              <a:gd name="connsiteX990" fmla="*/ 9212035 w 25004707"/>
              <a:gd name="connsiteY990" fmla="*/ 6405721 h 10808782"/>
              <a:gd name="connsiteX991" fmla="*/ 9180177 w 25004707"/>
              <a:gd name="connsiteY991" fmla="*/ 6890626 h 10808782"/>
              <a:gd name="connsiteX992" fmla="*/ 9212035 w 25004707"/>
              <a:gd name="connsiteY992" fmla="*/ 6405721 h 10808782"/>
              <a:gd name="connsiteX993" fmla="*/ 7927865 w 25004707"/>
              <a:gd name="connsiteY993" fmla="*/ 6321538 h 10808782"/>
              <a:gd name="connsiteX994" fmla="*/ 9371235 w 25004707"/>
              <a:gd name="connsiteY994" fmla="*/ 3982171 h 10808782"/>
              <a:gd name="connsiteX995" fmla="*/ 9339392 w 25004707"/>
              <a:gd name="connsiteY995" fmla="*/ 4467060 h 10808782"/>
              <a:gd name="connsiteX996" fmla="*/ 9562184 w 25004707"/>
              <a:gd name="connsiteY996" fmla="*/ 1074155 h 10808782"/>
              <a:gd name="connsiteX997" fmla="*/ 9530372 w 25004707"/>
              <a:gd name="connsiteY997" fmla="*/ 1558589 h 10808782"/>
              <a:gd name="connsiteX998" fmla="*/ 9562184 w 25004707"/>
              <a:gd name="connsiteY998" fmla="*/ 1074155 h 10808782"/>
              <a:gd name="connsiteX999" fmla="*/ 9594027 w 25004707"/>
              <a:gd name="connsiteY999" fmla="*/ 589247 h 10808782"/>
              <a:gd name="connsiteX1000" fmla="*/ 9530372 w 25004707"/>
              <a:gd name="connsiteY1000" fmla="*/ 1558589 h 10808782"/>
              <a:gd name="connsiteX1001" fmla="*/ 9498529 w 25004707"/>
              <a:gd name="connsiteY1001" fmla="*/ 2043493 h 10808782"/>
              <a:gd name="connsiteX1002" fmla="*/ 9530372 w 25004707"/>
              <a:gd name="connsiteY1002" fmla="*/ 1558589 h 10808782"/>
              <a:gd name="connsiteX1003" fmla="*/ 8246186 w 25004707"/>
              <a:gd name="connsiteY1003" fmla="*/ 1474408 h 10808782"/>
              <a:gd name="connsiteX1004" fmla="*/ 9116522 w 25004707"/>
              <a:gd name="connsiteY1004" fmla="*/ 7859965 h 10808782"/>
              <a:gd name="connsiteX1005" fmla="*/ 9084726 w 25004707"/>
              <a:gd name="connsiteY1005" fmla="*/ 8344382 h 10808782"/>
              <a:gd name="connsiteX1006" fmla="*/ 9403063 w 25004707"/>
              <a:gd name="connsiteY1006" fmla="*/ 3497721 h 10808782"/>
              <a:gd name="connsiteX1007" fmla="*/ 9371251 w 25004707"/>
              <a:gd name="connsiteY1007" fmla="*/ 3982155 h 10808782"/>
              <a:gd name="connsiteX1008" fmla="*/ 9403063 w 25004707"/>
              <a:gd name="connsiteY1008" fmla="*/ 3497721 h 10808782"/>
              <a:gd name="connsiteX1009" fmla="*/ 9434921 w 25004707"/>
              <a:gd name="connsiteY1009" fmla="*/ 3012801 h 10808782"/>
              <a:gd name="connsiteX1010" fmla="*/ 9371251 w 25004707"/>
              <a:gd name="connsiteY1010" fmla="*/ 3982155 h 10808782"/>
              <a:gd name="connsiteX1011" fmla="*/ 8087081 w 25004707"/>
              <a:gd name="connsiteY1011" fmla="*/ 3897971 h 10808782"/>
              <a:gd name="connsiteX1012" fmla="*/ 9498529 w 25004707"/>
              <a:gd name="connsiteY1012" fmla="*/ 2043493 h 10808782"/>
              <a:gd name="connsiteX1013" fmla="*/ 9466686 w 25004707"/>
              <a:gd name="connsiteY1013" fmla="*/ 2528399 h 10808782"/>
              <a:gd name="connsiteX1014" fmla="*/ 9466686 w 25004707"/>
              <a:gd name="connsiteY1014" fmla="*/ 2528399 h 10808782"/>
              <a:gd name="connsiteX1015" fmla="*/ 9434859 w 25004707"/>
              <a:gd name="connsiteY1015" fmla="*/ 3012832 h 10808782"/>
              <a:gd name="connsiteX1016" fmla="*/ 9021040 w 25004707"/>
              <a:gd name="connsiteY1016" fmla="*/ 9313690 h 10808782"/>
              <a:gd name="connsiteX1017" fmla="*/ 9052851 w 25004707"/>
              <a:gd name="connsiteY1017" fmla="*/ 8829272 h 10808782"/>
              <a:gd name="connsiteX1018" fmla="*/ 9084726 w 25004707"/>
              <a:gd name="connsiteY1018" fmla="*/ 8344382 h 10808782"/>
              <a:gd name="connsiteX1019" fmla="*/ 9052883 w 25004707"/>
              <a:gd name="connsiteY1019" fmla="*/ 8829287 h 10808782"/>
              <a:gd name="connsiteX1020" fmla="*/ 9052883 w 25004707"/>
              <a:gd name="connsiteY1020" fmla="*/ 8829287 h 10808782"/>
              <a:gd name="connsiteX1021" fmla="*/ 6484525 w 25004707"/>
              <a:gd name="connsiteY1021" fmla="*/ 8660920 h 10808782"/>
              <a:gd name="connsiteX1022" fmla="*/ 11589397 w 25004707"/>
              <a:gd name="connsiteY1022" fmla="*/ 9482057 h 10808782"/>
              <a:gd name="connsiteX1023" fmla="*/ 11621209 w 25004707"/>
              <a:gd name="connsiteY1023" fmla="*/ 8997623 h 10808782"/>
              <a:gd name="connsiteX1024" fmla="*/ 11589397 w 25004707"/>
              <a:gd name="connsiteY1024" fmla="*/ 9482057 h 10808782"/>
              <a:gd name="connsiteX1025" fmla="*/ 11557539 w 25004707"/>
              <a:gd name="connsiteY1025" fmla="*/ 9966962 h 10808782"/>
              <a:gd name="connsiteX1026" fmla="*/ 10273352 w 25004707"/>
              <a:gd name="connsiteY1026" fmla="*/ 9882778 h 10808782"/>
              <a:gd name="connsiteX1027" fmla="*/ 11589397 w 25004707"/>
              <a:gd name="connsiteY1027" fmla="*/ 9482057 h 10808782"/>
              <a:gd name="connsiteX1028" fmla="*/ 12873584 w 25004707"/>
              <a:gd name="connsiteY1028" fmla="*/ 9566240 h 10808782"/>
              <a:gd name="connsiteX1029" fmla="*/ 11589397 w 25004707"/>
              <a:gd name="connsiteY1029" fmla="*/ 9482057 h 10808782"/>
              <a:gd name="connsiteX1030" fmla="*/ 10305227 w 25004707"/>
              <a:gd name="connsiteY1030" fmla="*/ 9397873 h 10808782"/>
              <a:gd name="connsiteX1031" fmla="*/ 11621209 w 25004707"/>
              <a:gd name="connsiteY1031" fmla="*/ 8997623 h 10808782"/>
              <a:gd name="connsiteX1032" fmla="*/ 11653068 w 25004707"/>
              <a:gd name="connsiteY1032" fmla="*/ 8512733 h 10808782"/>
              <a:gd name="connsiteX1033" fmla="*/ 11621209 w 25004707"/>
              <a:gd name="connsiteY1033" fmla="*/ 8997623 h 10808782"/>
              <a:gd name="connsiteX1034" fmla="*/ 10337038 w 25004707"/>
              <a:gd name="connsiteY1034" fmla="*/ 8913455 h 10808782"/>
              <a:gd name="connsiteX1035" fmla="*/ 12098730 w 25004707"/>
              <a:gd name="connsiteY1035" fmla="*/ 1726956 h 10808782"/>
              <a:gd name="connsiteX1036" fmla="*/ 12066887 w 25004707"/>
              <a:gd name="connsiteY1036" fmla="*/ 2211845 h 10808782"/>
              <a:gd name="connsiteX1037" fmla="*/ 12098730 w 25004707"/>
              <a:gd name="connsiteY1037" fmla="*/ 1726956 h 10808782"/>
              <a:gd name="connsiteX1038" fmla="*/ 12130541 w 25004707"/>
              <a:gd name="connsiteY1038" fmla="*/ 1242500 h 10808782"/>
              <a:gd name="connsiteX1039" fmla="*/ 12098730 w 25004707"/>
              <a:gd name="connsiteY1039" fmla="*/ 1726956 h 10808782"/>
              <a:gd name="connsiteX1040" fmla="*/ 13382917 w 25004707"/>
              <a:gd name="connsiteY1040" fmla="*/ 1811140 h 10808782"/>
              <a:gd name="connsiteX1041" fmla="*/ 12066887 w 25004707"/>
              <a:gd name="connsiteY1041" fmla="*/ 2211845 h 10808782"/>
              <a:gd name="connsiteX1042" fmla="*/ 12035043 w 25004707"/>
              <a:gd name="connsiteY1042" fmla="*/ 2696735 h 10808782"/>
              <a:gd name="connsiteX1043" fmla="*/ 12066887 w 25004707"/>
              <a:gd name="connsiteY1043" fmla="*/ 2211845 h 10808782"/>
              <a:gd name="connsiteX1044" fmla="*/ 13351074 w 25004707"/>
              <a:gd name="connsiteY1044" fmla="*/ 2296029 h 10808782"/>
              <a:gd name="connsiteX1045" fmla="*/ 13382917 w 25004707"/>
              <a:gd name="connsiteY1045" fmla="*/ 1811140 h 10808782"/>
              <a:gd name="connsiteX1046" fmla="*/ 11684864 w 25004707"/>
              <a:gd name="connsiteY1046" fmla="*/ 8028316 h 10808782"/>
              <a:gd name="connsiteX1047" fmla="*/ 11700769 w 25004707"/>
              <a:gd name="connsiteY1047" fmla="*/ 7786092 h 10808782"/>
              <a:gd name="connsiteX1048" fmla="*/ 11645721 w 25004707"/>
              <a:gd name="connsiteY1048" fmla="*/ 7561345 h 10808782"/>
              <a:gd name="connsiteX1049" fmla="*/ 11684864 w 25004707"/>
              <a:gd name="connsiteY1049" fmla="*/ 8028316 h 10808782"/>
              <a:gd name="connsiteX1050" fmla="*/ 11653068 w 25004707"/>
              <a:gd name="connsiteY1050" fmla="*/ 8512733 h 10808782"/>
              <a:gd name="connsiteX1051" fmla="*/ 12162401 w 25004707"/>
              <a:gd name="connsiteY1051" fmla="*/ 757600 h 10808782"/>
              <a:gd name="connsiteX1052" fmla="*/ 12130541 w 25004707"/>
              <a:gd name="connsiteY1052" fmla="*/ 1242500 h 10808782"/>
              <a:gd name="connsiteX1053" fmla="*/ 12130541 w 25004707"/>
              <a:gd name="connsiteY1053" fmla="*/ 1242500 h 10808782"/>
              <a:gd name="connsiteX1054" fmla="*/ 13414713 w 25004707"/>
              <a:gd name="connsiteY1054" fmla="*/ 1326681 h 10808782"/>
              <a:gd name="connsiteX1055" fmla="*/ 11971389 w 25004707"/>
              <a:gd name="connsiteY1055" fmla="*/ 3666073 h 10808782"/>
              <a:gd name="connsiteX1056" fmla="*/ 11939593 w 25004707"/>
              <a:gd name="connsiteY1056" fmla="*/ 4150506 h 10808782"/>
              <a:gd name="connsiteX1057" fmla="*/ 11971389 w 25004707"/>
              <a:gd name="connsiteY1057" fmla="*/ 3666073 h 10808782"/>
              <a:gd name="connsiteX1058" fmla="*/ 10687203 w 25004707"/>
              <a:gd name="connsiteY1058" fmla="*/ 3581889 h 10808782"/>
              <a:gd name="connsiteX1059" fmla="*/ 11971389 w 25004707"/>
              <a:gd name="connsiteY1059" fmla="*/ 3666073 h 10808782"/>
              <a:gd name="connsiteX1060" fmla="*/ 12035043 w 25004707"/>
              <a:gd name="connsiteY1060" fmla="*/ 2696750 h 10808782"/>
              <a:gd name="connsiteX1061" fmla="*/ 11939562 w 25004707"/>
              <a:gd name="connsiteY1061" fmla="*/ 4150506 h 10808782"/>
              <a:gd name="connsiteX1062" fmla="*/ 11923656 w 25004707"/>
              <a:gd name="connsiteY1062" fmla="*/ 4392731 h 10808782"/>
              <a:gd name="connsiteX1063" fmla="*/ 11839674 w 25004707"/>
              <a:gd name="connsiteY1063" fmla="*/ 4608362 h 10808782"/>
              <a:gd name="connsiteX1064" fmla="*/ 11939593 w 25004707"/>
              <a:gd name="connsiteY1064" fmla="*/ 4150506 h 10808782"/>
              <a:gd name="connsiteX1065" fmla="*/ 12272294 w 25004707"/>
              <a:gd name="connsiteY1065" fmla="*/ 4172322 h 10808782"/>
              <a:gd name="connsiteX1066" fmla="*/ 13140632 w 25004707"/>
              <a:gd name="connsiteY1066" fmla="*/ 4177462 h 10808782"/>
              <a:gd name="connsiteX1067" fmla="*/ 11123456 w 25004707"/>
              <a:gd name="connsiteY1067" fmla="*/ 6044043 h 10808782"/>
              <a:gd name="connsiteX1068" fmla="*/ 11191500 w 25004707"/>
              <a:gd name="connsiteY1068" fmla="*/ 6598074 h 10808782"/>
              <a:gd name="connsiteX1069" fmla="*/ 10491927 w 25004707"/>
              <a:gd name="connsiteY1069" fmla="*/ 6490078 h 10808782"/>
              <a:gd name="connsiteX1070" fmla="*/ 11123456 w 25004707"/>
              <a:gd name="connsiteY1070" fmla="*/ 6044043 h 10808782"/>
              <a:gd name="connsiteX1071" fmla="*/ 11503937 w 25004707"/>
              <a:gd name="connsiteY1071" fmla="*/ 6068971 h 10808782"/>
              <a:gd name="connsiteX1072" fmla="*/ 11646287 w 25004707"/>
              <a:gd name="connsiteY1072" fmla="*/ 7561361 h 10808782"/>
              <a:gd name="connsiteX1073" fmla="*/ 11412797 w 25004707"/>
              <a:gd name="connsiteY1073" fmla="*/ 7108001 h 10808782"/>
              <a:gd name="connsiteX1074" fmla="*/ 11130048 w 25004707"/>
              <a:gd name="connsiteY1074" fmla="*/ 7039111 h 10808782"/>
              <a:gd name="connsiteX1075" fmla="*/ 10846071 w 25004707"/>
              <a:gd name="connsiteY1075" fmla="*/ 7005444 h 10808782"/>
              <a:gd name="connsiteX1076" fmla="*/ 10464379 w 25004707"/>
              <a:gd name="connsiteY1076" fmla="*/ 6974779 h 10808782"/>
              <a:gd name="connsiteX1077" fmla="*/ 11191531 w 25004707"/>
              <a:gd name="connsiteY1077" fmla="*/ 6598058 h 10808782"/>
              <a:gd name="connsiteX1078" fmla="*/ 11412813 w 25004707"/>
              <a:gd name="connsiteY1078" fmla="*/ 7107545 h 10808782"/>
              <a:gd name="connsiteX1079" fmla="*/ 12088126 w 25004707"/>
              <a:gd name="connsiteY1079" fmla="*/ 7357425 h 10808782"/>
              <a:gd name="connsiteX1080" fmla="*/ 12035043 w 25004707"/>
              <a:gd name="connsiteY1080" fmla="*/ 2696735 h 10808782"/>
              <a:gd name="connsiteX1081" fmla="*/ 13319230 w 25004707"/>
              <a:gd name="connsiteY1081" fmla="*/ 2780918 h 10808782"/>
              <a:gd name="connsiteX1082" fmla="*/ 11840162 w 25004707"/>
              <a:gd name="connsiteY1082" fmla="*/ 4608393 h 10808782"/>
              <a:gd name="connsiteX1083" fmla="*/ 11549389 w 25004707"/>
              <a:gd name="connsiteY1083" fmla="*/ 5027378 h 10808782"/>
              <a:gd name="connsiteX1084" fmla="*/ 11263368 w 25004707"/>
              <a:gd name="connsiteY1084" fmla="*/ 5504110 h 10808782"/>
              <a:gd name="connsiteX1085" fmla="*/ 11123440 w 25004707"/>
              <a:gd name="connsiteY1085" fmla="*/ 6044498 h 10808782"/>
              <a:gd name="connsiteX1086" fmla="*/ 11549436 w 25004707"/>
              <a:gd name="connsiteY1086" fmla="*/ 5027394 h 10808782"/>
              <a:gd name="connsiteX1087" fmla="*/ 11263415 w 25004707"/>
              <a:gd name="connsiteY1087" fmla="*/ 5503623 h 10808782"/>
              <a:gd name="connsiteX1088" fmla="*/ 11752593 w 25004707"/>
              <a:gd name="connsiteY1088" fmla="*/ 5391241 h 10808782"/>
              <a:gd name="connsiteX1089" fmla="*/ 12251684 w 25004707"/>
              <a:gd name="connsiteY1089" fmla="*/ 4867812 h 10808782"/>
              <a:gd name="connsiteX1090" fmla="*/ 13275399 w 25004707"/>
              <a:gd name="connsiteY1090" fmla="*/ 4617321 h 10808782"/>
              <a:gd name="connsiteX1091" fmla="*/ 13140664 w 25004707"/>
              <a:gd name="connsiteY1091" fmla="*/ 4177494 h 10808782"/>
              <a:gd name="connsiteX1092" fmla="*/ 12761818 w 25004707"/>
              <a:gd name="connsiteY1092" fmla="*/ 4492837 h 10808782"/>
              <a:gd name="connsiteX1093" fmla="*/ 11661721 w 25004707"/>
              <a:gd name="connsiteY1093" fmla="*/ 6773813 h 10808782"/>
              <a:gd name="connsiteX1094" fmla="*/ 11503858 w 25004707"/>
              <a:gd name="connsiteY1094" fmla="*/ 6069442 h 10808782"/>
              <a:gd name="connsiteX1095" fmla="*/ 12905427 w 25004707"/>
              <a:gd name="connsiteY1095" fmla="*/ 9081823 h 10808782"/>
              <a:gd name="connsiteX1096" fmla="*/ 12937271 w 25004707"/>
              <a:gd name="connsiteY1096" fmla="*/ 8596917 h 10808782"/>
              <a:gd name="connsiteX1097" fmla="*/ 12905427 w 25004707"/>
              <a:gd name="connsiteY1097" fmla="*/ 9081823 h 10808782"/>
              <a:gd name="connsiteX1098" fmla="*/ 14190133 w 25004707"/>
              <a:gd name="connsiteY1098" fmla="*/ 9166037 h 10808782"/>
              <a:gd name="connsiteX1099" fmla="*/ 12905427 w 25004707"/>
              <a:gd name="connsiteY1099" fmla="*/ 9081823 h 10808782"/>
              <a:gd name="connsiteX1100" fmla="*/ 11621240 w 25004707"/>
              <a:gd name="connsiteY1100" fmla="*/ 8997639 h 10808782"/>
              <a:gd name="connsiteX1101" fmla="*/ 12251620 w 25004707"/>
              <a:gd name="connsiteY1101" fmla="*/ 4868269 h 10808782"/>
              <a:gd name="connsiteX1102" fmla="*/ 12762275 w 25004707"/>
              <a:gd name="connsiteY1102" fmla="*/ 4493340 h 10808782"/>
              <a:gd name="connsiteX1103" fmla="*/ 11503937 w 25004707"/>
              <a:gd name="connsiteY1103" fmla="*/ 6068971 h 10808782"/>
              <a:gd name="connsiteX1104" fmla="*/ 11752562 w 25004707"/>
              <a:gd name="connsiteY1104" fmla="*/ 5391257 h 10808782"/>
              <a:gd name="connsiteX1105" fmla="*/ 11503937 w 25004707"/>
              <a:gd name="connsiteY1105" fmla="*/ 6068971 h 10808782"/>
              <a:gd name="connsiteX1106" fmla="*/ 11995302 w 25004707"/>
              <a:gd name="connsiteY1106" fmla="*/ 6101176 h 10808782"/>
              <a:gd name="connsiteX1107" fmla="*/ 13319215 w 25004707"/>
              <a:gd name="connsiteY1107" fmla="*/ 2780934 h 10808782"/>
              <a:gd name="connsiteX1108" fmla="*/ 13287403 w 25004707"/>
              <a:gd name="connsiteY1108" fmla="*/ 3265368 h 10808782"/>
              <a:gd name="connsiteX1109" fmla="*/ 10719045 w 25004707"/>
              <a:gd name="connsiteY1109" fmla="*/ 3097000 h 10808782"/>
              <a:gd name="connsiteX1110" fmla="*/ 12879185 w 25004707"/>
              <a:gd name="connsiteY1110" fmla="*/ 8157877 h 10808782"/>
              <a:gd name="connsiteX1111" fmla="*/ 12953113 w 25004707"/>
              <a:gd name="connsiteY1111" fmla="*/ 8354693 h 10808782"/>
              <a:gd name="connsiteX1112" fmla="*/ 12937192 w 25004707"/>
              <a:gd name="connsiteY1112" fmla="*/ 8596917 h 10808782"/>
              <a:gd name="connsiteX1113" fmla="*/ 11653021 w 25004707"/>
              <a:gd name="connsiteY1113" fmla="*/ 8512733 h 10808782"/>
              <a:gd name="connsiteX1114" fmla="*/ 13351074 w 25004707"/>
              <a:gd name="connsiteY1114" fmla="*/ 2296013 h 10808782"/>
              <a:gd name="connsiteX1115" fmla="*/ 13319230 w 25004707"/>
              <a:gd name="connsiteY1115" fmla="*/ 2780918 h 10808782"/>
              <a:gd name="connsiteX1116" fmla="*/ 13319230 w 25004707"/>
              <a:gd name="connsiteY1116" fmla="*/ 2780918 h 10808782"/>
              <a:gd name="connsiteX1117" fmla="*/ 14603952 w 25004707"/>
              <a:gd name="connsiteY1117" fmla="*/ 2865118 h 10808782"/>
              <a:gd name="connsiteX1118" fmla="*/ 14635795 w 25004707"/>
              <a:gd name="connsiteY1118" fmla="*/ 2380244 h 10808782"/>
              <a:gd name="connsiteX1119" fmla="*/ 13382917 w 25004707"/>
              <a:gd name="connsiteY1119" fmla="*/ 1811140 h 10808782"/>
              <a:gd name="connsiteX1120" fmla="*/ 13414713 w 25004707"/>
              <a:gd name="connsiteY1120" fmla="*/ 1326681 h 10808782"/>
              <a:gd name="connsiteX1121" fmla="*/ 13382917 w 25004707"/>
              <a:gd name="connsiteY1121" fmla="*/ 1811140 h 10808782"/>
              <a:gd name="connsiteX1122" fmla="*/ 14667607 w 25004707"/>
              <a:gd name="connsiteY1122" fmla="*/ 1895339 h 10808782"/>
              <a:gd name="connsiteX1123" fmla="*/ 13287451 w 25004707"/>
              <a:gd name="connsiteY1123" fmla="*/ 3265336 h 10808782"/>
              <a:gd name="connsiteX1124" fmla="*/ 13255607 w 25004707"/>
              <a:gd name="connsiteY1124" fmla="*/ 3750241 h 10808782"/>
              <a:gd name="connsiteX1125" fmla="*/ 11971436 w 25004707"/>
              <a:gd name="connsiteY1125" fmla="*/ 3666057 h 10808782"/>
              <a:gd name="connsiteX1126" fmla="*/ 13140585 w 25004707"/>
              <a:gd name="connsiteY1126" fmla="*/ 4177934 h 10808782"/>
              <a:gd name="connsiteX1127" fmla="*/ 13239622 w 25004707"/>
              <a:gd name="connsiteY1127" fmla="*/ 3992450 h 10808782"/>
              <a:gd name="connsiteX1128" fmla="*/ 13255529 w 25004707"/>
              <a:gd name="connsiteY1128" fmla="*/ 3750241 h 10808782"/>
              <a:gd name="connsiteX1129" fmla="*/ 14206023 w 25004707"/>
              <a:gd name="connsiteY1129" fmla="*/ 3811147 h 10808782"/>
              <a:gd name="connsiteX1130" fmla="*/ 14533910 w 25004707"/>
              <a:gd name="connsiteY1130" fmla="*/ 3825576 h 10808782"/>
              <a:gd name="connsiteX1131" fmla="*/ 14311810 w 25004707"/>
              <a:gd name="connsiteY1131" fmla="*/ 4099440 h 10808782"/>
              <a:gd name="connsiteX1132" fmla="*/ 12544864 w 25004707"/>
              <a:gd name="connsiteY1132" fmla="*/ 7795774 h 10808782"/>
              <a:gd name="connsiteX1133" fmla="*/ 12879217 w 25004707"/>
              <a:gd name="connsiteY1133" fmla="*/ 8157877 h 10808782"/>
              <a:gd name="connsiteX1134" fmla="*/ 14029580 w 25004707"/>
              <a:gd name="connsiteY1134" fmla="*/ 8388549 h 10808782"/>
              <a:gd name="connsiteX1135" fmla="*/ 12545383 w 25004707"/>
              <a:gd name="connsiteY1135" fmla="*/ 7795805 h 10808782"/>
              <a:gd name="connsiteX1136" fmla="*/ 12088126 w 25004707"/>
              <a:gd name="connsiteY1136" fmla="*/ 7357425 h 10808782"/>
              <a:gd name="connsiteX1137" fmla="*/ 12088126 w 25004707"/>
              <a:gd name="connsiteY1137" fmla="*/ 7357425 h 10808782"/>
              <a:gd name="connsiteX1138" fmla="*/ 11661799 w 25004707"/>
              <a:gd name="connsiteY1138" fmla="*/ 6773325 h 10808782"/>
              <a:gd name="connsiteX1139" fmla="*/ 12088126 w 25004707"/>
              <a:gd name="connsiteY1139" fmla="*/ 7357425 h 10808782"/>
              <a:gd name="connsiteX1140" fmla="*/ 13070307 w 25004707"/>
              <a:gd name="connsiteY1140" fmla="*/ 7739410 h 10808782"/>
              <a:gd name="connsiteX1141" fmla="*/ 12873584 w 25004707"/>
              <a:gd name="connsiteY1141" fmla="*/ 9566240 h 10808782"/>
              <a:gd name="connsiteX1142" fmla="*/ 12905396 w 25004707"/>
              <a:gd name="connsiteY1142" fmla="*/ 9081806 h 10808782"/>
              <a:gd name="connsiteX1143" fmla="*/ 12873584 w 25004707"/>
              <a:gd name="connsiteY1143" fmla="*/ 9566240 h 10808782"/>
              <a:gd name="connsiteX1144" fmla="*/ 14158290 w 25004707"/>
              <a:gd name="connsiteY1144" fmla="*/ 9650455 h 10808782"/>
              <a:gd name="connsiteX1145" fmla="*/ 12873631 w 25004707"/>
              <a:gd name="connsiteY1145" fmla="*/ 9566240 h 10808782"/>
              <a:gd name="connsiteX1146" fmla="*/ 12841773 w 25004707"/>
              <a:gd name="connsiteY1146" fmla="*/ 10051145 h 10808782"/>
              <a:gd name="connsiteX1147" fmla="*/ 11557601 w 25004707"/>
              <a:gd name="connsiteY1147" fmla="*/ 9966962 h 10808782"/>
              <a:gd name="connsiteX1148" fmla="*/ 13446556 w 25004707"/>
              <a:gd name="connsiteY1148" fmla="*/ 841781 h 10808782"/>
              <a:gd name="connsiteX1149" fmla="*/ 13414713 w 25004707"/>
              <a:gd name="connsiteY1149" fmla="*/ 1326681 h 10808782"/>
              <a:gd name="connsiteX1150" fmla="*/ 14190133 w 25004707"/>
              <a:gd name="connsiteY1150" fmla="*/ 9166037 h 10808782"/>
              <a:gd name="connsiteX1151" fmla="*/ 14206039 w 25004707"/>
              <a:gd name="connsiteY1151" fmla="*/ 8923813 h 10808782"/>
              <a:gd name="connsiteX1152" fmla="*/ 14214503 w 25004707"/>
              <a:gd name="connsiteY1152" fmla="*/ 8689589 h 10808782"/>
              <a:gd name="connsiteX1153" fmla="*/ 14190133 w 25004707"/>
              <a:gd name="connsiteY1153" fmla="*/ 9166037 h 10808782"/>
              <a:gd name="connsiteX1154" fmla="*/ 14158290 w 25004707"/>
              <a:gd name="connsiteY1154" fmla="*/ 9650455 h 10808782"/>
              <a:gd name="connsiteX1155" fmla="*/ 14190133 w 25004707"/>
              <a:gd name="connsiteY1155" fmla="*/ 9166037 h 10808782"/>
              <a:gd name="connsiteX1156" fmla="*/ 15474273 w 25004707"/>
              <a:gd name="connsiteY1156" fmla="*/ 9250206 h 10808782"/>
              <a:gd name="connsiteX1157" fmla="*/ 14603889 w 25004707"/>
              <a:gd name="connsiteY1157" fmla="*/ 2865133 h 10808782"/>
              <a:gd name="connsiteX1158" fmla="*/ 14572062 w 25004707"/>
              <a:gd name="connsiteY1158" fmla="*/ 3349567 h 10808782"/>
              <a:gd name="connsiteX1159" fmla="*/ 14572062 w 25004707"/>
              <a:gd name="connsiteY1159" fmla="*/ 3349567 h 10808782"/>
              <a:gd name="connsiteX1160" fmla="*/ 13287355 w 25004707"/>
              <a:gd name="connsiteY1160" fmla="*/ 3265352 h 10808782"/>
              <a:gd name="connsiteX1161" fmla="*/ 14572062 w 25004707"/>
              <a:gd name="connsiteY1161" fmla="*/ 3349567 h 10808782"/>
              <a:gd name="connsiteX1162" fmla="*/ 15856264 w 25004707"/>
              <a:gd name="connsiteY1162" fmla="*/ 3433766 h 10808782"/>
              <a:gd name="connsiteX1163" fmla="*/ 14731277 w 25004707"/>
              <a:gd name="connsiteY1163" fmla="*/ 925990 h 10808782"/>
              <a:gd name="connsiteX1164" fmla="*/ 14699434 w 25004707"/>
              <a:gd name="connsiteY1164" fmla="*/ 1410890 h 10808782"/>
              <a:gd name="connsiteX1165" fmla="*/ 14699434 w 25004707"/>
              <a:gd name="connsiteY1165" fmla="*/ 1410890 h 10808782"/>
              <a:gd name="connsiteX1166" fmla="*/ 14667607 w 25004707"/>
              <a:gd name="connsiteY1166" fmla="*/ 1895339 h 10808782"/>
              <a:gd name="connsiteX1167" fmla="*/ 14699434 w 25004707"/>
              <a:gd name="connsiteY1167" fmla="*/ 1410890 h 10808782"/>
              <a:gd name="connsiteX1168" fmla="*/ 15983542 w 25004707"/>
              <a:gd name="connsiteY1168" fmla="*/ 1495075 h 10808782"/>
              <a:gd name="connsiteX1169" fmla="*/ 14699434 w 25004707"/>
              <a:gd name="connsiteY1169" fmla="*/ 1410890 h 10808782"/>
              <a:gd name="connsiteX1170" fmla="*/ 13414728 w 25004707"/>
              <a:gd name="connsiteY1170" fmla="*/ 1326676 h 10808782"/>
              <a:gd name="connsiteX1171" fmla="*/ 14029580 w 25004707"/>
              <a:gd name="connsiteY1171" fmla="*/ 8388549 h 10808782"/>
              <a:gd name="connsiteX1172" fmla="*/ 13647070 w 25004707"/>
              <a:gd name="connsiteY1172" fmla="*/ 8118803 h 10808782"/>
              <a:gd name="connsiteX1173" fmla="*/ 14029580 w 25004707"/>
              <a:gd name="connsiteY1173" fmla="*/ 8388549 h 10808782"/>
              <a:gd name="connsiteX1174" fmla="*/ 15397386 w 25004707"/>
              <a:gd name="connsiteY1174" fmla="*/ 8603361 h 10808782"/>
              <a:gd name="connsiteX1175" fmla="*/ 14126447 w 25004707"/>
              <a:gd name="connsiteY1175" fmla="*/ 10135345 h 10808782"/>
              <a:gd name="connsiteX1176" fmla="*/ 14158290 w 25004707"/>
              <a:gd name="connsiteY1176" fmla="*/ 9650455 h 10808782"/>
              <a:gd name="connsiteX1177" fmla="*/ 14126447 w 25004707"/>
              <a:gd name="connsiteY1177" fmla="*/ 10135345 h 10808782"/>
              <a:gd name="connsiteX1178" fmla="*/ 15410602 w 25004707"/>
              <a:gd name="connsiteY1178" fmla="*/ 10219528 h 10808782"/>
              <a:gd name="connsiteX1179" fmla="*/ 14126447 w 25004707"/>
              <a:gd name="connsiteY1179" fmla="*/ 10135345 h 10808782"/>
              <a:gd name="connsiteX1180" fmla="*/ 12841741 w 25004707"/>
              <a:gd name="connsiteY1180" fmla="*/ 10051145 h 10808782"/>
              <a:gd name="connsiteX1181" fmla="*/ 14158290 w 25004707"/>
              <a:gd name="connsiteY1181" fmla="*/ 9650455 h 10808782"/>
              <a:gd name="connsiteX1182" fmla="*/ 15442445 w 25004707"/>
              <a:gd name="connsiteY1182" fmla="*/ 9734623 h 10808782"/>
              <a:gd name="connsiteX1183" fmla="*/ 14667607 w 25004707"/>
              <a:gd name="connsiteY1183" fmla="*/ 1895339 h 10808782"/>
              <a:gd name="connsiteX1184" fmla="*/ 15951762 w 25004707"/>
              <a:gd name="connsiteY1184" fmla="*/ 1979523 h 10808782"/>
              <a:gd name="connsiteX1185" fmla="*/ 14667638 w 25004707"/>
              <a:gd name="connsiteY1185" fmla="*/ 1895339 h 10808782"/>
              <a:gd name="connsiteX1186" fmla="*/ 14635795 w 25004707"/>
              <a:gd name="connsiteY1186" fmla="*/ 2380244 h 10808782"/>
              <a:gd name="connsiteX1187" fmla="*/ 14635795 w 25004707"/>
              <a:gd name="connsiteY1187" fmla="*/ 2380244 h 10808782"/>
              <a:gd name="connsiteX1188" fmla="*/ 13351089 w 25004707"/>
              <a:gd name="connsiteY1188" fmla="*/ 2296029 h 10808782"/>
              <a:gd name="connsiteX1189" fmla="*/ 14030052 w 25004707"/>
              <a:gd name="connsiteY1189" fmla="*/ 8388596 h 10808782"/>
              <a:gd name="connsiteX1190" fmla="*/ 14214425 w 25004707"/>
              <a:gd name="connsiteY1190" fmla="*/ 8689101 h 10808782"/>
              <a:gd name="connsiteX1191" fmla="*/ 12937176 w 25004707"/>
              <a:gd name="connsiteY1191" fmla="*/ 8596886 h 10808782"/>
              <a:gd name="connsiteX1192" fmla="*/ 14572109 w 25004707"/>
              <a:gd name="connsiteY1192" fmla="*/ 3349551 h 10808782"/>
              <a:gd name="connsiteX1193" fmla="*/ 14556188 w 25004707"/>
              <a:gd name="connsiteY1193" fmla="*/ 3591776 h 10808782"/>
              <a:gd name="connsiteX1194" fmla="*/ 14533957 w 25004707"/>
              <a:gd name="connsiteY1194" fmla="*/ 3825104 h 10808782"/>
              <a:gd name="connsiteX1195" fmla="*/ 15812999 w 25004707"/>
              <a:gd name="connsiteY1195" fmla="*/ 3865656 h 10808782"/>
              <a:gd name="connsiteX1196" fmla="*/ 15695947 w 25004707"/>
              <a:gd name="connsiteY1196" fmla="*/ 4065002 h 10808782"/>
              <a:gd name="connsiteX1197" fmla="*/ 14311842 w 25004707"/>
              <a:gd name="connsiteY1197" fmla="*/ 4099440 h 10808782"/>
              <a:gd name="connsiteX1198" fmla="*/ 11994799 w 25004707"/>
              <a:gd name="connsiteY1198" fmla="*/ 6101616 h 10808782"/>
              <a:gd name="connsiteX1199" fmla="*/ 12359705 w 25004707"/>
              <a:gd name="connsiteY1199" fmla="*/ 7093871 h 10808782"/>
              <a:gd name="connsiteX1200" fmla="*/ 13070307 w 25004707"/>
              <a:gd name="connsiteY1200" fmla="*/ 7739882 h 10808782"/>
              <a:gd name="connsiteX1201" fmla="*/ 12486354 w 25004707"/>
              <a:gd name="connsiteY1201" fmla="*/ 5165033 h 10808782"/>
              <a:gd name="connsiteX1202" fmla="*/ 13275368 w 25004707"/>
              <a:gd name="connsiteY1202" fmla="*/ 4617305 h 10808782"/>
              <a:gd name="connsiteX1203" fmla="*/ 12486354 w 25004707"/>
              <a:gd name="connsiteY1203" fmla="*/ 5165033 h 10808782"/>
              <a:gd name="connsiteX1204" fmla="*/ 11752027 w 25004707"/>
              <a:gd name="connsiteY1204" fmla="*/ 5391210 h 10808782"/>
              <a:gd name="connsiteX1205" fmla="*/ 13275368 w 25004707"/>
              <a:gd name="connsiteY1205" fmla="*/ 4617305 h 10808782"/>
              <a:gd name="connsiteX1206" fmla="*/ 13897330 w 25004707"/>
              <a:gd name="connsiteY1206" fmla="*/ 4316485 h 10808782"/>
              <a:gd name="connsiteX1207" fmla="*/ 13275368 w 25004707"/>
              <a:gd name="connsiteY1207" fmla="*/ 4617305 h 10808782"/>
              <a:gd name="connsiteX1208" fmla="*/ 15121623 w 25004707"/>
              <a:gd name="connsiteY1208" fmla="*/ 4395796 h 10808782"/>
              <a:gd name="connsiteX1209" fmla="*/ 11995302 w 25004707"/>
              <a:gd name="connsiteY1209" fmla="*/ 6101176 h 10808782"/>
              <a:gd name="connsiteX1210" fmla="*/ 12486872 w 25004707"/>
              <a:gd name="connsiteY1210" fmla="*/ 5165065 h 10808782"/>
              <a:gd name="connsiteX1211" fmla="*/ 11995302 w 25004707"/>
              <a:gd name="connsiteY1211" fmla="*/ 6101176 h 10808782"/>
              <a:gd name="connsiteX1212" fmla="*/ 13443441 w 25004707"/>
              <a:gd name="connsiteY1212" fmla="*/ 6196111 h 10808782"/>
              <a:gd name="connsiteX1213" fmla="*/ 14385691 w 25004707"/>
              <a:gd name="connsiteY1213" fmla="*/ 4808195 h 10808782"/>
              <a:gd name="connsiteX1214" fmla="*/ 15121623 w 25004707"/>
              <a:gd name="connsiteY1214" fmla="*/ 4395796 h 10808782"/>
              <a:gd name="connsiteX1215" fmla="*/ 13897330 w 25004707"/>
              <a:gd name="connsiteY1215" fmla="*/ 4316485 h 10808782"/>
              <a:gd name="connsiteX1216" fmla="*/ 14311857 w 25004707"/>
              <a:gd name="connsiteY1216" fmla="*/ 4098984 h 10808782"/>
              <a:gd name="connsiteX1217" fmla="*/ 13897330 w 25004707"/>
              <a:gd name="connsiteY1217" fmla="*/ 4316485 h 10808782"/>
              <a:gd name="connsiteX1218" fmla="*/ 12762306 w 25004707"/>
              <a:gd name="connsiteY1218" fmla="*/ 4492884 h 10808782"/>
              <a:gd name="connsiteX1219" fmla="*/ 11840209 w 25004707"/>
              <a:gd name="connsiteY1219" fmla="*/ 4608409 h 10808782"/>
              <a:gd name="connsiteX1220" fmla="*/ 13647557 w 25004707"/>
              <a:gd name="connsiteY1220" fmla="*/ 8119305 h 10808782"/>
              <a:gd name="connsiteX1221" fmla="*/ 13070260 w 25004707"/>
              <a:gd name="connsiteY1221" fmla="*/ 7739866 h 10808782"/>
              <a:gd name="connsiteX1222" fmla="*/ 15121623 w 25004707"/>
              <a:gd name="connsiteY1222" fmla="*/ 4395796 h 10808782"/>
              <a:gd name="connsiteX1223" fmla="*/ 15490320 w 25004707"/>
              <a:gd name="connsiteY1223" fmla="*/ 4210579 h 10808782"/>
              <a:gd name="connsiteX1224" fmla="*/ 15121623 w 25004707"/>
              <a:gd name="connsiteY1224" fmla="*/ 4395796 h 10808782"/>
              <a:gd name="connsiteX1225" fmla="*/ 17654676 w 25004707"/>
              <a:gd name="connsiteY1225" fmla="*/ 4542536 h 10808782"/>
              <a:gd name="connsiteX1226" fmla="*/ 15489786 w 25004707"/>
              <a:gd name="connsiteY1226" fmla="*/ 4210564 h 10808782"/>
              <a:gd name="connsiteX1227" fmla="*/ 15695475 w 25004707"/>
              <a:gd name="connsiteY1227" fmla="*/ 4065002 h 10808782"/>
              <a:gd name="connsiteX1228" fmla="*/ 14871157 w 25004707"/>
              <a:gd name="connsiteY1228" fmla="*/ 8200471 h 10808782"/>
              <a:gd name="connsiteX1229" fmla="*/ 15212479 w 25004707"/>
              <a:gd name="connsiteY1229" fmla="*/ 8432228 h 10808782"/>
              <a:gd name="connsiteX1230" fmla="*/ 17080274 w 25004707"/>
              <a:gd name="connsiteY1230" fmla="*/ 8565010 h 10808782"/>
              <a:gd name="connsiteX1231" fmla="*/ 14196065 w 25004707"/>
              <a:gd name="connsiteY1231" fmla="*/ 7695574 h 10808782"/>
              <a:gd name="connsiteX1232" fmla="*/ 13443425 w 25004707"/>
              <a:gd name="connsiteY1232" fmla="*/ 6196566 h 10808782"/>
              <a:gd name="connsiteX1233" fmla="*/ 14196065 w 25004707"/>
              <a:gd name="connsiteY1233" fmla="*/ 7695574 h 10808782"/>
              <a:gd name="connsiteX1234" fmla="*/ 12359657 w 25004707"/>
              <a:gd name="connsiteY1234" fmla="*/ 7093855 h 10808782"/>
              <a:gd name="connsiteX1235" fmla="*/ 14196065 w 25004707"/>
              <a:gd name="connsiteY1235" fmla="*/ 7695574 h 10808782"/>
              <a:gd name="connsiteX1236" fmla="*/ 18066716 w 25004707"/>
              <a:gd name="connsiteY1236" fmla="*/ 7989289 h 10808782"/>
              <a:gd name="connsiteX1237" fmla="*/ 14196048 w 25004707"/>
              <a:gd name="connsiteY1237" fmla="*/ 7695558 h 10808782"/>
              <a:gd name="connsiteX1238" fmla="*/ 14871692 w 25004707"/>
              <a:gd name="connsiteY1238" fmla="*/ 8200488 h 10808782"/>
              <a:gd name="connsiteX1239" fmla="*/ 13070244 w 25004707"/>
              <a:gd name="connsiteY1239" fmla="*/ 7739850 h 10808782"/>
              <a:gd name="connsiteX1240" fmla="*/ 15397921 w 25004707"/>
              <a:gd name="connsiteY1240" fmla="*/ 8603409 h 10808782"/>
              <a:gd name="connsiteX1241" fmla="*/ 15213046 w 25004707"/>
              <a:gd name="connsiteY1241" fmla="*/ 8432244 h 10808782"/>
              <a:gd name="connsiteX1242" fmla="*/ 15397921 w 25004707"/>
              <a:gd name="connsiteY1242" fmla="*/ 8603409 h 10808782"/>
              <a:gd name="connsiteX1243" fmla="*/ 15487834 w 25004707"/>
              <a:gd name="connsiteY1243" fmla="*/ 8816336 h 10808782"/>
              <a:gd name="connsiteX1244" fmla="*/ 14214487 w 25004707"/>
              <a:gd name="connsiteY1244" fmla="*/ 8689086 h 10808782"/>
              <a:gd name="connsiteX1245" fmla="*/ 15397921 w 25004707"/>
              <a:gd name="connsiteY1245" fmla="*/ 8603409 h 10808782"/>
              <a:gd name="connsiteX1246" fmla="*/ 16902492 w 25004707"/>
              <a:gd name="connsiteY1246" fmla="*/ 8707695 h 10808782"/>
              <a:gd name="connsiteX1247" fmla="*/ 15410602 w 25004707"/>
              <a:gd name="connsiteY1247" fmla="*/ 10219528 h 10808782"/>
              <a:gd name="connsiteX1248" fmla="*/ 15442445 w 25004707"/>
              <a:gd name="connsiteY1248" fmla="*/ 9734623 h 10808782"/>
              <a:gd name="connsiteX1249" fmla="*/ 15442445 w 25004707"/>
              <a:gd name="connsiteY1249" fmla="*/ 9734623 h 10808782"/>
              <a:gd name="connsiteX1250" fmla="*/ 15474273 w 25004707"/>
              <a:gd name="connsiteY1250" fmla="*/ 9250206 h 10808782"/>
              <a:gd name="connsiteX1251" fmla="*/ 15474273 w 25004707"/>
              <a:gd name="connsiteY1251" fmla="*/ 9250206 h 10808782"/>
              <a:gd name="connsiteX1252" fmla="*/ 15487866 w 25004707"/>
              <a:gd name="connsiteY1252" fmla="*/ 8816336 h 10808782"/>
              <a:gd name="connsiteX1253" fmla="*/ 15888044 w 25004707"/>
              <a:gd name="connsiteY1253" fmla="*/ 2949333 h 10808782"/>
              <a:gd name="connsiteX1254" fmla="*/ 15856264 w 25004707"/>
              <a:gd name="connsiteY1254" fmla="*/ 3433766 h 10808782"/>
              <a:gd name="connsiteX1255" fmla="*/ 15856264 w 25004707"/>
              <a:gd name="connsiteY1255" fmla="*/ 3433766 h 10808782"/>
              <a:gd name="connsiteX1256" fmla="*/ 15812999 w 25004707"/>
              <a:gd name="connsiteY1256" fmla="*/ 3865671 h 10808782"/>
              <a:gd name="connsiteX1257" fmla="*/ 17124954 w 25004707"/>
              <a:gd name="connsiteY1257" fmla="*/ 3949352 h 10808782"/>
              <a:gd name="connsiteX1258" fmla="*/ 15919982 w 25004707"/>
              <a:gd name="connsiteY1258" fmla="*/ 2464396 h 10808782"/>
              <a:gd name="connsiteX1259" fmla="*/ 15888044 w 25004707"/>
              <a:gd name="connsiteY1259" fmla="*/ 2949301 h 10808782"/>
              <a:gd name="connsiteX1260" fmla="*/ 14603921 w 25004707"/>
              <a:gd name="connsiteY1260" fmla="*/ 2865118 h 10808782"/>
              <a:gd name="connsiteX1261" fmla="*/ 15919982 w 25004707"/>
              <a:gd name="connsiteY1261" fmla="*/ 2464396 h 10808782"/>
              <a:gd name="connsiteX1262" fmla="*/ 15951762 w 25004707"/>
              <a:gd name="connsiteY1262" fmla="*/ 1979523 h 10808782"/>
              <a:gd name="connsiteX1263" fmla="*/ 15919982 w 25004707"/>
              <a:gd name="connsiteY1263" fmla="*/ 2464396 h 10808782"/>
              <a:gd name="connsiteX1264" fmla="*/ 14635747 w 25004707"/>
              <a:gd name="connsiteY1264" fmla="*/ 2380244 h 10808782"/>
              <a:gd name="connsiteX1265" fmla="*/ 16015479 w 25004707"/>
              <a:gd name="connsiteY1265" fmla="*/ 1010175 h 10808782"/>
              <a:gd name="connsiteX1266" fmla="*/ 15983542 w 25004707"/>
              <a:gd name="connsiteY1266" fmla="*/ 1495075 h 10808782"/>
              <a:gd name="connsiteX1267" fmla="*/ 15951762 w 25004707"/>
              <a:gd name="connsiteY1267" fmla="*/ 1979523 h 10808782"/>
              <a:gd name="connsiteX1268" fmla="*/ 15983542 w 25004707"/>
              <a:gd name="connsiteY1268" fmla="*/ 1495086 h 10808782"/>
              <a:gd name="connsiteX1269" fmla="*/ 24431722 w 25004707"/>
              <a:gd name="connsiteY1269" fmla="*/ 10323878 h 10808782"/>
              <a:gd name="connsiteX1270" fmla="*/ 24442890 w 25004707"/>
              <a:gd name="connsiteY1270" fmla="*/ 10324617 h 10808782"/>
              <a:gd name="connsiteX1271" fmla="*/ 24474672 w 25004707"/>
              <a:gd name="connsiteY1271" fmla="*/ 9840199 h 10808782"/>
              <a:gd name="connsiteX1272" fmla="*/ 24463658 w 25004707"/>
              <a:gd name="connsiteY1272" fmla="*/ 9839460 h 10808782"/>
              <a:gd name="connsiteX1273" fmla="*/ 11684880 w 25004707"/>
              <a:gd name="connsiteY1273" fmla="*/ 8028300 h 10808782"/>
              <a:gd name="connsiteX1274" fmla="*/ 12879185 w 25004707"/>
              <a:gd name="connsiteY1274" fmla="*/ 8158364 h 10808782"/>
              <a:gd name="connsiteX1275" fmla="*/ 20674580 w 25004707"/>
              <a:gd name="connsiteY1275" fmla="*/ 8617586 h 10808782"/>
              <a:gd name="connsiteX1276" fmla="*/ 20341988 w 25004707"/>
              <a:gd name="connsiteY1276" fmla="*/ 8595770 h 10808782"/>
              <a:gd name="connsiteX1277" fmla="*/ 19488328 w 25004707"/>
              <a:gd name="connsiteY1277" fmla="*/ 8602418 h 10808782"/>
              <a:gd name="connsiteX1278" fmla="*/ 11646271 w 25004707"/>
              <a:gd name="connsiteY1278" fmla="*/ 7561376 h 10808782"/>
              <a:gd name="connsiteX1279" fmla="*/ 12545352 w 25004707"/>
              <a:gd name="connsiteY1279" fmla="*/ 7796293 h 10808782"/>
              <a:gd name="connsiteX1280" fmla="*/ 10432568 w 25004707"/>
              <a:gd name="connsiteY1280" fmla="*/ 7459228 h 10808782"/>
              <a:gd name="connsiteX1281" fmla="*/ 11645783 w 25004707"/>
              <a:gd name="connsiteY1281" fmla="*/ 7560874 h 10808782"/>
              <a:gd name="connsiteX1282" fmla="*/ 19877714 w 25004707"/>
              <a:gd name="connsiteY1282" fmla="*/ 8295736 h 10808782"/>
              <a:gd name="connsiteX1283" fmla="*/ 18710818 w 25004707"/>
              <a:gd name="connsiteY1283" fmla="*/ 8471900 h 10808782"/>
              <a:gd name="connsiteX1284" fmla="*/ 12545414 w 25004707"/>
              <a:gd name="connsiteY1284" fmla="*/ 7795821 h 10808782"/>
              <a:gd name="connsiteX1285" fmla="*/ 13647621 w 25004707"/>
              <a:gd name="connsiteY1285" fmla="*/ 8118850 h 10808782"/>
              <a:gd name="connsiteX1286" fmla="*/ 18710188 w 25004707"/>
              <a:gd name="connsiteY1286" fmla="*/ 8471883 h 10808782"/>
              <a:gd name="connsiteX1287" fmla="*/ 17080274 w 25004707"/>
              <a:gd name="connsiteY1287" fmla="*/ 8564539 h 10808782"/>
              <a:gd name="connsiteX1288" fmla="*/ 20800442 w 25004707"/>
              <a:gd name="connsiteY1288" fmla="*/ 8170357 h 10808782"/>
              <a:gd name="connsiteX1289" fmla="*/ 19877714 w 25004707"/>
              <a:gd name="connsiteY1289" fmla="*/ 8295264 h 10808782"/>
              <a:gd name="connsiteX1290" fmla="*/ 13647557 w 25004707"/>
              <a:gd name="connsiteY1290" fmla="*/ 8119337 h 10808782"/>
              <a:gd name="connsiteX1291" fmla="*/ 15213031 w 25004707"/>
              <a:gd name="connsiteY1291" fmla="*/ 8432275 h 10808782"/>
              <a:gd name="connsiteX1292" fmla="*/ 24570168 w 25004707"/>
              <a:gd name="connsiteY1292" fmla="*/ 8385956 h 10808782"/>
              <a:gd name="connsiteX1293" fmla="*/ 24558998 w 25004707"/>
              <a:gd name="connsiteY1293" fmla="*/ 8385217 h 10808782"/>
              <a:gd name="connsiteX1294" fmla="*/ 11191453 w 25004707"/>
              <a:gd name="connsiteY1294" fmla="*/ 6598058 h 10808782"/>
              <a:gd name="connsiteX1295" fmla="*/ 11661705 w 25004707"/>
              <a:gd name="connsiteY1295" fmla="*/ 6773325 h 10808782"/>
              <a:gd name="connsiteX1296" fmla="*/ 11661752 w 25004707"/>
              <a:gd name="connsiteY1296" fmla="*/ 6773797 h 10808782"/>
              <a:gd name="connsiteX1297" fmla="*/ 12360192 w 25004707"/>
              <a:gd name="connsiteY1297" fmla="*/ 7093886 h 10808782"/>
              <a:gd name="connsiteX1298" fmla="*/ 21415434 w 25004707"/>
              <a:gd name="connsiteY1298" fmla="*/ 7277170 h 10808782"/>
              <a:gd name="connsiteX1299" fmla="*/ 20922056 w 25004707"/>
              <a:gd name="connsiteY1299" fmla="*/ 7397268 h 10808782"/>
              <a:gd name="connsiteX1300" fmla="*/ 20922686 w 25004707"/>
              <a:gd name="connsiteY1300" fmla="*/ 7397316 h 10808782"/>
              <a:gd name="connsiteX1301" fmla="*/ 20142814 w 25004707"/>
              <a:gd name="connsiteY1301" fmla="*/ 7635564 h 10808782"/>
              <a:gd name="connsiteX1302" fmla="*/ 24622718 w 25004707"/>
              <a:gd name="connsiteY1302" fmla="*/ 7415894 h 10808782"/>
              <a:gd name="connsiteX1303" fmla="*/ 24633886 w 25004707"/>
              <a:gd name="connsiteY1303" fmla="*/ 7416633 h 10808782"/>
              <a:gd name="connsiteX1304" fmla="*/ 20142814 w 25004707"/>
              <a:gd name="connsiteY1304" fmla="*/ 7635108 h 10808782"/>
              <a:gd name="connsiteX1305" fmla="*/ 18066244 w 25004707"/>
              <a:gd name="connsiteY1305" fmla="*/ 7988802 h 10808782"/>
              <a:gd name="connsiteX1306" fmla="*/ 24665668 w 25004707"/>
              <a:gd name="connsiteY1306" fmla="*/ 6931728 h 10808782"/>
              <a:gd name="connsiteX1307" fmla="*/ 24654654 w 25004707"/>
              <a:gd name="connsiteY1307" fmla="*/ 6931005 h 10808782"/>
              <a:gd name="connsiteX1308" fmla="*/ 18998254 w 25004707"/>
              <a:gd name="connsiteY1308" fmla="*/ 6560194 h 10808782"/>
              <a:gd name="connsiteX1309" fmla="*/ 13443409 w 25004707"/>
              <a:gd name="connsiteY1309" fmla="*/ 6196079 h 10808782"/>
              <a:gd name="connsiteX1310" fmla="*/ 9275737 w 25004707"/>
              <a:gd name="connsiteY1310" fmla="*/ 5436398 h 10808782"/>
              <a:gd name="connsiteX1311" fmla="*/ 10227192 w 25004707"/>
              <a:gd name="connsiteY1311" fmla="*/ 5498766 h 10808782"/>
              <a:gd name="connsiteX1312" fmla="*/ 10555661 w 25004707"/>
              <a:gd name="connsiteY1312" fmla="*/ 5520299 h 10808782"/>
              <a:gd name="connsiteX1313" fmla="*/ 10555676 w 25004707"/>
              <a:gd name="connsiteY1313" fmla="*/ 5519796 h 10808782"/>
              <a:gd name="connsiteX1314" fmla="*/ 11263383 w 25004707"/>
              <a:gd name="connsiteY1314" fmla="*/ 5504063 h 10808782"/>
              <a:gd name="connsiteX1315" fmla="*/ 24761164 w 25004707"/>
              <a:gd name="connsiteY1315" fmla="*/ 5477971 h 10808782"/>
              <a:gd name="connsiteX1316" fmla="*/ 24749994 w 25004707"/>
              <a:gd name="connsiteY1316" fmla="*/ 5477249 h 10808782"/>
              <a:gd name="connsiteX1317" fmla="*/ 15489769 w 25004707"/>
              <a:gd name="connsiteY1317" fmla="*/ 4210548 h 10808782"/>
              <a:gd name="connsiteX1318" fmla="*/ 13896795 w 25004707"/>
              <a:gd name="connsiteY1318" fmla="*/ 4316454 h 10808782"/>
              <a:gd name="connsiteX1319" fmla="*/ 11840225 w 25004707"/>
              <a:gd name="connsiteY1319" fmla="*/ 4608393 h 10808782"/>
              <a:gd name="connsiteX1320" fmla="*/ 11564650 w 25004707"/>
              <a:gd name="connsiteY1320" fmla="*/ 4609163 h 10808782"/>
              <a:gd name="connsiteX1321" fmla="*/ 10623579 w 25004707"/>
              <a:gd name="connsiteY1321" fmla="*/ 4550772 h 10808782"/>
              <a:gd name="connsiteX1322" fmla="*/ 17200786 w 25004707"/>
              <a:gd name="connsiteY1322" fmla="*/ 4157957 h 10808782"/>
              <a:gd name="connsiteX1323" fmla="*/ 15695475 w 25004707"/>
              <a:gd name="connsiteY1323" fmla="*/ 4064971 h 10808782"/>
              <a:gd name="connsiteX1324" fmla="*/ 24792944 w 25004707"/>
              <a:gd name="connsiteY1324" fmla="*/ 4993051 h 10808782"/>
              <a:gd name="connsiteX1325" fmla="*/ 24781932 w 25004707"/>
              <a:gd name="connsiteY1325" fmla="*/ 4992328 h 10808782"/>
              <a:gd name="connsiteX1326" fmla="*/ 14311291 w 25004707"/>
              <a:gd name="connsiteY1326" fmla="*/ 4099408 h 10808782"/>
              <a:gd name="connsiteX1327" fmla="*/ 13140600 w 25004707"/>
              <a:gd name="connsiteY1327" fmla="*/ 4177934 h 10808782"/>
              <a:gd name="connsiteX1328" fmla="*/ 5533323 w 25004707"/>
              <a:gd name="connsiteY1328" fmla="*/ 3742335 h 10808782"/>
              <a:gd name="connsiteX1329" fmla="*/ 5816937 w 25004707"/>
              <a:gd name="connsiteY1329" fmla="*/ 3749157 h 10808782"/>
              <a:gd name="connsiteX1330" fmla="*/ 6803413 w 25004707"/>
              <a:gd name="connsiteY1330" fmla="*/ 3813819 h 10808782"/>
              <a:gd name="connsiteX1331" fmla="*/ 17402166 w 25004707"/>
              <a:gd name="connsiteY1331" fmla="*/ 8385657 h 10808782"/>
              <a:gd name="connsiteX1332" fmla="*/ 14871708 w 25004707"/>
              <a:gd name="connsiteY1332" fmla="*/ 8200471 h 10808782"/>
              <a:gd name="connsiteX1333" fmla="*/ 21113996 w 25004707"/>
              <a:gd name="connsiteY1333" fmla="*/ 7756165 h 10808782"/>
              <a:gd name="connsiteX1334" fmla="*/ 20402560 w 25004707"/>
              <a:gd name="connsiteY1334" fmla="*/ 7924564 h 10808782"/>
              <a:gd name="connsiteX1335" fmla="*/ 24729384 w 25004707"/>
              <a:gd name="connsiteY1335" fmla="*/ 5962405 h 10808782"/>
              <a:gd name="connsiteX1336" fmla="*/ 24718214 w 25004707"/>
              <a:gd name="connsiteY1336" fmla="*/ 5961666 h 10808782"/>
              <a:gd name="connsiteX1337" fmla="*/ 12251605 w 25004707"/>
              <a:gd name="connsiteY1337" fmla="*/ 4868284 h 10808782"/>
              <a:gd name="connsiteX1338" fmla="*/ 11549373 w 25004707"/>
              <a:gd name="connsiteY1338" fmla="*/ 5027865 h 10808782"/>
              <a:gd name="connsiteX1339" fmla="*/ 4229596 w 25004707"/>
              <a:gd name="connsiteY1339" fmla="*/ 3720409 h 10808782"/>
              <a:gd name="connsiteX1340" fmla="*/ 5592446 w 25004707"/>
              <a:gd name="connsiteY1340" fmla="*/ 3263937 h 10808782"/>
              <a:gd name="connsiteX1341" fmla="*/ 1697927 w 25004707"/>
              <a:gd name="connsiteY1341" fmla="*/ 2992635 h 10808782"/>
              <a:gd name="connsiteX1342" fmla="*/ 2684403 w 25004707"/>
              <a:gd name="connsiteY1342" fmla="*/ 3057297 h 10808782"/>
              <a:gd name="connsiteX1343" fmla="*/ 2938046 w 25004707"/>
              <a:gd name="connsiteY1343" fmla="*/ 3090399 h 10808782"/>
              <a:gd name="connsiteX1344" fmla="*/ 24824882 w 25004707"/>
              <a:gd name="connsiteY1344" fmla="*/ 4508602 h 10808782"/>
              <a:gd name="connsiteX1345" fmla="*/ 24813712 w 25004707"/>
              <a:gd name="connsiteY1345" fmla="*/ 4507879 h 10808782"/>
              <a:gd name="connsiteX1346" fmla="*/ 24888442 w 25004707"/>
              <a:gd name="connsiteY1346" fmla="*/ 3539279 h 10808782"/>
              <a:gd name="connsiteX1347" fmla="*/ 24877430 w 25004707"/>
              <a:gd name="connsiteY1347" fmla="*/ 3538556 h 10808782"/>
              <a:gd name="connsiteX1348" fmla="*/ 24920380 w 25004707"/>
              <a:gd name="connsiteY1348" fmla="*/ 3054405 h 10808782"/>
              <a:gd name="connsiteX1349" fmla="*/ 24909210 w 25004707"/>
              <a:gd name="connsiteY1349" fmla="*/ 3053682 h 10808782"/>
              <a:gd name="connsiteX1350" fmla="*/ 24984098 w 25004707"/>
              <a:gd name="connsiteY1350" fmla="*/ 2085067 h 10808782"/>
              <a:gd name="connsiteX1351" fmla="*/ 24972926 w 25004707"/>
              <a:gd name="connsiteY1351" fmla="*/ 2084328 h 10808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</a:cxnLst>
            <a:rect l="l" t="t" r="r" b="b"/>
            <a:pathLst>
              <a:path w="25004707" h="10808782">
                <a:moveTo>
                  <a:pt x="24781932" y="4992328"/>
                </a:moveTo>
                <a:lnTo>
                  <a:pt x="24813712" y="4507894"/>
                </a:lnTo>
                <a:moveTo>
                  <a:pt x="24781932" y="4992328"/>
                </a:moveTo>
                <a:lnTo>
                  <a:pt x="24749994" y="5477249"/>
                </a:lnTo>
                <a:moveTo>
                  <a:pt x="24781932" y="4992328"/>
                </a:moveTo>
                <a:lnTo>
                  <a:pt x="23497668" y="4908160"/>
                </a:lnTo>
                <a:lnTo>
                  <a:pt x="23465886" y="5393065"/>
                </a:lnTo>
                <a:moveTo>
                  <a:pt x="24813712" y="4507894"/>
                </a:moveTo>
                <a:lnTo>
                  <a:pt x="24845492" y="4022989"/>
                </a:lnTo>
                <a:moveTo>
                  <a:pt x="24813712" y="4507894"/>
                </a:moveTo>
                <a:lnTo>
                  <a:pt x="23529446" y="4423711"/>
                </a:lnTo>
                <a:moveTo>
                  <a:pt x="24718214" y="5961666"/>
                </a:moveTo>
                <a:lnTo>
                  <a:pt x="24686276" y="6446571"/>
                </a:lnTo>
                <a:lnTo>
                  <a:pt x="23402168" y="6362388"/>
                </a:lnTo>
                <a:moveTo>
                  <a:pt x="24718214" y="5961666"/>
                </a:moveTo>
                <a:lnTo>
                  <a:pt x="24749994" y="5477249"/>
                </a:lnTo>
                <a:moveTo>
                  <a:pt x="24718214" y="5961666"/>
                </a:moveTo>
                <a:lnTo>
                  <a:pt x="23433948" y="5877498"/>
                </a:lnTo>
                <a:moveTo>
                  <a:pt x="24749994" y="5477249"/>
                </a:moveTo>
                <a:lnTo>
                  <a:pt x="23465886" y="5393065"/>
                </a:lnTo>
                <a:moveTo>
                  <a:pt x="24940990" y="2568777"/>
                </a:moveTo>
                <a:lnTo>
                  <a:pt x="24909210" y="3053682"/>
                </a:lnTo>
                <a:lnTo>
                  <a:pt x="23624944" y="2969499"/>
                </a:lnTo>
                <a:moveTo>
                  <a:pt x="24877430" y="3538571"/>
                </a:moveTo>
                <a:lnTo>
                  <a:pt x="24845492" y="4023005"/>
                </a:lnTo>
                <a:moveTo>
                  <a:pt x="24845492" y="4023005"/>
                </a:moveTo>
                <a:lnTo>
                  <a:pt x="24856664" y="4023744"/>
                </a:lnTo>
                <a:moveTo>
                  <a:pt x="24845492" y="4023005"/>
                </a:moveTo>
                <a:lnTo>
                  <a:pt x="23561384" y="3938837"/>
                </a:lnTo>
                <a:moveTo>
                  <a:pt x="24940990" y="2568777"/>
                </a:moveTo>
                <a:lnTo>
                  <a:pt x="23656882" y="2484594"/>
                </a:lnTo>
                <a:lnTo>
                  <a:pt x="23624944" y="2969499"/>
                </a:lnTo>
                <a:moveTo>
                  <a:pt x="24940990" y="2568777"/>
                </a:moveTo>
                <a:lnTo>
                  <a:pt x="24952160" y="2569500"/>
                </a:lnTo>
                <a:moveTo>
                  <a:pt x="24940990" y="2568777"/>
                </a:moveTo>
                <a:lnTo>
                  <a:pt x="25004708" y="1599423"/>
                </a:lnTo>
                <a:lnTo>
                  <a:pt x="5763304" y="338142"/>
                </a:lnTo>
                <a:cubicBezTo>
                  <a:pt x="5433766" y="316539"/>
                  <a:pt x="631905" y="1774"/>
                  <a:pt x="631905" y="1774"/>
                </a:cubicBezTo>
                <a:lnTo>
                  <a:pt x="604841" y="0"/>
                </a:lnTo>
                <a:lnTo>
                  <a:pt x="0" y="9209356"/>
                </a:lnTo>
                <a:lnTo>
                  <a:pt x="1284177" y="9293539"/>
                </a:lnTo>
                <a:moveTo>
                  <a:pt x="24909210" y="3053651"/>
                </a:moveTo>
                <a:lnTo>
                  <a:pt x="24877430" y="3538556"/>
                </a:lnTo>
                <a:lnTo>
                  <a:pt x="23593164" y="3454388"/>
                </a:lnTo>
                <a:moveTo>
                  <a:pt x="24590780" y="7900799"/>
                </a:moveTo>
                <a:lnTo>
                  <a:pt x="24622718" y="7415910"/>
                </a:lnTo>
                <a:moveTo>
                  <a:pt x="24590780" y="7900799"/>
                </a:moveTo>
                <a:lnTo>
                  <a:pt x="23306672" y="7816615"/>
                </a:lnTo>
                <a:lnTo>
                  <a:pt x="23274890" y="8301049"/>
                </a:lnTo>
                <a:lnTo>
                  <a:pt x="21990782" y="8216849"/>
                </a:lnTo>
                <a:cubicBezTo>
                  <a:pt x="21990782" y="8216849"/>
                  <a:pt x="21573078" y="8189485"/>
                  <a:pt x="21466882" y="8182522"/>
                </a:cubicBezTo>
                <a:cubicBezTo>
                  <a:pt x="21222396" y="8166490"/>
                  <a:pt x="20955724" y="8169257"/>
                  <a:pt x="20799970" y="8169870"/>
                </a:cubicBezTo>
                <a:moveTo>
                  <a:pt x="24590780" y="7900799"/>
                </a:moveTo>
                <a:lnTo>
                  <a:pt x="24601948" y="7901538"/>
                </a:lnTo>
                <a:moveTo>
                  <a:pt x="24622718" y="7415910"/>
                </a:moveTo>
                <a:lnTo>
                  <a:pt x="24654496" y="6931005"/>
                </a:lnTo>
                <a:moveTo>
                  <a:pt x="24622718" y="7415910"/>
                </a:moveTo>
                <a:lnTo>
                  <a:pt x="23338452" y="7331710"/>
                </a:lnTo>
                <a:moveTo>
                  <a:pt x="24558998" y="8385232"/>
                </a:moveTo>
                <a:lnTo>
                  <a:pt x="24527218" y="8870137"/>
                </a:lnTo>
                <a:lnTo>
                  <a:pt x="23242952" y="8785953"/>
                </a:lnTo>
                <a:moveTo>
                  <a:pt x="24558998" y="8385232"/>
                </a:moveTo>
                <a:lnTo>
                  <a:pt x="24590780" y="7900799"/>
                </a:lnTo>
                <a:moveTo>
                  <a:pt x="24558998" y="8385232"/>
                </a:moveTo>
                <a:lnTo>
                  <a:pt x="23274890" y="8301049"/>
                </a:lnTo>
                <a:lnTo>
                  <a:pt x="23242952" y="8785953"/>
                </a:lnTo>
                <a:moveTo>
                  <a:pt x="24654496" y="6931005"/>
                </a:moveTo>
                <a:lnTo>
                  <a:pt x="24686434" y="6446571"/>
                </a:lnTo>
                <a:lnTo>
                  <a:pt x="24697448" y="6447294"/>
                </a:lnTo>
                <a:moveTo>
                  <a:pt x="24654496" y="6931005"/>
                </a:moveTo>
                <a:lnTo>
                  <a:pt x="23370388" y="6846837"/>
                </a:lnTo>
                <a:moveTo>
                  <a:pt x="24463500" y="9839444"/>
                </a:moveTo>
                <a:lnTo>
                  <a:pt x="24431722" y="10323878"/>
                </a:lnTo>
                <a:lnTo>
                  <a:pt x="23147614" y="10239694"/>
                </a:lnTo>
                <a:moveTo>
                  <a:pt x="23338608" y="7331726"/>
                </a:moveTo>
                <a:lnTo>
                  <a:pt x="23306672" y="7816631"/>
                </a:lnTo>
                <a:lnTo>
                  <a:pt x="22022564" y="7732447"/>
                </a:lnTo>
                <a:moveTo>
                  <a:pt x="23242952" y="8785953"/>
                </a:moveTo>
                <a:lnTo>
                  <a:pt x="23211172" y="9270371"/>
                </a:lnTo>
                <a:moveTo>
                  <a:pt x="23242952" y="8785953"/>
                </a:moveTo>
                <a:lnTo>
                  <a:pt x="21958844" y="8701770"/>
                </a:lnTo>
                <a:moveTo>
                  <a:pt x="23433948" y="5877498"/>
                </a:moveTo>
                <a:lnTo>
                  <a:pt x="23465886" y="5393065"/>
                </a:lnTo>
                <a:moveTo>
                  <a:pt x="23433948" y="5877498"/>
                </a:moveTo>
                <a:lnTo>
                  <a:pt x="22149840" y="5793299"/>
                </a:lnTo>
                <a:cubicBezTo>
                  <a:pt x="22139300" y="5953996"/>
                  <a:pt x="22133164" y="6038761"/>
                  <a:pt x="22138828" y="6277685"/>
                </a:cubicBezTo>
                <a:moveTo>
                  <a:pt x="23465886" y="5393065"/>
                </a:moveTo>
                <a:lnTo>
                  <a:pt x="22181622" y="5308881"/>
                </a:lnTo>
                <a:moveTo>
                  <a:pt x="23115676" y="10724599"/>
                </a:moveTo>
                <a:lnTo>
                  <a:pt x="23147614" y="10239709"/>
                </a:lnTo>
                <a:moveTo>
                  <a:pt x="23115676" y="10724599"/>
                </a:moveTo>
                <a:lnTo>
                  <a:pt x="24399940" y="10808782"/>
                </a:lnTo>
                <a:lnTo>
                  <a:pt x="24431722" y="10323878"/>
                </a:lnTo>
                <a:moveTo>
                  <a:pt x="23115676" y="10724599"/>
                </a:moveTo>
                <a:lnTo>
                  <a:pt x="21831568" y="10640431"/>
                </a:lnTo>
                <a:moveTo>
                  <a:pt x="23147614" y="10239709"/>
                </a:moveTo>
                <a:lnTo>
                  <a:pt x="23179392" y="9755261"/>
                </a:lnTo>
                <a:moveTo>
                  <a:pt x="23147614" y="10239709"/>
                </a:moveTo>
                <a:lnTo>
                  <a:pt x="21863348" y="10155526"/>
                </a:lnTo>
                <a:moveTo>
                  <a:pt x="23720600" y="1515244"/>
                </a:moveTo>
                <a:lnTo>
                  <a:pt x="23688662" y="2000144"/>
                </a:lnTo>
                <a:moveTo>
                  <a:pt x="23688662" y="2000144"/>
                </a:moveTo>
                <a:lnTo>
                  <a:pt x="24972772" y="2084312"/>
                </a:lnTo>
                <a:moveTo>
                  <a:pt x="23688662" y="2000144"/>
                </a:moveTo>
                <a:lnTo>
                  <a:pt x="22404554" y="1915976"/>
                </a:lnTo>
                <a:moveTo>
                  <a:pt x="23179392" y="9755261"/>
                </a:moveTo>
                <a:lnTo>
                  <a:pt x="23211172" y="9270387"/>
                </a:lnTo>
                <a:moveTo>
                  <a:pt x="23179392" y="9755261"/>
                </a:moveTo>
                <a:lnTo>
                  <a:pt x="21895126" y="9671092"/>
                </a:lnTo>
                <a:lnTo>
                  <a:pt x="21863348" y="10155526"/>
                </a:lnTo>
                <a:moveTo>
                  <a:pt x="23179392" y="9755261"/>
                </a:moveTo>
                <a:lnTo>
                  <a:pt x="24463500" y="9839460"/>
                </a:lnTo>
                <a:lnTo>
                  <a:pt x="24495438" y="9354555"/>
                </a:lnTo>
                <a:lnTo>
                  <a:pt x="24506452" y="9355294"/>
                </a:lnTo>
                <a:moveTo>
                  <a:pt x="23593164" y="3454388"/>
                </a:moveTo>
                <a:lnTo>
                  <a:pt x="23625102" y="2969483"/>
                </a:lnTo>
                <a:moveTo>
                  <a:pt x="23593164" y="3454388"/>
                </a:moveTo>
                <a:lnTo>
                  <a:pt x="22309056" y="3370204"/>
                </a:lnTo>
                <a:moveTo>
                  <a:pt x="23624944" y="2969499"/>
                </a:moveTo>
                <a:lnTo>
                  <a:pt x="22340836" y="2885315"/>
                </a:lnTo>
                <a:moveTo>
                  <a:pt x="23593164" y="3454388"/>
                </a:moveTo>
                <a:lnTo>
                  <a:pt x="23561384" y="3938821"/>
                </a:lnTo>
                <a:lnTo>
                  <a:pt x="22277118" y="3854653"/>
                </a:lnTo>
                <a:moveTo>
                  <a:pt x="23434106" y="5877482"/>
                </a:moveTo>
                <a:lnTo>
                  <a:pt x="23402168" y="6362388"/>
                </a:lnTo>
                <a:lnTo>
                  <a:pt x="22450808" y="6300020"/>
                </a:lnTo>
                <a:cubicBezTo>
                  <a:pt x="22261858" y="6287634"/>
                  <a:pt x="22138828" y="6277685"/>
                  <a:pt x="22138828" y="6277685"/>
                </a:cubicBezTo>
                <a:moveTo>
                  <a:pt x="23370388" y="6846837"/>
                </a:moveTo>
                <a:lnTo>
                  <a:pt x="23402168" y="6362404"/>
                </a:lnTo>
                <a:moveTo>
                  <a:pt x="23370388" y="6846837"/>
                </a:moveTo>
                <a:lnTo>
                  <a:pt x="23338452" y="7331710"/>
                </a:lnTo>
                <a:moveTo>
                  <a:pt x="23370388" y="6846837"/>
                </a:moveTo>
                <a:lnTo>
                  <a:pt x="22133950" y="6765781"/>
                </a:lnTo>
                <a:moveTo>
                  <a:pt x="23529604" y="4423711"/>
                </a:moveTo>
                <a:lnTo>
                  <a:pt x="23561384" y="3938806"/>
                </a:lnTo>
                <a:moveTo>
                  <a:pt x="23529604" y="4423711"/>
                </a:moveTo>
                <a:lnTo>
                  <a:pt x="23497668" y="4908160"/>
                </a:lnTo>
                <a:lnTo>
                  <a:pt x="22213560" y="4823976"/>
                </a:lnTo>
                <a:moveTo>
                  <a:pt x="23529604" y="4423711"/>
                </a:moveTo>
                <a:lnTo>
                  <a:pt x="22245338" y="4339527"/>
                </a:lnTo>
                <a:moveTo>
                  <a:pt x="23338452" y="7331710"/>
                </a:moveTo>
                <a:lnTo>
                  <a:pt x="22387090" y="7269358"/>
                </a:lnTo>
                <a:cubicBezTo>
                  <a:pt x="22198140" y="7256973"/>
                  <a:pt x="22074952" y="7250780"/>
                  <a:pt x="22074952" y="7250780"/>
                </a:cubicBezTo>
                <a:moveTo>
                  <a:pt x="23688662" y="2000160"/>
                </a:moveTo>
                <a:lnTo>
                  <a:pt x="23656882" y="2484594"/>
                </a:lnTo>
                <a:lnTo>
                  <a:pt x="22372618" y="2400410"/>
                </a:lnTo>
                <a:moveTo>
                  <a:pt x="23211172" y="9270371"/>
                </a:moveTo>
                <a:lnTo>
                  <a:pt x="24495438" y="9354555"/>
                </a:lnTo>
                <a:lnTo>
                  <a:pt x="24527218" y="8870122"/>
                </a:lnTo>
                <a:lnTo>
                  <a:pt x="24538388" y="8870860"/>
                </a:lnTo>
                <a:moveTo>
                  <a:pt x="23211172" y="9270371"/>
                </a:moveTo>
                <a:lnTo>
                  <a:pt x="21927064" y="9186203"/>
                </a:lnTo>
                <a:moveTo>
                  <a:pt x="21831568" y="10640431"/>
                </a:moveTo>
                <a:lnTo>
                  <a:pt x="21863348" y="10155526"/>
                </a:lnTo>
                <a:moveTo>
                  <a:pt x="21831568" y="10640431"/>
                </a:moveTo>
                <a:lnTo>
                  <a:pt x="20547302" y="10556248"/>
                </a:lnTo>
                <a:moveTo>
                  <a:pt x="21863348" y="10155526"/>
                </a:moveTo>
                <a:lnTo>
                  <a:pt x="20579240" y="10071342"/>
                </a:lnTo>
                <a:moveTo>
                  <a:pt x="22340836" y="2885299"/>
                </a:moveTo>
                <a:lnTo>
                  <a:pt x="22308898" y="3370204"/>
                </a:lnTo>
                <a:lnTo>
                  <a:pt x="21024790" y="3286020"/>
                </a:lnTo>
                <a:moveTo>
                  <a:pt x="22277118" y="3854653"/>
                </a:moveTo>
                <a:lnTo>
                  <a:pt x="22308898" y="3370220"/>
                </a:lnTo>
                <a:moveTo>
                  <a:pt x="22277118" y="3854653"/>
                </a:moveTo>
                <a:lnTo>
                  <a:pt x="20993010" y="3770469"/>
                </a:lnTo>
                <a:moveTo>
                  <a:pt x="21927064" y="9186203"/>
                </a:moveTo>
                <a:lnTo>
                  <a:pt x="21895126" y="9671109"/>
                </a:lnTo>
                <a:lnTo>
                  <a:pt x="20611018" y="9586925"/>
                </a:lnTo>
                <a:moveTo>
                  <a:pt x="21927064" y="9186203"/>
                </a:moveTo>
                <a:lnTo>
                  <a:pt x="21958844" y="8701770"/>
                </a:lnTo>
                <a:moveTo>
                  <a:pt x="21927064" y="9186203"/>
                </a:moveTo>
                <a:lnTo>
                  <a:pt x="20642800" y="9102019"/>
                </a:lnTo>
                <a:moveTo>
                  <a:pt x="22436334" y="1431070"/>
                </a:moveTo>
                <a:lnTo>
                  <a:pt x="22404554" y="1915976"/>
                </a:lnTo>
                <a:moveTo>
                  <a:pt x="22404554" y="1915976"/>
                </a:moveTo>
                <a:lnTo>
                  <a:pt x="21120288" y="1831793"/>
                </a:lnTo>
                <a:moveTo>
                  <a:pt x="22022564" y="7732431"/>
                </a:moveTo>
                <a:lnTo>
                  <a:pt x="22074952" y="7250780"/>
                </a:lnTo>
                <a:moveTo>
                  <a:pt x="22022564" y="7732431"/>
                </a:moveTo>
                <a:cubicBezTo>
                  <a:pt x="21593216" y="7704297"/>
                  <a:pt x="21304678" y="7722561"/>
                  <a:pt x="21113838" y="7756637"/>
                </a:cubicBezTo>
                <a:moveTo>
                  <a:pt x="22022564" y="7732431"/>
                </a:moveTo>
                <a:lnTo>
                  <a:pt x="21958844" y="8701770"/>
                </a:lnTo>
                <a:moveTo>
                  <a:pt x="22181622" y="5308897"/>
                </a:moveTo>
                <a:lnTo>
                  <a:pt x="22149840" y="5793330"/>
                </a:lnTo>
                <a:cubicBezTo>
                  <a:pt x="21856424" y="5773620"/>
                  <a:pt x="21532644" y="5736873"/>
                  <a:pt x="21252128" y="5650708"/>
                </a:cubicBezTo>
                <a:cubicBezTo>
                  <a:pt x="21357540" y="5840185"/>
                  <a:pt x="21418582" y="5988638"/>
                  <a:pt x="21488592" y="6165430"/>
                </a:cubicBezTo>
                <a:cubicBezTo>
                  <a:pt x="21381138" y="6137688"/>
                  <a:pt x="21161352" y="6067761"/>
                  <a:pt x="21015036" y="5981942"/>
                </a:cubicBezTo>
                <a:moveTo>
                  <a:pt x="22074952" y="7250780"/>
                </a:moveTo>
                <a:cubicBezTo>
                  <a:pt x="22082190" y="7163280"/>
                  <a:pt x="22118848" y="6995808"/>
                  <a:pt x="22133950" y="6766253"/>
                </a:cubicBezTo>
                <a:moveTo>
                  <a:pt x="22138828" y="6277685"/>
                </a:moveTo>
                <a:cubicBezTo>
                  <a:pt x="22133478" y="6440143"/>
                  <a:pt x="22152202" y="6487956"/>
                  <a:pt x="22133950" y="6765781"/>
                </a:cubicBezTo>
                <a:lnTo>
                  <a:pt x="21562380" y="6728310"/>
                </a:lnTo>
                <a:moveTo>
                  <a:pt x="22138828" y="6277685"/>
                </a:moveTo>
                <a:cubicBezTo>
                  <a:pt x="21841164" y="6258180"/>
                  <a:pt x="21640728" y="6210209"/>
                  <a:pt x="21488592" y="6165414"/>
                </a:cubicBezTo>
                <a:moveTo>
                  <a:pt x="22245338" y="4339527"/>
                </a:moveTo>
                <a:lnTo>
                  <a:pt x="22277276" y="3854622"/>
                </a:lnTo>
                <a:moveTo>
                  <a:pt x="22245338" y="4339527"/>
                </a:moveTo>
                <a:lnTo>
                  <a:pt x="20961230" y="4255359"/>
                </a:lnTo>
                <a:moveTo>
                  <a:pt x="21958844" y="8701770"/>
                </a:moveTo>
                <a:lnTo>
                  <a:pt x="20674580" y="8617586"/>
                </a:lnTo>
                <a:lnTo>
                  <a:pt x="20642800" y="9102019"/>
                </a:lnTo>
                <a:moveTo>
                  <a:pt x="22181622" y="5308881"/>
                </a:moveTo>
                <a:lnTo>
                  <a:pt x="22213560" y="4823992"/>
                </a:lnTo>
                <a:moveTo>
                  <a:pt x="22181622" y="5308881"/>
                </a:moveTo>
                <a:lnTo>
                  <a:pt x="21849030" y="5287081"/>
                </a:lnTo>
                <a:cubicBezTo>
                  <a:pt x="21563480" y="5268361"/>
                  <a:pt x="21279506" y="5234222"/>
                  <a:pt x="20995686" y="5199596"/>
                </a:cubicBezTo>
                <a:cubicBezTo>
                  <a:pt x="21087250" y="5355233"/>
                  <a:pt x="21157262" y="5465209"/>
                  <a:pt x="21252128" y="5651180"/>
                </a:cubicBezTo>
                <a:cubicBezTo>
                  <a:pt x="21018026" y="5564309"/>
                  <a:pt x="20878162" y="5518916"/>
                  <a:pt x="20568856" y="5391367"/>
                </a:cubicBezTo>
                <a:cubicBezTo>
                  <a:pt x="20753400" y="5568599"/>
                  <a:pt x="20900344" y="5766437"/>
                  <a:pt x="21015666" y="5981974"/>
                </a:cubicBezTo>
                <a:moveTo>
                  <a:pt x="22245338" y="4339543"/>
                </a:moveTo>
                <a:lnTo>
                  <a:pt x="22213560" y="4823976"/>
                </a:lnTo>
                <a:lnTo>
                  <a:pt x="20929452" y="4739792"/>
                </a:lnTo>
                <a:moveTo>
                  <a:pt x="22372774" y="2400425"/>
                </a:moveTo>
                <a:lnTo>
                  <a:pt x="22340836" y="2885315"/>
                </a:lnTo>
                <a:moveTo>
                  <a:pt x="22340836" y="2885315"/>
                </a:moveTo>
                <a:lnTo>
                  <a:pt x="21056728" y="2801147"/>
                </a:lnTo>
                <a:moveTo>
                  <a:pt x="22404398" y="1915976"/>
                </a:moveTo>
                <a:lnTo>
                  <a:pt x="22372618" y="2400410"/>
                </a:lnTo>
                <a:moveTo>
                  <a:pt x="22372618" y="2400410"/>
                </a:moveTo>
                <a:lnTo>
                  <a:pt x="21088510" y="2316226"/>
                </a:lnTo>
                <a:moveTo>
                  <a:pt x="20579240" y="10071342"/>
                </a:moveTo>
                <a:lnTo>
                  <a:pt x="20611018" y="9586909"/>
                </a:lnTo>
                <a:moveTo>
                  <a:pt x="20579240" y="10071342"/>
                </a:moveTo>
                <a:lnTo>
                  <a:pt x="19294974" y="9987158"/>
                </a:lnTo>
                <a:moveTo>
                  <a:pt x="21562380" y="6728766"/>
                </a:moveTo>
                <a:cubicBezTo>
                  <a:pt x="21551366" y="6897903"/>
                  <a:pt x="21513608" y="7106696"/>
                  <a:pt x="21415592" y="7277186"/>
                </a:cubicBezTo>
                <a:cubicBezTo>
                  <a:pt x="21613040" y="7231777"/>
                  <a:pt x="21816462" y="7233821"/>
                  <a:pt x="22074952" y="7250749"/>
                </a:cubicBezTo>
                <a:moveTo>
                  <a:pt x="20993010" y="3770469"/>
                </a:moveTo>
                <a:lnTo>
                  <a:pt x="21024790" y="3286052"/>
                </a:lnTo>
                <a:moveTo>
                  <a:pt x="20993010" y="3770469"/>
                </a:moveTo>
                <a:lnTo>
                  <a:pt x="19708746" y="3686286"/>
                </a:lnTo>
                <a:moveTo>
                  <a:pt x="20929294" y="4739792"/>
                </a:moveTo>
                <a:cubicBezTo>
                  <a:pt x="20917964" y="4912199"/>
                  <a:pt x="20908998" y="5049006"/>
                  <a:pt x="20995528" y="5199596"/>
                </a:cubicBezTo>
                <a:cubicBezTo>
                  <a:pt x="20674894" y="5140467"/>
                  <a:pt x="20423800" y="5069423"/>
                  <a:pt x="20097030" y="4955313"/>
                </a:cubicBezTo>
                <a:moveTo>
                  <a:pt x="20642800" y="9102019"/>
                </a:moveTo>
                <a:lnTo>
                  <a:pt x="20611018" y="9586925"/>
                </a:lnTo>
                <a:lnTo>
                  <a:pt x="19326754" y="9502741"/>
                </a:lnTo>
                <a:moveTo>
                  <a:pt x="20642800" y="9102019"/>
                </a:moveTo>
                <a:lnTo>
                  <a:pt x="19358692" y="9017836"/>
                </a:lnTo>
                <a:moveTo>
                  <a:pt x="20961230" y="4255359"/>
                </a:moveTo>
                <a:lnTo>
                  <a:pt x="20929294" y="4739792"/>
                </a:lnTo>
                <a:cubicBezTo>
                  <a:pt x="20497428" y="4711469"/>
                  <a:pt x="19951818" y="4635710"/>
                  <a:pt x="19750594" y="4599921"/>
                </a:cubicBezTo>
                <a:moveTo>
                  <a:pt x="20961230" y="4255359"/>
                </a:moveTo>
                <a:lnTo>
                  <a:pt x="20993010" y="3770454"/>
                </a:lnTo>
                <a:moveTo>
                  <a:pt x="20961230" y="4255359"/>
                </a:moveTo>
                <a:lnTo>
                  <a:pt x="19676964" y="4171175"/>
                </a:lnTo>
                <a:moveTo>
                  <a:pt x="21120288" y="1831808"/>
                </a:moveTo>
                <a:lnTo>
                  <a:pt x="21088510" y="2316226"/>
                </a:lnTo>
                <a:moveTo>
                  <a:pt x="21088510" y="2316226"/>
                </a:moveTo>
                <a:lnTo>
                  <a:pt x="21056728" y="2801131"/>
                </a:lnTo>
                <a:moveTo>
                  <a:pt x="21088510" y="2316226"/>
                </a:moveTo>
                <a:lnTo>
                  <a:pt x="19804244" y="2232058"/>
                </a:lnTo>
                <a:moveTo>
                  <a:pt x="21152226" y="1346888"/>
                </a:moveTo>
                <a:lnTo>
                  <a:pt x="21120288" y="1831793"/>
                </a:lnTo>
                <a:moveTo>
                  <a:pt x="21120288" y="1831793"/>
                </a:moveTo>
                <a:lnTo>
                  <a:pt x="19836180" y="1747609"/>
                </a:lnTo>
                <a:moveTo>
                  <a:pt x="21056728" y="2801131"/>
                </a:moveTo>
                <a:lnTo>
                  <a:pt x="21024790" y="3286020"/>
                </a:lnTo>
                <a:moveTo>
                  <a:pt x="21056728" y="2801131"/>
                </a:moveTo>
                <a:lnTo>
                  <a:pt x="19772464" y="2716963"/>
                </a:lnTo>
                <a:moveTo>
                  <a:pt x="21024790" y="3286020"/>
                </a:moveTo>
                <a:lnTo>
                  <a:pt x="19740684" y="3201853"/>
                </a:lnTo>
                <a:moveTo>
                  <a:pt x="21488592" y="6165430"/>
                </a:moveTo>
                <a:cubicBezTo>
                  <a:pt x="21553254" y="6373877"/>
                  <a:pt x="21574808" y="6539981"/>
                  <a:pt x="21562380" y="6728310"/>
                </a:cubicBezTo>
                <a:lnTo>
                  <a:pt x="21184006" y="6703508"/>
                </a:lnTo>
                <a:moveTo>
                  <a:pt x="20674736" y="8617602"/>
                </a:moveTo>
                <a:lnTo>
                  <a:pt x="20690628" y="8375378"/>
                </a:lnTo>
                <a:cubicBezTo>
                  <a:pt x="20698494" y="8254037"/>
                  <a:pt x="20800442" y="8170860"/>
                  <a:pt x="20800442" y="8170860"/>
                </a:cubicBezTo>
                <a:moveTo>
                  <a:pt x="21113838" y="7756165"/>
                </a:moveTo>
                <a:cubicBezTo>
                  <a:pt x="21242846" y="7593346"/>
                  <a:pt x="21324500" y="7452846"/>
                  <a:pt x="21415434" y="7276714"/>
                </a:cubicBezTo>
                <a:moveTo>
                  <a:pt x="20579240" y="10071342"/>
                </a:moveTo>
                <a:lnTo>
                  <a:pt x="20547302" y="10556248"/>
                </a:lnTo>
                <a:lnTo>
                  <a:pt x="19263194" y="10472064"/>
                </a:lnTo>
                <a:moveTo>
                  <a:pt x="20800442" y="8170372"/>
                </a:moveTo>
                <a:cubicBezTo>
                  <a:pt x="20889804" y="8068003"/>
                  <a:pt x="20956826" y="7973588"/>
                  <a:pt x="21113838" y="7756149"/>
                </a:cubicBezTo>
                <a:moveTo>
                  <a:pt x="20096558" y="4954825"/>
                </a:moveTo>
                <a:cubicBezTo>
                  <a:pt x="20285824" y="5109314"/>
                  <a:pt x="20403504" y="5216320"/>
                  <a:pt x="20568856" y="5391367"/>
                </a:cubicBezTo>
                <a:cubicBezTo>
                  <a:pt x="20241144" y="5252722"/>
                  <a:pt x="19875826" y="5134682"/>
                  <a:pt x="19539460" y="4997829"/>
                </a:cubicBezTo>
                <a:moveTo>
                  <a:pt x="19676964" y="4170719"/>
                </a:moveTo>
                <a:cubicBezTo>
                  <a:pt x="19667526" y="4307494"/>
                  <a:pt x="19655726" y="4494000"/>
                  <a:pt x="19750594" y="4599953"/>
                </a:cubicBezTo>
                <a:cubicBezTo>
                  <a:pt x="19382132" y="4537695"/>
                  <a:pt x="18960654" y="4463020"/>
                  <a:pt x="18586528" y="4366498"/>
                </a:cubicBezTo>
                <a:moveTo>
                  <a:pt x="20097188" y="4954857"/>
                </a:moveTo>
                <a:cubicBezTo>
                  <a:pt x="19977620" y="4860912"/>
                  <a:pt x="19850498" y="4709552"/>
                  <a:pt x="19751068" y="4599984"/>
                </a:cubicBezTo>
                <a:moveTo>
                  <a:pt x="19772464" y="2716947"/>
                </a:moveTo>
                <a:lnTo>
                  <a:pt x="19740684" y="3201853"/>
                </a:lnTo>
                <a:lnTo>
                  <a:pt x="18456576" y="3117669"/>
                </a:lnTo>
                <a:moveTo>
                  <a:pt x="20922686" y="7397316"/>
                </a:moveTo>
                <a:cubicBezTo>
                  <a:pt x="21042884" y="7204287"/>
                  <a:pt x="21160722" y="7057673"/>
                  <a:pt x="21184006" y="6703963"/>
                </a:cubicBezTo>
                <a:moveTo>
                  <a:pt x="19877714" y="8295752"/>
                </a:moveTo>
                <a:cubicBezTo>
                  <a:pt x="20050460" y="8157924"/>
                  <a:pt x="20215812" y="8074651"/>
                  <a:pt x="20403032" y="7924611"/>
                </a:cubicBezTo>
                <a:moveTo>
                  <a:pt x="19740684" y="3201853"/>
                </a:moveTo>
                <a:lnTo>
                  <a:pt x="19708746" y="3686286"/>
                </a:lnTo>
                <a:moveTo>
                  <a:pt x="19708746" y="3686286"/>
                </a:moveTo>
                <a:lnTo>
                  <a:pt x="18424638" y="3602118"/>
                </a:lnTo>
                <a:moveTo>
                  <a:pt x="19804244" y="2232042"/>
                </a:moveTo>
                <a:lnTo>
                  <a:pt x="19772464" y="2716947"/>
                </a:lnTo>
                <a:lnTo>
                  <a:pt x="18488356" y="2632764"/>
                </a:lnTo>
                <a:moveTo>
                  <a:pt x="19804244" y="2232042"/>
                </a:moveTo>
                <a:lnTo>
                  <a:pt x="19836180" y="1747625"/>
                </a:lnTo>
                <a:moveTo>
                  <a:pt x="19804244" y="2232042"/>
                </a:moveTo>
                <a:lnTo>
                  <a:pt x="18520136" y="2147874"/>
                </a:lnTo>
                <a:moveTo>
                  <a:pt x="19676964" y="4171175"/>
                </a:moveTo>
                <a:cubicBezTo>
                  <a:pt x="19687664" y="4009535"/>
                  <a:pt x="19698206" y="3847910"/>
                  <a:pt x="19708902" y="3686270"/>
                </a:cubicBezTo>
                <a:moveTo>
                  <a:pt x="19676964" y="4171175"/>
                </a:moveTo>
                <a:lnTo>
                  <a:pt x="19344218" y="4149359"/>
                </a:lnTo>
                <a:cubicBezTo>
                  <a:pt x="19030190" y="4128769"/>
                  <a:pt x="18716954" y="4102584"/>
                  <a:pt x="18402454" y="4077278"/>
                </a:cubicBezTo>
                <a:moveTo>
                  <a:pt x="19326754" y="9502725"/>
                </a:moveTo>
                <a:lnTo>
                  <a:pt x="19294974" y="9987158"/>
                </a:lnTo>
                <a:lnTo>
                  <a:pt x="18010866" y="9902991"/>
                </a:lnTo>
                <a:moveTo>
                  <a:pt x="19263194" y="10472064"/>
                </a:moveTo>
                <a:lnTo>
                  <a:pt x="19294974" y="9987175"/>
                </a:lnTo>
                <a:moveTo>
                  <a:pt x="19263194" y="10472064"/>
                </a:moveTo>
                <a:lnTo>
                  <a:pt x="17978928" y="10387896"/>
                </a:lnTo>
                <a:moveTo>
                  <a:pt x="19326754" y="9502741"/>
                </a:moveTo>
                <a:lnTo>
                  <a:pt x="19358692" y="9017852"/>
                </a:lnTo>
                <a:moveTo>
                  <a:pt x="19326754" y="9502741"/>
                </a:moveTo>
                <a:lnTo>
                  <a:pt x="18042646" y="9418573"/>
                </a:lnTo>
                <a:moveTo>
                  <a:pt x="19358692" y="9017852"/>
                </a:moveTo>
                <a:cubicBezTo>
                  <a:pt x="19367502" y="8882444"/>
                  <a:pt x="19337452" y="8684260"/>
                  <a:pt x="19487700" y="8601900"/>
                </a:cubicBezTo>
                <a:moveTo>
                  <a:pt x="19358692" y="9017852"/>
                </a:moveTo>
                <a:lnTo>
                  <a:pt x="18082764" y="8945975"/>
                </a:lnTo>
                <a:moveTo>
                  <a:pt x="21015666" y="5981974"/>
                </a:moveTo>
                <a:cubicBezTo>
                  <a:pt x="21113838" y="6157335"/>
                  <a:pt x="21203358" y="6410232"/>
                  <a:pt x="21184006" y="6703508"/>
                </a:cubicBezTo>
                <a:moveTo>
                  <a:pt x="21015666" y="5981974"/>
                </a:moveTo>
                <a:cubicBezTo>
                  <a:pt x="20703056" y="5825033"/>
                  <a:pt x="20571532" y="5764661"/>
                  <a:pt x="20273552" y="5643966"/>
                </a:cubicBezTo>
                <a:moveTo>
                  <a:pt x="21184006" y="6703508"/>
                </a:moveTo>
                <a:lnTo>
                  <a:pt x="20666240" y="6669558"/>
                </a:lnTo>
                <a:moveTo>
                  <a:pt x="19487700" y="8602388"/>
                </a:moveTo>
                <a:cubicBezTo>
                  <a:pt x="19601290" y="8504435"/>
                  <a:pt x="19769788" y="8374308"/>
                  <a:pt x="19877244" y="8295720"/>
                </a:cubicBezTo>
                <a:moveTo>
                  <a:pt x="20922686" y="7397331"/>
                </a:moveTo>
                <a:cubicBezTo>
                  <a:pt x="20780304" y="7593613"/>
                  <a:pt x="20608818" y="7770578"/>
                  <a:pt x="20402560" y="7924564"/>
                </a:cubicBezTo>
                <a:cubicBezTo>
                  <a:pt x="20069340" y="8014705"/>
                  <a:pt x="19734546" y="8098637"/>
                  <a:pt x="19330530" y="8180368"/>
                </a:cubicBezTo>
                <a:moveTo>
                  <a:pt x="19867960" y="1262715"/>
                </a:moveTo>
                <a:lnTo>
                  <a:pt x="19836024" y="1747609"/>
                </a:lnTo>
                <a:lnTo>
                  <a:pt x="18551914" y="1663441"/>
                </a:lnTo>
                <a:moveTo>
                  <a:pt x="18583852" y="1178533"/>
                </a:moveTo>
                <a:lnTo>
                  <a:pt x="18551914" y="1663425"/>
                </a:lnTo>
                <a:moveTo>
                  <a:pt x="18551914" y="1663425"/>
                </a:moveTo>
                <a:lnTo>
                  <a:pt x="18520136" y="2147874"/>
                </a:lnTo>
                <a:moveTo>
                  <a:pt x="18551914" y="1663425"/>
                </a:moveTo>
                <a:lnTo>
                  <a:pt x="17267806" y="1579257"/>
                </a:lnTo>
                <a:moveTo>
                  <a:pt x="18586528" y="4366498"/>
                </a:moveTo>
                <a:cubicBezTo>
                  <a:pt x="18501886" y="4301647"/>
                  <a:pt x="18395532" y="4183639"/>
                  <a:pt x="18402610" y="4076822"/>
                </a:cubicBezTo>
                <a:moveTo>
                  <a:pt x="18586528" y="4366498"/>
                </a:moveTo>
                <a:cubicBezTo>
                  <a:pt x="18696814" y="4464058"/>
                  <a:pt x="18814652" y="4528233"/>
                  <a:pt x="18962698" y="4627804"/>
                </a:cubicBezTo>
                <a:moveTo>
                  <a:pt x="18586528" y="4366498"/>
                </a:moveTo>
                <a:cubicBezTo>
                  <a:pt x="18174328" y="4266063"/>
                  <a:pt x="17576012" y="4182618"/>
                  <a:pt x="17200786" y="4158019"/>
                </a:cubicBezTo>
                <a:moveTo>
                  <a:pt x="18488356" y="2632764"/>
                </a:moveTo>
                <a:lnTo>
                  <a:pt x="18456418" y="3117653"/>
                </a:lnTo>
                <a:lnTo>
                  <a:pt x="17172310" y="3033485"/>
                </a:lnTo>
                <a:moveTo>
                  <a:pt x="18488356" y="2632764"/>
                </a:moveTo>
                <a:lnTo>
                  <a:pt x="18520136" y="2147874"/>
                </a:lnTo>
                <a:moveTo>
                  <a:pt x="18488356" y="2632764"/>
                </a:moveTo>
                <a:lnTo>
                  <a:pt x="17204090" y="2548596"/>
                </a:lnTo>
                <a:moveTo>
                  <a:pt x="18424638" y="3602118"/>
                </a:moveTo>
                <a:cubicBezTo>
                  <a:pt x="18414252" y="3760002"/>
                  <a:pt x="18400566" y="3919096"/>
                  <a:pt x="18402454" y="4077310"/>
                </a:cubicBezTo>
                <a:cubicBezTo>
                  <a:pt x="18142862" y="4060303"/>
                  <a:pt x="17820972" y="3995420"/>
                  <a:pt x="17125426" y="3949824"/>
                </a:cubicBezTo>
                <a:moveTo>
                  <a:pt x="18424638" y="3602118"/>
                </a:moveTo>
                <a:lnTo>
                  <a:pt x="18456418" y="3117684"/>
                </a:lnTo>
                <a:moveTo>
                  <a:pt x="18424638" y="3602118"/>
                </a:moveTo>
                <a:lnTo>
                  <a:pt x="17140372" y="3517934"/>
                </a:lnTo>
                <a:moveTo>
                  <a:pt x="18520136" y="2147874"/>
                </a:moveTo>
                <a:lnTo>
                  <a:pt x="17236028" y="2063691"/>
                </a:lnTo>
                <a:moveTo>
                  <a:pt x="18962698" y="4627804"/>
                </a:moveTo>
                <a:cubicBezTo>
                  <a:pt x="18452484" y="4476271"/>
                  <a:pt x="17899478" y="4393438"/>
                  <a:pt x="17358900" y="4323180"/>
                </a:cubicBezTo>
                <a:moveTo>
                  <a:pt x="18962698" y="4627804"/>
                </a:moveTo>
                <a:cubicBezTo>
                  <a:pt x="19316844" y="4721607"/>
                  <a:pt x="19735176" y="4843136"/>
                  <a:pt x="20096558" y="4954825"/>
                </a:cubicBezTo>
                <a:moveTo>
                  <a:pt x="20273552" y="5643966"/>
                </a:moveTo>
                <a:cubicBezTo>
                  <a:pt x="20016636" y="5426213"/>
                  <a:pt x="19872838" y="5181521"/>
                  <a:pt x="19539618" y="4997813"/>
                </a:cubicBezTo>
                <a:moveTo>
                  <a:pt x="20273552" y="5643966"/>
                </a:moveTo>
                <a:cubicBezTo>
                  <a:pt x="20516466" y="5929492"/>
                  <a:pt x="20651138" y="6314747"/>
                  <a:pt x="20666240" y="6669558"/>
                </a:cubicBezTo>
                <a:moveTo>
                  <a:pt x="20273552" y="5643966"/>
                </a:moveTo>
                <a:cubicBezTo>
                  <a:pt x="19906822" y="5476415"/>
                  <a:pt x="18967574" y="5169246"/>
                  <a:pt x="18261016" y="5022238"/>
                </a:cubicBezTo>
                <a:moveTo>
                  <a:pt x="18710344" y="8471883"/>
                </a:moveTo>
                <a:cubicBezTo>
                  <a:pt x="18556478" y="8541324"/>
                  <a:pt x="18429358" y="8603095"/>
                  <a:pt x="18303180" y="8681872"/>
                </a:cubicBezTo>
                <a:cubicBezTo>
                  <a:pt x="18818744" y="8637092"/>
                  <a:pt x="19114518" y="8613672"/>
                  <a:pt x="19487858" y="8602371"/>
                </a:cubicBezTo>
                <a:moveTo>
                  <a:pt x="20666084" y="6669542"/>
                </a:moveTo>
                <a:cubicBezTo>
                  <a:pt x="20601894" y="7064322"/>
                  <a:pt x="20421124" y="7381850"/>
                  <a:pt x="20142814" y="7635092"/>
                </a:cubicBezTo>
                <a:cubicBezTo>
                  <a:pt x="19912798" y="7819036"/>
                  <a:pt x="19631970" y="8035893"/>
                  <a:pt x="19330530" y="8179866"/>
                </a:cubicBezTo>
                <a:moveTo>
                  <a:pt x="18710188" y="8471868"/>
                </a:moveTo>
                <a:cubicBezTo>
                  <a:pt x="18917546" y="8365491"/>
                  <a:pt x="19136072" y="8285692"/>
                  <a:pt x="19330530" y="8179881"/>
                </a:cubicBezTo>
                <a:cubicBezTo>
                  <a:pt x="18705310" y="8351566"/>
                  <a:pt x="18042646" y="8354253"/>
                  <a:pt x="17402166" y="8385201"/>
                </a:cubicBezTo>
                <a:moveTo>
                  <a:pt x="18082764" y="8945975"/>
                </a:moveTo>
                <a:cubicBezTo>
                  <a:pt x="18090788" y="8781819"/>
                  <a:pt x="18303180" y="8681400"/>
                  <a:pt x="18303180" y="8681400"/>
                </a:cubicBezTo>
                <a:moveTo>
                  <a:pt x="18082764" y="8945975"/>
                </a:moveTo>
                <a:cubicBezTo>
                  <a:pt x="18062312" y="9102727"/>
                  <a:pt x="18053030" y="9261161"/>
                  <a:pt x="18042646" y="9418573"/>
                </a:cubicBezTo>
                <a:moveTo>
                  <a:pt x="18082764" y="8945975"/>
                </a:moveTo>
                <a:lnTo>
                  <a:pt x="16799444" y="8904669"/>
                </a:lnTo>
                <a:moveTo>
                  <a:pt x="17978928" y="10387896"/>
                </a:moveTo>
                <a:lnTo>
                  <a:pt x="18010866" y="9902991"/>
                </a:lnTo>
                <a:moveTo>
                  <a:pt x="17978928" y="10387896"/>
                </a:moveTo>
                <a:lnTo>
                  <a:pt x="16694821" y="10303712"/>
                </a:lnTo>
                <a:moveTo>
                  <a:pt x="18010866" y="9902991"/>
                </a:moveTo>
                <a:lnTo>
                  <a:pt x="18042646" y="9418558"/>
                </a:lnTo>
                <a:lnTo>
                  <a:pt x="16758537" y="9334389"/>
                </a:lnTo>
                <a:moveTo>
                  <a:pt x="18010866" y="9902991"/>
                </a:moveTo>
                <a:lnTo>
                  <a:pt x="16726601" y="9818807"/>
                </a:lnTo>
                <a:moveTo>
                  <a:pt x="20666240" y="6669558"/>
                </a:moveTo>
                <a:lnTo>
                  <a:pt x="18998410" y="6560226"/>
                </a:lnTo>
                <a:cubicBezTo>
                  <a:pt x="19071410" y="6022981"/>
                  <a:pt x="18680766" y="5479810"/>
                  <a:pt x="18261646" y="5022270"/>
                </a:cubicBezTo>
                <a:cubicBezTo>
                  <a:pt x="17022690" y="4759439"/>
                  <a:pt x="15696104" y="4672474"/>
                  <a:pt x="14385738" y="4808195"/>
                </a:cubicBezTo>
                <a:cubicBezTo>
                  <a:pt x="13764185" y="4875200"/>
                  <a:pt x="13115098" y="5020855"/>
                  <a:pt x="12486354" y="5165033"/>
                </a:cubicBezTo>
                <a:moveTo>
                  <a:pt x="18962698" y="4628276"/>
                </a:moveTo>
                <a:cubicBezTo>
                  <a:pt x="19153850" y="4751848"/>
                  <a:pt x="19357590" y="4863537"/>
                  <a:pt x="19539460" y="4998269"/>
                </a:cubicBezTo>
                <a:cubicBezTo>
                  <a:pt x="18914556" y="4832621"/>
                  <a:pt x="18305540" y="4612024"/>
                  <a:pt x="17654520" y="4542992"/>
                </a:cubicBezTo>
                <a:moveTo>
                  <a:pt x="16758537" y="9334389"/>
                </a:moveTo>
                <a:cubicBezTo>
                  <a:pt x="16767978" y="9190557"/>
                  <a:pt x="16773642" y="9046490"/>
                  <a:pt x="16800072" y="8904700"/>
                </a:cubicBezTo>
                <a:moveTo>
                  <a:pt x="16758537" y="9334389"/>
                </a:moveTo>
                <a:lnTo>
                  <a:pt x="16726601" y="9818807"/>
                </a:lnTo>
                <a:moveTo>
                  <a:pt x="16758537" y="9334389"/>
                </a:moveTo>
                <a:lnTo>
                  <a:pt x="15474273" y="9250206"/>
                </a:lnTo>
                <a:moveTo>
                  <a:pt x="16726601" y="9818807"/>
                </a:moveTo>
                <a:lnTo>
                  <a:pt x="16694821" y="10303712"/>
                </a:lnTo>
                <a:lnTo>
                  <a:pt x="15410602" y="10219528"/>
                </a:lnTo>
                <a:moveTo>
                  <a:pt x="17267806" y="1579257"/>
                </a:moveTo>
                <a:lnTo>
                  <a:pt x="17236028" y="2063691"/>
                </a:lnTo>
                <a:moveTo>
                  <a:pt x="17267806" y="1579257"/>
                </a:moveTo>
                <a:lnTo>
                  <a:pt x="17299588" y="1094351"/>
                </a:lnTo>
                <a:moveTo>
                  <a:pt x="17267806" y="1579257"/>
                </a:moveTo>
                <a:lnTo>
                  <a:pt x="15983542" y="1495075"/>
                </a:lnTo>
                <a:moveTo>
                  <a:pt x="17236028" y="2063691"/>
                </a:moveTo>
                <a:lnTo>
                  <a:pt x="17204090" y="2548596"/>
                </a:lnTo>
                <a:moveTo>
                  <a:pt x="17236028" y="2063691"/>
                </a:moveTo>
                <a:lnTo>
                  <a:pt x="15951762" y="1979523"/>
                </a:lnTo>
                <a:moveTo>
                  <a:pt x="16799444" y="8904669"/>
                </a:moveTo>
                <a:cubicBezTo>
                  <a:pt x="16806208" y="8803479"/>
                  <a:pt x="16902020" y="8707648"/>
                  <a:pt x="16902020" y="8707648"/>
                </a:cubicBezTo>
                <a:cubicBezTo>
                  <a:pt x="17401064" y="8736600"/>
                  <a:pt x="17938966" y="8716811"/>
                  <a:pt x="18303180" y="8681872"/>
                </a:cubicBezTo>
                <a:moveTo>
                  <a:pt x="16799444" y="8904669"/>
                </a:moveTo>
                <a:lnTo>
                  <a:pt x="15487866" y="8816367"/>
                </a:lnTo>
                <a:moveTo>
                  <a:pt x="17204090" y="2548596"/>
                </a:moveTo>
                <a:lnTo>
                  <a:pt x="15919982" y="2464396"/>
                </a:lnTo>
                <a:moveTo>
                  <a:pt x="17172310" y="3033501"/>
                </a:moveTo>
                <a:lnTo>
                  <a:pt x="17140372" y="3517934"/>
                </a:lnTo>
                <a:moveTo>
                  <a:pt x="17140372" y="3517934"/>
                </a:moveTo>
                <a:lnTo>
                  <a:pt x="15856264" y="3433766"/>
                </a:lnTo>
                <a:moveTo>
                  <a:pt x="16726601" y="9818807"/>
                </a:moveTo>
                <a:lnTo>
                  <a:pt x="15442492" y="9734623"/>
                </a:lnTo>
                <a:moveTo>
                  <a:pt x="17204090" y="2548580"/>
                </a:moveTo>
                <a:lnTo>
                  <a:pt x="17172310" y="3033485"/>
                </a:lnTo>
                <a:lnTo>
                  <a:pt x="15888202" y="2949301"/>
                </a:lnTo>
                <a:moveTo>
                  <a:pt x="17402166" y="8385673"/>
                </a:moveTo>
                <a:cubicBezTo>
                  <a:pt x="17653260" y="8263326"/>
                  <a:pt x="17771570" y="8190160"/>
                  <a:pt x="18066716" y="7989305"/>
                </a:cubicBezTo>
                <a:cubicBezTo>
                  <a:pt x="18542318" y="7588065"/>
                  <a:pt x="18944448" y="7143900"/>
                  <a:pt x="18998254" y="6560697"/>
                </a:cubicBezTo>
                <a:moveTo>
                  <a:pt x="16901864" y="8707648"/>
                </a:moveTo>
                <a:cubicBezTo>
                  <a:pt x="16967942" y="8634813"/>
                  <a:pt x="17080274" y="8564539"/>
                  <a:pt x="17080274" y="8564539"/>
                </a:cubicBezTo>
                <a:cubicBezTo>
                  <a:pt x="17222026" y="8475483"/>
                  <a:pt x="17402166" y="8385201"/>
                  <a:pt x="17402166" y="8385201"/>
                </a:cubicBezTo>
                <a:moveTo>
                  <a:pt x="17200630" y="4158019"/>
                </a:moveTo>
                <a:cubicBezTo>
                  <a:pt x="17171838" y="4110489"/>
                  <a:pt x="17138798" y="4037748"/>
                  <a:pt x="17124954" y="3949321"/>
                </a:cubicBezTo>
                <a:moveTo>
                  <a:pt x="17140530" y="3517934"/>
                </a:moveTo>
                <a:cubicBezTo>
                  <a:pt x="17131562" y="3614268"/>
                  <a:pt x="17115514" y="3840963"/>
                  <a:pt x="17125426" y="3949352"/>
                </a:cubicBezTo>
                <a:moveTo>
                  <a:pt x="17201730" y="4158098"/>
                </a:moveTo>
                <a:cubicBezTo>
                  <a:pt x="17261516" y="4239657"/>
                  <a:pt x="17302262" y="4282802"/>
                  <a:pt x="17358742" y="4323196"/>
                </a:cubicBezTo>
                <a:cubicBezTo>
                  <a:pt x="16736670" y="4270652"/>
                  <a:pt x="16113494" y="4230729"/>
                  <a:pt x="15489707" y="4211020"/>
                </a:cubicBezTo>
                <a:moveTo>
                  <a:pt x="17654676" y="4542552"/>
                </a:moveTo>
                <a:cubicBezTo>
                  <a:pt x="17526770" y="4444772"/>
                  <a:pt x="17463050" y="4407663"/>
                  <a:pt x="17359372" y="4322756"/>
                </a:cubicBezTo>
                <a:moveTo>
                  <a:pt x="18261488" y="5022254"/>
                </a:moveTo>
                <a:cubicBezTo>
                  <a:pt x="18060580" y="4859467"/>
                  <a:pt x="17900422" y="4703092"/>
                  <a:pt x="17654520" y="4542536"/>
                </a:cubicBezTo>
                <a:moveTo>
                  <a:pt x="10846386" y="1158336"/>
                </a:moveTo>
                <a:lnTo>
                  <a:pt x="10814575" y="1642772"/>
                </a:lnTo>
                <a:moveTo>
                  <a:pt x="10846386" y="1158336"/>
                </a:moveTo>
                <a:lnTo>
                  <a:pt x="10878229" y="673426"/>
                </a:lnTo>
                <a:moveTo>
                  <a:pt x="10846386" y="1158336"/>
                </a:moveTo>
                <a:lnTo>
                  <a:pt x="9562215" y="1074149"/>
                </a:lnTo>
                <a:moveTo>
                  <a:pt x="10846386" y="1158336"/>
                </a:moveTo>
                <a:lnTo>
                  <a:pt x="12130541" y="1242500"/>
                </a:lnTo>
                <a:moveTo>
                  <a:pt x="10814575" y="1642772"/>
                </a:moveTo>
                <a:lnTo>
                  <a:pt x="10782701" y="2127677"/>
                </a:lnTo>
                <a:moveTo>
                  <a:pt x="10814575" y="1642772"/>
                </a:moveTo>
                <a:lnTo>
                  <a:pt x="12098730" y="1726956"/>
                </a:lnTo>
                <a:moveTo>
                  <a:pt x="10814575" y="1642772"/>
                </a:moveTo>
                <a:lnTo>
                  <a:pt x="9530388" y="1558589"/>
                </a:lnTo>
                <a:moveTo>
                  <a:pt x="10305289" y="9397889"/>
                </a:moveTo>
                <a:lnTo>
                  <a:pt x="10273446" y="9882778"/>
                </a:lnTo>
                <a:lnTo>
                  <a:pt x="8989260" y="9798610"/>
                </a:lnTo>
                <a:moveTo>
                  <a:pt x="10555692" y="5519827"/>
                </a:moveTo>
                <a:cubicBezTo>
                  <a:pt x="10544160" y="5695519"/>
                  <a:pt x="10517886" y="5844350"/>
                  <a:pt x="10507424" y="6003648"/>
                </a:cubicBezTo>
                <a:moveTo>
                  <a:pt x="10555614" y="5519341"/>
                </a:moveTo>
                <a:cubicBezTo>
                  <a:pt x="10555614" y="5519341"/>
                  <a:pt x="10567822" y="5399226"/>
                  <a:pt x="10575783" y="5277870"/>
                </a:cubicBezTo>
                <a:lnTo>
                  <a:pt x="10591688" y="5035661"/>
                </a:lnTo>
                <a:cubicBezTo>
                  <a:pt x="10832070" y="5051426"/>
                  <a:pt x="11198942" y="5080645"/>
                  <a:pt x="11548855" y="5027347"/>
                </a:cubicBezTo>
                <a:moveTo>
                  <a:pt x="10337085" y="8913455"/>
                </a:moveTo>
                <a:lnTo>
                  <a:pt x="10305258" y="9397889"/>
                </a:lnTo>
                <a:lnTo>
                  <a:pt x="9021087" y="9313705"/>
                </a:lnTo>
                <a:moveTo>
                  <a:pt x="10337085" y="8913455"/>
                </a:moveTo>
                <a:lnTo>
                  <a:pt x="10368913" y="8428566"/>
                </a:lnTo>
                <a:moveTo>
                  <a:pt x="10337085" y="8913455"/>
                </a:moveTo>
                <a:lnTo>
                  <a:pt x="9052883" y="8829287"/>
                </a:lnTo>
                <a:moveTo>
                  <a:pt x="10464347" y="6974794"/>
                </a:moveTo>
                <a:lnTo>
                  <a:pt x="10432536" y="7459228"/>
                </a:lnTo>
                <a:lnTo>
                  <a:pt x="9148365" y="7375059"/>
                </a:lnTo>
                <a:lnTo>
                  <a:pt x="9116522" y="7859965"/>
                </a:lnTo>
                <a:moveTo>
                  <a:pt x="10782731" y="2127662"/>
                </a:moveTo>
                <a:lnTo>
                  <a:pt x="10750888" y="2612551"/>
                </a:lnTo>
                <a:moveTo>
                  <a:pt x="10750888" y="2612551"/>
                </a:moveTo>
                <a:lnTo>
                  <a:pt x="12035043" y="2696735"/>
                </a:lnTo>
                <a:moveTo>
                  <a:pt x="10750888" y="2612551"/>
                </a:moveTo>
                <a:lnTo>
                  <a:pt x="9466717" y="2528383"/>
                </a:lnTo>
                <a:moveTo>
                  <a:pt x="10687250" y="3581905"/>
                </a:moveTo>
                <a:lnTo>
                  <a:pt x="10655422" y="4066339"/>
                </a:lnTo>
                <a:moveTo>
                  <a:pt x="10687250" y="3581905"/>
                </a:moveTo>
                <a:lnTo>
                  <a:pt x="10719077" y="3096984"/>
                </a:lnTo>
                <a:moveTo>
                  <a:pt x="10687250" y="3581905"/>
                </a:moveTo>
                <a:lnTo>
                  <a:pt x="9403063" y="3497721"/>
                </a:lnTo>
                <a:moveTo>
                  <a:pt x="10655422" y="4066339"/>
                </a:moveTo>
                <a:lnTo>
                  <a:pt x="9371251" y="3982155"/>
                </a:lnTo>
                <a:moveTo>
                  <a:pt x="10655422" y="4066339"/>
                </a:moveTo>
                <a:lnTo>
                  <a:pt x="11939593" y="4150506"/>
                </a:lnTo>
                <a:moveTo>
                  <a:pt x="10368881" y="8428566"/>
                </a:moveTo>
                <a:lnTo>
                  <a:pt x="10400693" y="7944132"/>
                </a:lnTo>
                <a:lnTo>
                  <a:pt x="11684864" y="8028316"/>
                </a:lnTo>
                <a:moveTo>
                  <a:pt x="10368881" y="8428566"/>
                </a:moveTo>
                <a:lnTo>
                  <a:pt x="11653068" y="8512733"/>
                </a:lnTo>
                <a:moveTo>
                  <a:pt x="10368881" y="8428566"/>
                </a:moveTo>
                <a:lnTo>
                  <a:pt x="9084726" y="8344382"/>
                </a:lnTo>
                <a:moveTo>
                  <a:pt x="10491817" y="6490549"/>
                </a:moveTo>
                <a:cubicBezTo>
                  <a:pt x="10491817" y="6490549"/>
                  <a:pt x="10488198" y="6611245"/>
                  <a:pt x="10480222" y="6732585"/>
                </a:cubicBezTo>
                <a:lnTo>
                  <a:pt x="10464317" y="6974794"/>
                </a:lnTo>
                <a:lnTo>
                  <a:pt x="9180145" y="6890626"/>
                </a:lnTo>
                <a:moveTo>
                  <a:pt x="10507361" y="6003632"/>
                </a:moveTo>
                <a:cubicBezTo>
                  <a:pt x="10493548" y="6213997"/>
                  <a:pt x="10503444" y="6314386"/>
                  <a:pt x="10491943" y="6489606"/>
                </a:cubicBezTo>
                <a:cubicBezTo>
                  <a:pt x="10491943" y="6489606"/>
                  <a:pt x="10353966" y="6480568"/>
                  <a:pt x="10163458" y="6468073"/>
                </a:cubicBezTo>
                <a:lnTo>
                  <a:pt x="9212005" y="6405705"/>
                </a:lnTo>
                <a:moveTo>
                  <a:pt x="10507361" y="6003632"/>
                </a:moveTo>
                <a:lnTo>
                  <a:pt x="9243879" y="5920832"/>
                </a:lnTo>
                <a:moveTo>
                  <a:pt x="10507361" y="6003632"/>
                </a:moveTo>
                <a:lnTo>
                  <a:pt x="11123456" y="6044043"/>
                </a:lnTo>
                <a:moveTo>
                  <a:pt x="10782701" y="2127677"/>
                </a:moveTo>
                <a:lnTo>
                  <a:pt x="12066887" y="2211845"/>
                </a:lnTo>
                <a:moveTo>
                  <a:pt x="10782701" y="2127677"/>
                </a:moveTo>
                <a:lnTo>
                  <a:pt x="9498529" y="2043493"/>
                </a:lnTo>
                <a:moveTo>
                  <a:pt x="10750841" y="2612582"/>
                </a:moveTo>
                <a:lnTo>
                  <a:pt x="10719029" y="3097016"/>
                </a:lnTo>
                <a:lnTo>
                  <a:pt x="9434859" y="3012832"/>
                </a:lnTo>
                <a:moveTo>
                  <a:pt x="10623563" y="4551244"/>
                </a:moveTo>
                <a:lnTo>
                  <a:pt x="10591752" y="5035661"/>
                </a:lnTo>
                <a:lnTo>
                  <a:pt x="9307550" y="4951493"/>
                </a:lnTo>
                <a:lnTo>
                  <a:pt x="9275706" y="5436398"/>
                </a:lnTo>
                <a:moveTo>
                  <a:pt x="10623563" y="4551244"/>
                </a:moveTo>
                <a:lnTo>
                  <a:pt x="10655390" y="4066339"/>
                </a:lnTo>
                <a:moveTo>
                  <a:pt x="10623563" y="4551244"/>
                </a:moveTo>
                <a:lnTo>
                  <a:pt x="9339392" y="4467060"/>
                </a:lnTo>
                <a:moveTo>
                  <a:pt x="10432504" y="7459228"/>
                </a:moveTo>
                <a:lnTo>
                  <a:pt x="10400662" y="7944132"/>
                </a:lnTo>
                <a:lnTo>
                  <a:pt x="9116475" y="7859949"/>
                </a:lnTo>
                <a:moveTo>
                  <a:pt x="5662142" y="1780254"/>
                </a:moveTo>
                <a:cubicBezTo>
                  <a:pt x="5661451" y="2001826"/>
                  <a:pt x="5657045" y="2068815"/>
                  <a:pt x="5658194" y="2262267"/>
                </a:cubicBezTo>
                <a:moveTo>
                  <a:pt x="5662142" y="1780254"/>
                </a:moveTo>
                <a:cubicBezTo>
                  <a:pt x="5366902" y="1715262"/>
                  <a:pt x="4894730" y="1114507"/>
                  <a:pt x="4402830" y="1082261"/>
                </a:cubicBezTo>
                <a:moveTo>
                  <a:pt x="5662142" y="1780254"/>
                </a:moveTo>
                <a:cubicBezTo>
                  <a:pt x="5753786" y="1805088"/>
                  <a:pt x="6336921" y="1836241"/>
                  <a:pt x="6479129" y="1845561"/>
                </a:cubicBezTo>
                <a:lnTo>
                  <a:pt x="6930187" y="1875142"/>
                </a:lnTo>
                <a:moveTo>
                  <a:pt x="5658194" y="2262267"/>
                </a:moveTo>
                <a:cubicBezTo>
                  <a:pt x="5209165" y="2055926"/>
                  <a:pt x="4912304" y="1707105"/>
                  <a:pt x="4366723" y="1631817"/>
                </a:cubicBezTo>
                <a:moveTo>
                  <a:pt x="5658194" y="2262267"/>
                </a:moveTo>
                <a:cubicBezTo>
                  <a:pt x="5740618" y="2281333"/>
                  <a:pt x="5827447" y="2289821"/>
                  <a:pt x="5911822" y="2295353"/>
                </a:cubicBezTo>
                <a:lnTo>
                  <a:pt x="6898297" y="2360015"/>
                </a:lnTo>
                <a:lnTo>
                  <a:pt x="6930156" y="1875126"/>
                </a:lnTo>
                <a:moveTo>
                  <a:pt x="5455005" y="4698958"/>
                </a:moveTo>
                <a:lnTo>
                  <a:pt x="5486817" y="4214524"/>
                </a:lnTo>
                <a:lnTo>
                  <a:pt x="6771003" y="4298708"/>
                </a:lnTo>
                <a:moveTo>
                  <a:pt x="5455005" y="4698958"/>
                </a:moveTo>
                <a:lnTo>
                  <a:pt x="6739176" y="4783142"/>
                </a:lnTo>
                <a:moveTo>
                  <a:pt x="5455005" y="4698958"/>
                </a:moveTo>
                <a:lnTo>
                  <a:pt x="5254428" y="4685802"/>
                </a:lnTo>
                <a:cubicBezTo>
                  <a:pt x="4865467" y="4660308"/>
                  <a:pt x="4587831" y="4887224"/>
                  <a:pt x="4154818" y="4858838"/>
                </a:cubicBezTo>
                <a:moveTo>
                  <a:pt x="5455005" y="4698958"/>
                </a:moveTo>
                <a:lnTo>
                  <a:pt x="5391335" y="5668281"/>
                </a:lnTo>
                <a:lnTo>
                  <a:pt x="4107179" y="5584097"/>
                </a:lnTo>
                <a:moveTo>
                  <a:pt x="5200355" y="8576736"/>
                </a:moveTo>
                <a:lnTo>
                  <a:pt x="5168543" y="9061169"/>
                </a:lnTo>
                <a:lnTo>
                  <a:pt x="3884356" y="8976986"/>
                </a:lnTo>
                <a:moveTo>
                  <a:pt x="5200355" y="8576736"/>
                </a:moveTo>
                <a:lnTo>
                  <a:pt x="5232197" y="8091847"/>
                </a:lnTo>
                <a:moveTo>
                  <a:pt x="5200355" y="8576736"/>
                </a:moveTo>
                <a:lnTo>
                  <a:pt x="3916184" y="8492568"/>
                </a:lnTo>
                <a:moveTo>
                  <a:pt x="5658225" y="2262283"/>
                </a:moveTo>
                <a:cubicBezTo>
                  <a:pt x="5658194" y="2449087"/>
                  <a:pt x="5652908" y="2602602"/>
                  <a:pt x="5637521" y="2763912"/>
                </a:cubicBezTo>
                <a:lnTo>
                  <a:pt x="6866517" y="2844465"/>
                </a:lnTo>
                <a:moveTo>
                  <a:pt x="5592415" y="3263937"/>
                </a:moveTo>
                <a:cubicBezTo>
                  <a:pt x="5613214" y="3060614"/>
                  <a:pt x="5631338" y="2930534"/>
                  <a:pt x="5637489" y="2763896"/>
                </a:cubicBezTo>
                <a:lnTo>
                  <a:pt x="4298128" y="2676113"/>
                </a:lnTo>
                <a:moveTo>
                  <a:pt x="5592415" y="3263937"/>
                </a:moveTo>
                <a:cubicBezTo>
                  <a:pt x="5579797" y="3456022"/>
                  <a:pt x="5550314" y="3580648"/>
                  <a:pt x="5533291" y="3742335"/>
                </a:cubicBezTo>
                <a:moveTo>
                  <a:pt x="5592415" y="3263937"/>
                </a:moveTo>
                <a:cubicBezTo>
                  <a:pt x="5662882" y="3261957"/>
                  <a:pt x="5679433" y="3253171"/>
                  <a:pt x="5848183" y="3264220"/>
                </a:cubicBezTo>
                <a:lnTo>
                  <a:pt x="6834674" y="3328898"/>
                </a:lnTo>
                <a:moveTo>
                  <a:pt x="5709640" y="821626"/>
                </a:moveTo>
                <a:lnTo>
                  <a:pt x="5677828" y="1306056"/>
                </a:lnTo>
                <a:lnTo>
                  <a:pt x="5622638" y="1302440"/>
                </a:lnTo>
                <a:cubicBezTo>
                  <a:pt x="5587616" y="1300143"/>
                  <a:pt x="5549244" y="1283984"/>
                  <a:pt x="5501527" y="1263917"/>
                </a:cubicBezTo>
                <a:cubicBezTo>
                  <a:pt x="5167678" y="1064647"/>
                  <a:pt x="4864665" y="809525"/>
                  <a:pt x="4424446" y="752908"/>
                </a:cubicBezTo>
                <a:moveTo>
                  <a:pt x="5709640" y="821626"/>
                </a:moveTo>
                <a:lnTo>
                  <a:pt x="5741483" y="336712"/>
                </a:lnTo>
                <a:moveTo>
                  <a:pt x="5709640" y="821626"/>
                </a:moveTo>
                <a:lnTo>
                  <a:pt x="5509063" y="808462"/>
                </a:lnTo>
                <a:cubicBezTo>
                  <a:pt x="5146092" y="784671"/>
                  <a:pt x="4841081" y="519528"/>
                  <a:pt x="4441500" y="493335"/>
                </a:cubicBezTo>
                <a:moveTo>
                  <a:pt x="5136715" y="9546074"/>
                </a:moveTo>
                <a:lnTo>
                  <a:pt x="5168575" y="9061169"/>
                </a:lnTo>
                <a:moveTo>
                  <a:pt x="5136715" y="9546074"/>
                </a:moveTo>
                <a:lnTo>
                  <a:pt x="6420871" y="9630242"/>
                </a:lnTo>
                <a:lnTo>
                  <a:pt x="6452730" y="9145353"/>
                </a:lnTo>
                <a:lnTo>
                  <a:pt x="7736885" y="9229521"/>
                </a:lnTo>
                <a:moveTo>
                  <a:pt x="5136715" y="9546074"/>
                </a:moveTo>
                <a:lnTo>
                  <a:pt x="3852544" y="9461890"/>
                </a:lnTo>
                <a:moveTo>
                  <a:pt x="5486801" y="4214981"/>
                </a:moveTo>
                <a:lnTo>
                  <a:pt x="5491773" y="4139080"/>
                </a:lnTo>
                <a:cubicBezTo>
                  <a:pt x="5493283" y="4116132"/>
                  <a:pt x="5495548" y="4089931"/>
                  <a:pt x="5497892" y="4062315"/>
                </a:cubicBezTo>
                <a:cubicBezTo>
                  <a:pt x="5510605" y="3957761"/>
                  <a:pt x="5519840" y="3817198"/>
                  <a:pt x="5533276" y="3742335"/>
                </a:cubicBezTo>
                <a:cubicBezTo>
                  <a:pt x="5084168" y="3869569"/>
                  <a:pt x="4743051" y="4283855"/>
                  <a:pt x="4193442" y="4269945"/>
                </a:cubicBezTo>
                <a:moveTo>
                  <a:pt x="5327633" y="6638091"/>
                </a:moveTo>
                <a:lnTo>
                  <a:pt x="5359476" y="6153186"/>
                </a:lnTo>
                <a:lnTo>
                  <a:pt x="6643678" y="6237369"/>
                </a:lnTo>
                <a:moveTo>
                  <a:pt x="5327633" y="6638091"/>
                </a:moveTo>
                <a:lnTo>
                  <a:pt x="5295821" y="7122508"/>
                </a:lnTo>
                <a:moveTo>
                  <a:pt x="5327633" y="6638091"/>
                </a:moveTo>
                <a:lnTo>
                  <a:pt x="6611819" y="6722259"/>
                </a:lnTo>
                <a:moveTo>
                  <a:pt x="5327633" y="6638091"/>
                </a:moveTo>
                <a:lnTo>
                  <a:pt x="4043446" y="6553891"/>
                </a:lnTo>
                <a:moveTo>
                  <a:pt x="5295821" y="7122508"/>
                </a:moveTo>
                <a:lnTo>
                  <a:pt x="4011634" y="7038325"/>
                </a:lnTo>
                <a:moveTo>
                  <a:pt x="5295821" y="7122508"/>
                </a:moveTo>
                <a:lnTo>
                  <a:pt x="6579992" y="7206692"/>
                </a:lnTo>
                <a:moveTo>
                  <a:pt x="5391303" y="5668281"/>
                </a:moveTo>
                <a:lnTo>
                  <a:pt x="5359460" y="6153186"/>
                </a:lnTo>
                <a:lnTo>
                  <a:pt x="4075304" y="6069002"/>
                </a:lnTo>
                <a:moveTo>
                  <a:pt x="5676774" y="1305997"/>
                </a:moveTo>
                <a:cubicBezTo>
                  <a:pt x="5669647" y="1463154"/>
                  <a:pt x="5653285" y="1622999"/>
                  <a:pt x="5661592" y="1780223"/>
                </a:cubicBezTo>
                <a:moveTo>
                  <a:pt x="5295774" y="7122508"/>
                </a:moveTo>
                <a:lnTo>
                  <a:pt x="5263931" y="7607414"/>
                </a:lnTo>
                <a:lnTo>
                  <a:pt x="3979775" y="7523230"/>
                </a:lnTo>
                <a:moveTo>
                  <a:pt x="1666131" y="3477068"/>
                </a:moveTo>
                <a:lnTo>
                  <a:pt x="1697943" y="2992651"/>
                </a:lnTo>
                <a:moveTo>
                  <a:pt x="1666131" y="3477068"/>
                </a:moveTo>
                <a:lnTo>
                  <a:pt x="1634272" y="3961989"/>
                </a:lnTo>
                <a:moveTo>
                  <a:pt x="1666131" y="3477068"/>
                </a:moveTo>
                <a:lnTo>
                  <a:pt x="381954" y="3392900"/>
                </a:lnTo>
                <a:moveTo>
                  <a:pt x="1666131" y="3477068"/>
                </a:moveTo>
                <a:lnTo>
                  <a:pt x="2652607" y="3541731"/>
                </a:lnTo>
                <a:cubicBezTo>
                  <a:pt x="2687093" y="3543994"/>
                  <a:pt x="2872724" y="3549574"/>
                  <a:pt x="2934679" y="3571987"/>
                </a:cubicBezTo>
                <a:moveTo>
                  <a:pt x="1697943" y="2992651"/>
                </a:moveTo>
                <a:lnTo>
                  <a:pt x="1729801" y="2507730"/>
                </a:lnTo>
                <a:moveTo>
                  <a:pt x="1697943" y="2992651"/>
                </a:moveTo>
                <a:lnTo>
                  <a:pt x="403160" y="2907760"/>
                </a:lnTo>
                <a:moveTo>
                  <a:pt x="1602492" y="4446422"/>
                </a:moveTo>
                <a:lnTo>
                  <a:pt x="1634304" y="3961989"/>
                </a:lnTo>
                <a:moveTo>
                  <a:pt x="1602492" y="4446422"/>
                </a:moveTo>
                <a:lnTo>
                  <a:pt x="2886663" y="4530606"/>
                </a:lnTo>
                <a:moveTo>
                  <a:pt x="1602492" y="4446422"/>
                </a:moveTo>
                <a:lnTo>
                  <a:pt x="318315" y="4362239"/>
                </a:lnTo>
                <a:moveTo>
                  <a:pt x="1347818" y="8324201"/>
                </a:moveTo>
                <a:lnTo>
                  <a:pt x="1379664" y="7839312"/>
                </a:lnTo>
                <a:moveTo>
                  <a:pt x="1347818" y="8324201"/>
                </a:moveTo>
                <a:lnTo>
                  <a:pt x="2631997" y="8408384"/>
                </a:lnTo>
                <a:lnTo>
                  <a:pt x="2663840" y="7923495"/>
                </a:lnTo>
                <a:moveTo>
                  <a:pt x="1347818" y="8324201"/>
                </a:moveTo>
                <a:lnTo>
                  <a:pt x="63640" y="8240033"/>
                </a:lnTo>
                <a:moveTo>
                  <a:pt x="1411411" y="7354878"/>
                </a:moveTo>
                <a:lnTo>
                  <a:pt x="1443258" y="6869973"/>
                </a:lnTo>
                <a:lnTo>
                  <a:pt x="2727447" y="6954157"/>
                </a:lnTo>
                <a:moveTo>
                  <a:pt x="1411411" y="7354878"/>
                </a:moveTo>
                <a:lnTo>
                  <a:pt x="1379615" y="7839312"/>
                </a:lnTo>
                <a:moveTo>
                  <a:pt x="1411411" y="7354878"/>
                </a:moveTo>
                <a:lnTo>
                  <a:pt x="127234" y="7270695"/>
                </a:lnTo>
                <a:moveTo>
                  <a:pt x="1793456" y="1538423"/>
                </a:moveTo>
                <a:lnTo>
                  <a:pt x="1825315" y="1053519"/>
                </a:lnTo>
                <a:moveTo>
                  <a:pt x="1793456" y="1538423"/>
                </a:moveTo>
                <a:lnTo>
                  <a:pt x="509285" y="1454241"/>
                </a:lnTo>
                <a:moveTo>
                  <a:pt x="1793456" y="1538423"/>
                </a:moveTo>
                <a:lnTo>
                  <a:pt x="2244530" y="1567988"/>
                </a:lnTo>
                <a:cubicBezTo>
                  <a:pt x="2787908" y="1603604"/>
                  <a:pt x="2932571" y="1632399"/>
                  <a:pt x="3063877" y="1613223"/>
                </a:cubicBezTo>
                <a:moveTo>
                  <a:pt x="1825315" y="1053519"/>
                </a:moveTo>
                <a:lnTo>
                  <a:pt x="1857095" y="569070"/>
                </a:lnTo>
                <a:moveTo>
                  <a:pt x="1825315" y="1053519"/>
                </a:moveTo>
                <a:lnTo>
                  <a:pt x="541117" y="969340"/>
                </a:lnTo>
                <a:moveTo>
                  <a:pt x="1315958" y="8808634"/>
                </a:moveTo>
                <a:lnTo>
                  <a:pt x="1284111" y="9293539"/>
                </a:lnTo>
                <a:lnTo>
                  <a:pt x="2568295" y="9377707"/>
                </a:lnTo>
                <a:moveTo>
                  <a:pt x="1538806" y="5415746"/>
                </a:moveTo>
                <a:lnTo>
                  <a:pt x="1570617" y="4931312"/>
                </a:lnTo>
                <a:moveTo>
                  <a:pt x="1538806" y="5415746"/>
                </a:moveTo>
                <a:lnTo>
                  <a:pt x="1506961" y="5900650"/>
                </a:lnTo>
                <a:moveTo>
                  <a:pt x="1538806" y="5415746"/>
                </a:moveTo>
                <a:lnTo>
                  <a:pt x="254622" y="5331577"/>
                </a:lnTo>
                <a:moveTo>
                  <a:pt x="1570617" y="4931312"/>
                </a:moveTo>
                <a:lnTo>
                  <a:pt x="1602461" y="4446407"/>
                </a:lnTo>
                <a:moveTo>
                  <a:pt x="1570617" y="4931312"/>
                </a:moveTo>
                <a:lnTo>
                  <a:pt x="286431" y="4847128"/>
                </a:lnTo>
                <a:moveTo>
                  <a:pt x="1729786" y="2507761"/>
                </a:moveTo>
                <a:lnTo>
                  <a:pt x="1761597" y="2023328"/>
                </a:lnTo>
                <a:cubicBezTo>
                  <a:pt x="1979166" y="2037584"/>
                  <a:pt x="2196718" y="2051840"/>
                  <a:pt x="2414287" y="2066111"/>
                </a:cubicBezTo>
                <a:cubicBezTo>
                  <a:pt x="2523063" y="2073247"/>
                  <a:pt x="2631855" y="2080367"/>
                  <a:pt x="2740663" y="2087031"/>
                </a:cubicBezTo>
                <a:cubicBezTo>
                  <a:pt x="2822914" y="2092423"/>
                  <a:pt x="2923603" y="2109382"/>
                  <a:pt x="3004360" y="2088776"/>
                </a:cubicBezTo>
                <a:moveTo>
                  <a:pt x="1729786" y="2507761"/>
                </a:moveTo>
                <a:lnTo>
                  <a:pt x="2958782" y="2588330"/>
                </a:lnTo>
                <a:moveTo>
                  <a:pt x="1729786" y="2507761"/>
                </a:moveTo>
                <a:lnTo>
                  <a:pt x="434989" y="2422886"/>
                </a:lnTo>
                <a:moveTo>
                  <a:pt x="1475135" y="6385540"/>
                </a:moveTo>
                <a:lnTo>
                  <a:pt x="1443319" y="6869973"/>
                </a:lnTo>
                <a:lnTo>
                  <a:pt x="159142" y="6785789"/>
                </a:lnTo>
                <a:moveTo>
                  <a:pt x="1475135" y="6385540"/>
                </a:moveTo>
                <a:lnTo>
                  <a:pt x="1506961" y="5900650"/>
                </a:lnTo>
                <a:moveTo>
                  <a:pt x="1475135" y="6385540"/>
                </a:moveTo>
                <a:lnTo>
                  <a:pt x="190938" y="6301372"/>
                </a:lnTo>
                <a:moveTo>
                  <a:pt x="1857095" y="569070"/>
                </a:moveTo>
                <a:lnTo>
                  <a:pt x="1888954" y="84169"/>
                </a:lnTo>
                <a:moveTo>
                  <a:pt x="1857095" y="569070"/>
                </a:moveTo>
                <a:lnTo>
                  <a:pt x="3141266" y="653251"/>
                </a:lnTo>
                <a:lnTo>
                  <a:pt x="3173109" y="168350"/>
                </a:lnTo>
                <a:moveTo>
                  <a:pt x="1857095" y="569070"/>
                </a:moveTo>
                <a:lnTo>
                  <a:pt x="572924" y="484891"/>
                </a:lnTo>
                <a:moveTo>
                  <a:pt x="1379615" y="7839312"/>
                </a:moveTo>
                <a:lnTo>
                  <a:pt x="95437" y="7755128"/>
                </a:lnTo>
                <a:moveTo>
                  <a:pt x="1379615" y="7839312"/>
                </a:moveTo>
                <a:lnTo>
                  <a:pt x="2663793" y="7923495"/>
                </a:lnTo>
                <a:moveTo>
                  <a:pt x="1634272" y="3961989"/>
                </a:moveTo>
                <a:lnTo>
                  <a:pt x="2918475" y="4046173"/>
                </a:lnTo>
                <a:moveTo>
                  <a:pt x="1634272" y="3961989"/>
                </a:moveTo>
                <a:lnTo>
                  <a:pt x="350101" y="3877805"/>
                </a:lnTo>
                <a:moveTo>
                  <a:pt x="1506961" y="5900650"/>
                </a:moveTo>
                <a:lnTo>
                  <a:pt x="222779" y="5816467"/>
                </a:lnTo>
                <a:moveTo>
                  <a:pt x="1506961" y="5900650"/>
                </a:moveTo>
                <a:lnTo>
                  <a:pt x="2791118" y="5984834"/>
                </a:lnTo>
                <a:moveTo>
                  <a:pt x="1793441" y="1538407"/>
                </a:moveTo>
                <a:lnTo>
                  <a:pt x="1761597" y="2023296"/>
                </a:lnTo>
                <a:lnTo>
                  <a:pt x="477423" y="1939128"/>
                </a:lnTo>
                <a:moveTo>
                  <a:pt x="1347747" y="8324185"/>
                </a:moveTo>
                <a:lnTo>
                  <a:pt x="1315932" y="8808618"/>
                </a:lnTo>
                <a:lnTo>
                  <a:pt x="31754" y="8724434"/>
                </a:lnTo>
                <a:moveTo>
                  <a:pt x="2918475" y="4046173"/>
                </a:moveTo>
                <a:lnTo>
                  <a:pt x="2886663" y="4530606"/>
                </a:lnTo>
                <a:moveTo>
                  <a:pt x="2918475" y="4046173"/>
                </a:moveTo>
                <a:lnTo>
                  <a:pt x="2923446" y="3970272"/>
                </a:lnTo>
                <a:cubicBezTo>
                  <a:pt x="2936268" y="3774918"/>
                  <a:pt x="2932414" y="3696062"/>
                  <a:pt x="2934176" y="3571956"/>
                </a:cubicBezTo>
                <a:moveTo>
                  <a:pt x="2886663" y="4530606"/>
                </a:moveTo>
                <a:lnTo>
                  <a:pt x="3087240" y="4543731"/>
                </a:lnTo>
                <a:cubicBezTo>
                  <a:pt x="3444909" y="4575182"/>
                  <a:pt x="3702171" y="4829179"/>
                  <a:pt x="4154818" y="4858838"/>
                </a:cubicBezTo>
                <a:moveTo>
                  <a:pt x="2958782" y="2588330"/>
                </a:moveTo>
                <a:cubicBezTo>
                  <a:pt x="2969276" y="2428560"/>
                  <a:pt x="2978479" y="2288484"/>
                  <a:pt x="3003841" y="2088289"/>
                </a:cubicBezTo>
                <a:cubicBezTo>
                  <a:pt x="3030382" y="1960174"/>
                  <a:pt x="3042701" y="1772757"/>
                  <a:pt x="3062980" y="1609875"/>
                </a:cubicBezTo>
                <a:moveTo>
                  <a:pt x="2958782" y="2588330"/>
                </a:moveTo>
                <a:cubicBezTo>
                  <a:pt x="2949578" y="2728406"/>
                  <a:pt x="2947659" y="2895295"/>
                  <a:pt x="2938062" y="3089943"/>
                </a:cubicBezTo>
                <a:cubicBezTo>
                  <a:pt x="3368746" y="3299789"/>
                  <a:pt x="3715591" y="3698954"/>
                  <a:pt x="4229533" y="3720409"/>
                </a:cubicBezTo>
                <a:lnTo>
                  <a:pt x="4298128" y="2676113"/>
                </a:lnTo>
                <a:moveTo>
                  <a:pt x="2958782" y="2588330"/>
                </a:moveTo>
                <a:lnTo>
                  <a:pt x="4298128" y="2676113"/>
                </a:lnTo>
                <a:moveTo>
                  <a:pt x="3141329" y="653273"/>
                </a:moveTo>
                <a:lnTo>
                  <a:pt x="3109502" y="1137705"/>
                </a:lnTo>
                <a:moveTo>
                  <a:pt x="3109502" y="1137705"/>
                </a:moveTo>
                <a:cubicBezTo>
                  <a:pt x="3109502" y="1137705"/>
                  <a:pt x="3091236" y="1415528"/>
                  <a:pt x="3063043" y="1609891"/>
                </a:cubicBezTo>
                <a:cubicBezTo>
                  <a:pt x="3310976" y="1583784"/>
                  <a:pt x="3894456" y="1048938"/>
                  <a:pt x="4402830" y="1082261"/>
                </a:cubicBezTo>
                <a:moveTo>
                  <a:pt x="3109502" y="1137705"/>
                </a:moveTo>
                <a:lnTo>
                  <a:pt x="1825331" y="1053526"/>
                </a:lnTo>
                <a:moveTo>
                  <a:pt x="2938125" y="3089943"/>
                </a:moveTo>
                <a:cubicBezTo>
                  <a:pt x="2947360" y="3225115"/>
                  <a:pt x="2935057" y="3412516"/>
                  <a:pt x="2934176" y="3571956"/>
                </a:cubicBezTo>
                <a:moveTo>
                  <a:pt x="2934176" y="3571956"/>
                </a:moveTo>
                <a:cubicBezTo>
                  <a:pt x="3410281" y="3796089"/>
                  <a:pt x="3681781" y="4214289"/>
                  <a:pt x="4193489" y="4269945"/>
                </a:cubicBezTo>
                <a:lnTo>
                  <a:pt x="4229580" y="3720393"/>
                </a:lnTo>
                <a:moveTo>
                  <a:pt x="2854836" y="5015496"/>
                </a:moveTo>
                <a:lnTo>
                  <a:pt x="2823024" y="5499929"/>
                </a:lnTo>
                <a:moveTo>
                  <a:pt x="2854836" y="5015496"/>
                </a:moveTo>
                <a:lnTo>
                  <a:pt x="2886695" y="4530606"/>
                </a:lnTo>
                <a:moveTo>
                  <a:pt x="2854836" y="5015496"/>
                </a:moveTo>
                <a:lnTo>
                  <a:pt x="1570665" y="4931328"/>
                </a:lnTo>
                <a:moveTo>
                  <a:pt x="2823024" y="5499929"/>
                </a:moveTo>
                <a:lnTo>
                  <a:pt x="4107179" y="5584097"/>
                </a:lnTo>
                <a:moveTo>
                  <a:pt x="2823024" y="5499929"/>
                </a:moveTo>
                <a:lnTo>
                  <a:pt x="1538853" y="5415746"/>
                </a:lnTo>
                <a:moveTo>
                  <a:pt x="2663793" y="7923495"/>
                </a:moveTo>
                <a:lnTo>
                  <a:pt x="2695604" y="7439062"/>
                </a:lnTo>
                <a:lnTo>
                  <a:pt x="3979775" y="7523230"/>
                </a:lnTo>
                <a:moveTo>
                  <a:pt x="2663793" y="7923495"/>
                </a:moveTo>
                <a:lnTo>
                  <a:pt x="3947948" y="8007663"/>
                </a:lnTo>
                <a:lnTo>
                  <a:pt x="3979775" y="7523230"/>
                </a:lnTo>
                <a:moveTo>
                  <a:pt x="2568295" y="9377707"/>
                </a:moveTo>
                <a:lnTo>
                  <a:pt x="2600138" y="8892802"/>
                </a:lnTo>
                <a:lnTo>
                  <a:pt x="3884340" y="8976986"/>
                </a:lnTo>
                <a:lnTo>
                  <a:pt x="3916152" y="8492552"/>
                </a:lnTo>
                <a:moveTo>
                  <a:pt x="2568295" y="9377707"/>
                </a:moveTo>
                <a:lnTo>
                  <a:pt x="3852450" y="9461875"/>
                </a:lnTo>
                <a:lnTo>
                  <a:pt x="3884293" y="8976986"/>
                </a:lnTo>
                <a:moveTo>
                  <a:pt x="2822961" y="5499929"/>
                </a:moveTo>
                <a:lnTo>
                  <a:pt x="2791118" y="5984834"/>
                </a:lnTo>
                <a:moveTo>
                  <a:pt x="2791118" y="5984834"/>
                </a:moveTo>
                <a:lnTo>
                  <a:pt x="2759275" y="6469723"/>
                </a:lnTo>
                <a:moveTo>
                  <a:pt x="2791118" y="5984834"/>
                </a:moveTo>
                <a:lnTo>
                  <a:pt x="4075304" y="6069002"/>
                </a:lnTo>
                <a:moveTo>
                  <a:pt x="2759275" y="6469723"/>
                </a:moveTo>
                <a:lnTo>
                  <a:pt x="2727447" y="6954157"/>
                </a:lnTo>
                <a:moveTo>
                  <a:pt x="2759275" y="6469723"/>
                </a:moveTo>
                <a:lnTo>
                  <a:pt x="1475099" y="6385555"/>
                </a:lnTo>
                <a:moveTo>
                  <a:pt x="2759275" y="6469723"/>
                </a:moveTo>
                <a:lnTo>
                  <a:pt x="4043446" y="6553891"/>
                </a:lnTo>
                <a:moveTo>
                  <a:pt x="2727479" y="6954157"/>
                </a:moveTo>
                <a:lnTo>
                  <a:pt x="2695636" y="7439062"/>
                </a:lnTo>
                <a:lnTo>
                  <a:pt x="1411460" y="7354878"/>
                </a:lnTo>
                <a:moveTo>
                  <a:pt x="2727447" y="6954157"/>
                </a:moveTo>
                <a:lnTo>
                  <a:pt x="4011634" y="7038325"/>
                </a:lnTo>
                <a:moveTo>
                  <a:pt x="4298128" y="2676113"/>
                </a:moveTo>
                <a:lnTo>
                  <a:pt x="4366723" y="1631817"/>
                </a:lnTo>
                <a:moveTo>
                  <a:pt x="4043446" y="6553891"/>
                </a:moveTo>
                <a:lnTo>
                  <a:pt x="4011634" y="7038325"/>
                </a:lnTo>
                <a:moveTo>
                  <a:pt x="4043446" y="6553891"/>
                </a:moveTo>
                <a:lnTo>
                  <a:pt x="4075304" y="6069002"/>
                </a:lnTo>
                <a:moveTo>
                  <a:pt x="4011634" y="7038325"/>
                </a:moveTo>
                <a:lnTo>
                  <a:pt x="3979775" y="7523230"/>
                </a:lnTo>
                <a:moveTo>
                  <a:pt x="4457312" y="252523"/>
                </a:moveTo>
                <a:lnTo>
                  <a:pt x="4441500" y="493335"/>
                </a:lnTo>
                <a:moveTo>
                  <a:pt x="4441500" y="493335"/>
                </a:moveTo>
                <a:cubicBezTo>
                  <a:pt x="3970288" y="462446"/>
                  <a:pt x="3762176" y="693947"/>
                  <a:pt x="3341890" y="666397"/>
                </a:cubicBezTo>
                <a:lnTo>
                  <a:pt x="3141314" y="653248"/>
                </a:lnTo>
                <a:moveTo>
                  <a:pt x="4193505" y="4269945"/>
                </a:moveTo>
                <a:lnTo>
                  <a:pt x="4171904" y="4598837"/>
                </a:lnTo>
                <a:moveTo>
                  <a:pt x="4402830" y="1082261"/>
                </a:moveTo>
                <a:lnTo>
                  <a:pt x="4424415" y="753372"/>
                </a:lnTo>
                <a:cubicBezTo>
                  <a:pt x="4004680" y="725857"/>
                  <a:pt x="3684204" y="972102"/>
                  <a:pt x="3289752" y="1119395"/>
                </a:cubicBezTo>
                <a:cubicBezTo>
                  <a:pt x="3220355" y="1145431"/>
                  <a:pt x="3109439" y="1138162"/>
                  <a:pt x="3109439" y="1138162"/>
                </a:cubicBezTo>
                <a:moveTo>
                  <a:pt x="4366723" y="1631817"/>
                </a:moveTo>
                <a:cubicBezTo>
                  <a:pt x="3854086" y="1590684"/>
                  <a:pt x="3461082" y="1894286"/>
                  <a:pt x="3003872" y="2088273"/>
                </a:cubicBezTo>
                <a:moveTo>
                  <a:pt x="4402766" y="1082272"/>
                </a:moveTo>
                <a:lnTo>
                  <a:pt x="4366676" y="1631817"/>
                </a:lnTo>
                <a:moveTo>
                  <a:pt x="4107148" y="5584097"/>
                </a:moveTo>
                <a:lnTo>
                  <a:pt x="4075304" y="6069002"/>
                </a:lnTo>
                <a:moveTo>
                  <a:pt x="4136254" y="5141363"/>
                </a:moveTo>
                <a:lnTo>
                  <a:pt x="4107179" y="5584097"/>
                </a:lnTo>
                <a:moveTo>
                  <a:pt x="4136254" y="5141363"/>
                </a:moveTo>
                <a:lnTo>
                  <a:pt x="4154818" y="4858838"/>
                </a:lnTo>
                <a:moveTo>
                  <a:pt x="4136254" y="5141363"/>
                </a:moveTo>
                <a:cubicBezTo>
                  <a:pt x="4432360" y="5160774"/>
                  <a:pt x="4743963" y="5139303"/>
                  <a:pt x="4901023" y="5149598"/>
                </a:cubicBezTo>
                <a:lnTo>
                  <a:pt x="5423193" y="5183816"/>
                </a:lnTo>
                <a:moveTo>
                  <a:pt x="4136254" y="5141363"/>
                </a:moveTo>
                <a:cubicBezTo>
                  <a:pt x="3793987" y="5118934"/>
                  <a:pt x="3618063" y="5071136"/>
                  <a:pt x="3509586" y="5059317"/>
                </a:cubicBezTo>
                <a:cubicBezTo>
                  <a:pt x="3292143" y="5035174"/>
                  <a:pt x="3072923" y="5029751"/>
                  <a:pt x="2854836" y="5015464"/>
                </a:cubicBezTo>
                <a:moveTo>
                  <a:pt x="3948026" y="8007663"/>
                </a:moveTo>
                <a:lnTo>
                  <a:pt x="3916184" y="8492568"/>
                </a:lnTo>
                <a:moveTo>
                  <a:pt x="3916184" y="8492568"/>
                </a:moveTo>
                <a:lnTo>
                  <a:pt x="2632012" y="8408369"/>
                </a:lnTo>
                <a:lnTo>
                  <a:pt x="2600201" y="8892802"/>
                </a:lnTo>
                <a:lnTo>
                  <a:pt x="1316024" y="8808634"/>
                </a:lnTo>
                <a:moveTo>
                  <a:pt x="4154818" y="4858838"/>
                </a:moveTo>
                <a:lnTo>
                  <a:pt x="4171888" y="4598837"/>
                </a:lnTo>
                <a:moveTo>
                  <a:pt x="4441469" y="493350"/>
                </a:moveTo>
                <a:lnTo>
                  <a:pt x="4424383" y="753369"/>
                </a:lnTo>
                <a:moveTo>
                  <a:pt x="4171888" y="4598837"/>
                </a:moveTo>
                <a:cubicBezTo>
                  <a:pt x="4665409" y="4655184"/>
                  <a:pt x="5160991" y="4193149"/>
                  <a:pt x="5486817" y="4214493"/>
                </a:cubicBezTo>
                <a:moveTo>
                  <a:pt x="4171888" y="4598837"/>
                </a:moveTo>
                <a:cubicBezTo>
                  <a:pt x="3763308" y="4596055"/>
                  <a:pt x="3251726" y="4067989"/>
                  <a:pt x="2918475" y="4046141"/>
                </a:cubicBezTo>
                <a:moveTo>
                  <a:pt x="6516337" y="8176030"/>
                </a:moveTo>
                <a:lnTo>
                  <a:pt x="6484494" y="8660920"/>
                </a:lnTo>
                <a:lnTo>
                  <a:pt x="5200323" y="8576751"/>
                </a:lnTo>
                <a:moveTo>
                  <a:pt x="6516337" y="8176030"/>
                </a:moveTo>
                <a:lnTo>
                  <a:pt x="6548180" y="7691597"/>
                </a:lnTo>
                <a:lnTo>
                  <a:pt x="7832335" y="7775781"/>
                </a:lnTo>
                <a:moveTo>
                  <a:pt x="6516337" y="8176030"/>
                </a:moveTo>
                <a:lnTo>
                  <a:pt x="5232182" y="8091847"/>
                </a:lnTo>
                <a:moveTo>
                  <a:pt x="6516337" y="8176030"/>
                </a:moveTo>
                <a:lnTo>
                  <a:pt x="7800540" y="8260199"/>
                </a:lnTo>
                <a:moveTo>
                  <a:pt x="6484447" y="8660904"/>
                </a:moveTo>
                <a:lnTo>
                  <a:pt x="6452635" y="9145338"/>
                </a:lnTo>
                <a:lnTo>
                  <a:pt x="5168449" y="9061154"/>
                </a:lnTo>
                <a:moveTo>
                  <a:pt x="6707364" y="5268031"/>
                </a:moveTo>
                <a:lnTo>
                  <a:pt x="6675537" y="5752465"/>
                </a:lnTo>
                <a:moveTo>
                  <a:pt x="6675537" y="5752465"/>
                </a:moveTo>
                <a:lnTo>
                  <a:pt x="6643678" y="6237369"/>
                </a:lnTo>
                <a:moveTo>
                  <a:pt x="6675537" y="5752465"/>
                </a:moveTo>
                <a:lnTo>
                  <a:pt x="7959724" y="5836648"/>
                </a:lnTo>
                <a:moveTo>
                  <a:pt x="6675537" y="5752465"/>
                </a:moveTo>
                <a:lnTo>
                  <a:pt x="5391366" y="5668297"/>
                </a:lnTo>
                <a:moveTo>
                  <a:pt x="6739145" y="4783126"/>
                </a:moveTo>
                <a:lnTo>
                  <a:pt x="6707301" y="5268031"/>
                </a:lnTo>
                <a:lnTo>
                  <a:pt x="5423115" y="5183847"/>
                </a:lnTo>
                <a:moveTo>
                  <a:pt x="6771003" y="4298708"/>
                </a:moveTo>
                <a:lnTo>
                  <a:pt x="6802846" y="3813819"/>
                </a:lnTo>
                <a:lnTo>
                  <a:pt x="8087017" y="3897971"/>
                </a:lnTo>
                <a:lnTo>
                  <a:pt x="8118845" y="3413538"/>
                </a:lnTo>
                <a:moveTo>
                  <a:pt x="6771003" y="4298708"/>
                </a:moveTo>
                <a:lnTo>
                  <a:pt x="6739176" y="4783142"/>
                </a:lnTo>
                <a:moveTo>
                  <a:pt x="6962031" y="1390234"/>
                </a:moveTo>
                <a:lnTo>
                  <a:pt x="6930187" y="1875142"/>
                </a:lnTo>
                <a:moveTo>
                  <a:pt x="6962031" y="1390234"/>
                </a:moveTo>
                <a:lnTo>
                  <a:pt x="6993842" y="905794"/>
                </a:lnTo>
                <a:moveTo>
                  <a:pt x="6962031" y="1390234"/>
                </a:moveTo>
                <a:lnTo>
                  <a:pt x="5677875" y="1306052"/>
                </a:lnTo>
                <a:moveTo>
                  <a:pt x="6962031" y="1390234"/>
                </a:moveTo>
                <a:lnTo>
                  <a:pt x="8246217" y="1474414"/>
                </a:lnTo>
                <a:moveTo>
                  <a:pt x="6930187" y="1875142"/>
                </a:moveTo>
                <a:lnTo>
                  <a:pt x="8214374" y="1959310"/>
                </a:lnTo>
                <a:lnTo>
                  <a:pt x="8246217" y="1474414"/>
                </a:lnTo>
                <a:moveTo>
                  <a:pt x="7025685" y="420894"/>
                </a:moveTo>
                <a:lnTo>
                  <a:pt x="6993842" y="905794"/>
                </a:lnTo>
                <a:moveTo>
                  <a:pt x="6993842" y="905794"/>
                </a:moveTo>
                <a:lnTo>
                  <a:pt x="5709671" y="821615"/>
                </a:lnTo>
                <a:moveTo>
                  <a:pt x="6993842" y="905794"/>
                </a:moveTo>
                <a:lnTo>
                  <a:pt x="8278013" y="989967"/>
                </a:lnTo>
                <a:lnTo>
                  <a:pt x="8309856" y="505066"/>
                </a:lnTo>
                <a:moveTo>
                  <a:pt x="6739176" y="4783142"/>
                </a:moveTo>
                <a:lnTo>
                  <a:pt x="8023347" y="4867310"/>
                </a:lnTo>
                <a:moveTo>
                  <a:pt x="6611819" y="6722259"/>
                </a:moveTo>
                <a:lnTo>
                  <a:pt x="6579992" y="7206692"/>
                </a:lnTo>
                <a:moveTo>
                  <a:pt x="6611819" y="6722259"/>
                </a:moveTo>
                <a:lnTo>
                  <a:pt x="6643647" y="6237369"/>
                </a:lnTo>
                <a:moveTo>
                  <a:pt x="6611819" y="6722259"/>
                </a:moveTo>
                <a:lnTo>
                  <a:pt x="7895990" y="6806442"/>
                </a:lnTo>
                <a:moveTo>
                  <a:pt x="6579992" y="7206692"/>
                </a:moveTo>
                <a:lnTo>
                  <a:pt x="6548133" y="7691613"/>
                </a:lnTo>
                <a:lnTo>
                  <a:pt x="5263978" y="7607414"/>
                </a:lnTo>
                <a:lnTo>
                  <a:pt x="5232150" y="8091847"/>
                </a:lnTo>
                <a:lnTo>
                  <a:pt x="3947979" y="8007663"/>
                </a:lnTo>
                <a:moveTo>
                  <a:pt x="6643678" y="6237369"/>
                </a:moveTo>
                <a:lnTo>
                  <a:pt x="7927849" y="6321553"/>
                </a:lnTo>
                <a:moveTo>
                  <a:pt x="6898344" y="2360031"/>
                </a:moveTo>
                <a:lnTo>
                  <a:pt x="6866517" y="2844465"/>
                </a:lnTo>
                <a:moveTo>
                  <a:pt x="6866517" y="2844465"/>
                </a:moveTo>
                <a:lnTo>
                  <a:pt x="8150688" y="2928648"/>
                </a:lnTo>
                <a:moveTo>
                  <a:pt x="6866517" y="2844465"/>
                </a:moveTo>
                <a:lnTo>
                  <a:pt x="6802862" y="3813787"/>
                </a:lnTo>
                <a:moveTo>
                  <a:pt x="7832335" y="7775781"/>
                </a:moveTo>
                <a:lnTo>
                  <a:pt x="7864178" y="7290876"/>
                </a:lnTo>
                <a:moveTo>
                  <a:pt x="7832335" y="7775781"/>
                </a:moveTo>
                <a:lnTo>
                  <a:pt x="7800540" y="8260199"/>
                </a:lnTo>
                <a:moveTo>
                  <a:pt x="7832335" y="7775781"/>
                </a:moveTo>
                <a:lnTo>
                  <a:pt x="9116522" y="7859965"/>
                </a:lnTo>
                <a:moveTo>
                  <a:pt x="7864178" y="7290876"/>
                </a:moveTo>
                <a:lnTo>
                  <a:pt x="7895990" y="6806442"/>
                </a:lnTo>
                <a:moveTo>
                  <a:pt x="7864178" y="7290876"/>
                </a:moveTo>
                <a:lnTo>
                  <a:pt x="6580023" y="7206692"/>
                </a:lnTo>
                <a:moveTo>
                  <a:pt x="7864178" y="7290876"/>
                </a:moveTo>
                <a:lnTo>
                  <a:pt x="9148365" y="7375028"/>
                </a:lnTo>
                <a:lnTo>
                  <a:pt x="9180177" y="6890626"/>
                </a:lnTo>
                <a:moveTo>
                  <a:pt x="8023347" y="4867310"/>
                </a:moveTo>
                <a:lnTo>
                  <a:pt x="7991504" y="5352199"/>
                </a:lnTo>
                <a:lnTo>
                  <a:pt x="6707317" y="5268031"/>
                </a:lnTo>
                <a:moveTo>
                  <a:pt x="8023347" y="4867310"/>
                </a:moveTo>
                <a:lnTo>
                  <a:pt x="8055159" y="4382892"/>
                </a:lnTo>
                <a:moveTo>
                  <a:pt x="8023347" y="4867310"/>
                </a:moveTo>
                <a:lnTo>
                  <a:pt x="9307518" y="4951493"/>
                </a:lnTo>
                <a:lnTo>
                  <a:pt x="9339345" y="4467060"/>
                </a:lnTo>
                <a:moveTo>
                  <a:pt x="8150735" y="2928633"/>
                </a:moveTo>
                <a:lnTo>
                  <a:pt x="8118892" y="3413522"/>
                </a:lnTo>
                <a:moveTo>
                  <a:pt x="8118892" y="3413522"/>
                </a:moveTo>
                <a:lnTo>
                  <a:pt x="6834705" y="3329354"/>
                </a:lnTo>
                <a:moveTo>
                  <a:pt x="8118892" y="3413522"/>
                </a:moveTo>
                <a:lnTo>
                  <a:pt x="9403063" y="3497721"/>
                </a:lnTo>
                <a:moveTo>
                  <a:pt x="7927849" y="6321553"/>
                </a:moveTo>
                <a:lnTo>
                  <a:pt x="7895990" y="6806442"/>
                </a:lnTo>
                <a:moveTo>
                  <a:pt x="7927849" y="6321553"/>
                </a:moveTo>
                <a:lnTo>
                  <a:pt x="7959692" y="5836632"/>
                </a:lnTo>
                <a:moveTo>
                  <a:pt x="7895990" y="6806442"/>
                </a:moveTo>
                <a:lnTo>
                  <a:pt x="9180177" y="6890626"/>
                </a:lnTo>
                <a:moveTo>
                  <a:pt x="7736885" y="9229521"/>
                </a:moveTo>
                <a:lnTo>
                  <a:pt x="7705010" y="9714426"/>
                </a:lnTo>
                <a:moveTo>
                  <a:pt x="7736885" y="9229521"/>
                </a:moveTo>
                <a:lnTo>
                  <a:pt x="9021040" y="9313690"/>
                </a:lnTo>
                <a:moveTo>
                  <a:pt x="7736885" y="9229521"/>
                </a:moveTo>
                <a:lnTo>
                  <a:pt x="7800540" y="8260199"/>
                </a:lnTo>
                <a:moveTo>
                  <a:pt x="8087049" y="3897987"/>
                </a:moveTo>
                <a:lnTo>
                  <a:pt x="8055206" y="4382892"/>
                </a:lnTo>
                <a:moveTo>
                  <a:pt x="8055206" y="4382892"/>
                </a:moveTo>
                <a:lnTo>
                  <a:pt x="6771019" y="4298708"/>
                </a:lnTo>
                <a:moveTo>
                  <a:pt x="8055206" y="4382892"/>
                </a:moveTo>
                <a:lnTo>
                  <a:pt x="9339392" y="4467060"/>
                </a:lnTo>
                <a:moveTo>
                  <a:pt x="7959724" y="5836648"/>
                </a:moveTo>
                <a:lnTo>
                  <a:pt x="7991535" y="5352214"/>
                </a:lnTo>
                <a:lnTo>
                  <a:pt x="9275706" y="5436398"/>
                </a:lnTo>
                <a:moveTo>
                  <a:pt x="7959724" y="5836648"/>
                </a:moveTo>
                <a:lnTo>
                  <a:pt x="9243879" y="5920832"/>
                </a:lnTo>
                <a:moveTo>
                  <a:pt x="7705010" y="9714426"/>
                </a:moveTo>
                <a:lnTo>
                  <a:pt x="6420839" y="9630242"/>
                </a:lnTo>
                <a:moveTo>
                  <a:pt x="7705010" y="9714426"/>
                </a:moveTo>
                <a:lnTo>
                  <a:pt x="8989196" y="9798594"/>
                </a:lnTo>
                <a:lnTo>
                  <a:pt x="9021040" y="9313690"/>
                </a:lnTo>
                <a:moveTo>
                  <a:pt x="8246217" y="1474414"/>
                </a:moveTo>
                <a:lnTo>
                  <a:pt x="8278029" y="989981"/>
                </a:lnTo>
                <a:lnTo>
                  <a:pt x="9562184" y="1074155"/>
                </a:lnTo>
                <a:moveTo>
                  <a:pt x="7800540" y="8260199"/>
                </a:moveTo>
                <a:lnTo>
                  <a:pt x="9084726" y="8344382"/>
                </a:lnTo>
                <a:moveTo>
                  <a:pt x="8182500" y="2444199"/>
                </a:moveTo>
                <a:lnTo>
                  <a:pt x="8214343" y="1959294"/>
                </a:lnTo>
                <a:lnTo>
                  <a:pt x="9498529" y="2043493"/>
                </a:lnTo>
                <a:moveTo>
                  <a:pt x="8182500" y="2444199"/>
                </a:moveTo>
                <a:lnTo>
                  <a:pt x="8150688" y="2928648"/>
                </a:lnTo>
                <a:moveTo>
                  <a:pt x="8182500" y="2444199"/>
                </a:moveTo>
                <a:lnTo>
                  <a:pt x="9466686" y="2528399"/>
                </a:lnTo>
                <a:moveTo>
                  <a:pt x="8182500" y="2444199"/>
                </a:moveTo>
                <a:lnTo>
                  <a:pt x="6898329" y="2360015"/>
                </a:lnTo>
                <a:moveTo>
                  <a:pt x="8150688" y="2928648"/>
                </a:moveTo>
                <a:lnTo>
                  <a:pt x="9434859" y="3012832"/>
                </a:lnTo>
                <a:moveTo>
                  <a:pt x="9275706" y="5436398"/>
                </a:moveTo>
                <a:lnTo>
                  <a:pt x="9243879" y="5920832"/>
                </a:lnTo>
                <a:moveTo>
                  <a:pt x="9243879" y="5920832"/>
                </a:moveTo>
                <a:lnTo>
                  <a:pt x="9212035" y="6405721"/>
                </a:lnTo>
                <a:moveTo>
                  <a:pt x="9212035" y="6405721"/>
                </a:moveTo>
                <a:lnTo>
                  <a:pt x="9180177" y="6890626"/>
                </a:lnTo>
                <a:moveTo>
                  <a:pt x="9212035" y="6405721"/>
                </a:moveTo>
                <a:lnTo>
                  <a:pt x="7927865" y="6321538"/>
                </a:lnTo>
                <a:moveTo>
                  <a:pt x="9371235" y="3982171"/>
                </a:moveTo>
                <a:lnTo>
                  <a:pt x="9339392" y="4467060"/>
                </a:lnTo>
                <a:moveTo>
                  <a:pt x="9562184" y="1074155"/>
                </a:moveTo>
                <a:lnTo>
                  <a:pt x="9530372" y="1558589"/>
                </a:lnTo>
                <a:moveTo>
                  <a:pt x="9562184" y="1074155"/>
                </a:moveTo>
                <a:lnTo>
                  <a:pt x="9594027" y="589247"/>
                </a:lnTo>
                <a:moveTo>
                  <a:pt x="9530372" y="1558589"/>
                </a:moveTo>
                <a:lnTo>
                  <a:pt x="9498529" y="2043493"/>
                </a:lnTo>
                <a:moveTo>
                  <a:pt x="9530372" y="1558589"/>
                </a:moveTo>
                <a:lnTo>
                  <a:pt x="8246186" y="1474408"/>
                </a:lnTo>
                <a:moveTo>
                  <a:pt x="9116522" y="7859965"/>
                </a:moveTo>
                <a:lnTo>
                  <a:pt x="9084726" y="8344382"/>
                </a:lnTo>
                <a:moveTo>
                  <a:pt x="9403063" y="3497721"/>
                </a:moveTo>
                <a:lnTo>
                  <a:pt x="9371251" y="3982155"/>
                </a:lnTo>
                <a:moveTo>
                  <a:pt x="9403063" y="3497721"/>
                </a:moveTo>
                <a:lnTo>
                  <a:pt x="9434921" y="3012801"/>
                </a:lnTo>
                <a:moveTo>
                  <a:pt x="9371251" y="3982155"/>
                </a:moveTo>
                <a:lnTo>
                  <a:pt x="8087081" y="3897971"/>
                </a:lnTo>
                <a:moveTo>
                  <a:pt x="9498529" y="2043493"/>
                </a:moveTo>
                <a:lnTo>
                  <a:pt x="9466686" y="2528399"/>
                </a:lnTo>
                <a:moveTo>
                  <a:pt x="9466686" y="2528399"/>
                </a:moveTo>
                <a:lnTo>
                  <a:pt x="9434859" y="3012832"/>
                </a:lnTo>
                <a:moveTo>
                  <a:pt x="9021040" y="9313690"/>
                </a:moveTo>
                <a:lnTo>
                  <a:pt x="9052851" y="8829272"/>
                </a:lnTo>
                <a:moveTo>
                  <a:pt x="9084726" y="8344382"/>
                </a:moveTo>
                <a:lnTo>
                  <a:pt x="9052883" y="8829287"/>
                </a:lnTo>
                <a:moveTo>
                  <a:pt x="9052883" y="8829287"/>
                </a:moveTo>
                <a:lnTo>
                  <a:pt x="6484525" y="8660920"/>
                </a:lnTo>
                <a:moveTo>
                  <a:pt x="11589397" y="9482057"/>
                </a:moveTo>
                <a:lnTo>
                  <a:pt x="11621209" y="8997623"/>
                </a:lnTo>
                <a:moveTo>
                  <a:pt x="11589397" y="9482057"/>
                </a:moveTo>
                <a:lnTo>
                  <a:pt x="11557539" y="9966962"/>
                </a:lnTo>
                <a:lnTo>
                  <a:pt x="10273352" y="9882778"/>
                </a:lnTo>
                <a:moveTo>
                  <a:pt x="11589397" y="9482057"/>
                </a:moveTo>
                <a:lnTo>
                  <a:pt x="12873584" y="9566240"/>
                </a:lnTo>
                <a:moveTo>
                  <a:pt x="11589397" y="9482057"/>
                </a:moveTo>
                <a:lnTo>
                  <a:pt x="10305227" y="9397873"/>
                </a:lnTo>
                <a:moveTo>
                  <a:pt x="11621209" y="8997623"/>
                </a:moveTo>
                <a:lnTo>
                  <a:pt x="11653068" y="8512733"/>
                </a:lnTo>
                <a:moveTo>
                  <a:pt x="11621209" y="8997623"/>
                </a:moveTo>
                <a:lnTo>
                  <a:pt x="10337038" y="8913455"/>
                </a:lnTo>
                <a:moveTo>
                  <a:pt x="12098730" y="1726956"/>
                </a:moveTo>
                <a:lnTo>
                  <a:pt x="12066887" y="2211845"/>
                </a:lnTo>
                <a:moveTo>
                  <a:pt x="12098730" y="1726956"/>
                </a:moveTo>
                <a:lnTo>
                  <a:pt x="12130541" y="1242500"/>
                </a:lnTo>
                <a:moveTo>
                  <a:pt x="12098730" y="1726956"/>
                </a:moveTo>
                <a:lnTo>
                  <a:pt x="13382917" y="1811140"/>
                </a:lnTo>
                <a:moveTo>
                  <a:pt x="12066887" y="2211845"/>
                </a:moveTo>
                <a:lnTo>
                  <a:pt x="12035043" y="2696735"/>
                </a:lnTo>
                <a:moveTo>
                  <a:pt x="12066887" y="2211845"/>
                </a:moveTo>
                <a:lnTo>
                  <a:pt x="13351074" y="2296029"/>
                </a:lnTo>
                <a:lnTo>
                  <a:pt x="13382917" y="1811140"/>
                </a:lnTo>
                <a:moveTo>
                  <a:pt x="11684864" y="8028316"/>
                </a:moveTo>
                <a:lnTo>
                  <a:pt x="11700769" y="7786092"/>
                </a:lnTo>
                <a:cubicBezTo>
                  <a:pt x="11708731" y="7664751"/>
                  <a:pt x="11645721" y="7561345"/>
                  <a:pt x="11645721" y="7561345"/>
                </a:cubicBezTo>
                <a:moveTo>
                  <a:pt x="11684864" y="8028316"/>
                </a:moveTo>
                <a:lnTo>
                  <a:pt x="11653068" y="8512733"/>
                </a:lnTo>
                <a:moveTo>
                  <a:pt x="12162401" y="757600"/>
                </a:moveTo>
                <a:lnTo>
                  <a:pt x="12130541" y="1242500"/>
                </a:lnTo>
                <a:moveTo>
                  <a:pt x="12130541" y="1242500"/>
                </a:moveTo>
                <a:lnTo>
                  <a:pt x="13414713" y="1326681"/>
                </a:lnTo>
                <a:moveTo>
                  <a:pt x="11971389" y="3666073"/>
                </a:moveTo>
                <a:lnTo>
                  <a:pt x="11939593" y="4150506"/>
                </a:lnTo>
                <a:moveTo>
                  <a:pt x="11971389" y="3666073"/>
                </a:moveTo>
                <a:lnTo>
                  <a:pt x="10687203" y="3581889"/>
                </a:lnTo>
                <a:moveTo>
                  <a:pt x="11971389" y="3666073"/>
                </a:moveTo>
                <a:lnTo>
                  <a:pt x="12035043" y="2696750"/>
                </a:lnTo>
                <a:moveTo>
                  <a:pt x="11939562" y="4150506"/>
                </a:moveTo>
                <a:lnTo>
                  <a:pt x="11923656" y="4392731"/>
                </a:lnTo>
                <a:cubicBezTo>
                  <a:pt x="11915679" y="4514071"/>
                  <a:pt x="11839674" y="4608362"/>
                  <a:pt x="11839674" y="4608362"/>
                </a:cubicBezTo>
                <a:moveTo>
                  <a:pt x="11939593" y="4150506"/>
                </a:moveTo>
                <a:lnTo>
                  <a:pt x="12272294" y="4172322"/>
                </a:lnTo>
                <a:cubicBezTo>
                  <a:pt x="12530610" y="4182665"/>
                  <a:pt x="12814744" y="4213990"/>
                  <a:pt x="13140632" y="4177462"/>
                </a:cubicBezTo>
                <a:moveTo>
                  <a:pt x="11123456" y="6044043"/>
                </a:moveTo>
                <a:cubicBezTo>
                  <a:pt x="11111908" y="6219734"/>
                  <a:pt x="11124101" y="6399324"/>
                  <a:pt x="11191500" y="6598074"/>
                </a:cubicBezTo>
                <a:cubicBezTo>
                  <a:pt x="10929801" y="6549836"/>
                  <a:pt x="10727667" y="6511642"/>
                  <a:pt x="10491927" y="6490078"/>
                </a:cubicBezTo>
                <a:moveTo>
                  <a:pt x="11123456" y="6044043"/>
                </a:moveTo>
                <a:lnTo>
                  <a:pt x="11503937" y="6068971"/>
                </a:lnTo>
                <a:moveTo>
                  <a:pt x="11646287" y="7561361"/>
                </a:moveTo>
                <a:cubicBezTo>
                  <a:pt x="11572296" y="7413945"/>
                  <a:pt x="11506029" y="7278805"/>
                  <a:pt x="11412797" y="7108001"/>
                </a:cubicBezTo>
                <a:cubicBezTo>
                  <a:pt x="11288272" y="7064542"/>
                  <a:pt x="11223674" y="7057956"/>
                  <a:pt x="11130048" y="7039111"/>
                </a:cubicBezTo>
                <a:cubicBezTo>
                  <a:pt x="11036422" y="7020281"/>
                  <a:pt x="10940909" y="7014009"/>
                  <a:pt x="10846071" y="7005444"/>
                </a:cubicBezTo>
                <a:cubicBezTo>
                  <a:pt x="10718935" y="6993813"/>
                  <a:pt x="10591736" y="6983124"/>
                  <a:pt x="10464379" y="6974779"/>
                </a:cubicBezTo>
                <a:moveTo>
                  <a:pt x="11191531" y="6598058"/>
                </a:moveTo>
                <a:cubicBezTo>
                  <a:pt x="11264594" y="6808470"/>
                  <a:pt x="11334700" y="6974448"/>
                  <a:pt x="11412813" y="7107545"/>
                </a:cubicBezTo>
                <a:cubicBezTo>
                  <a:pt x="11640780" y="7182723"/>
                  <a:pt x="11842978" y="7251959"/>
                  <a:pt x="12088126" y="7357425"/>
                </a:cubicBezTo>
                <a:moveTo>
                  <a:pt x="12035043" y="2696735"/>
                </a:moveTo>
                <a:lnTo>
                  <a:pt x="13319230" y="2780918"/>
                </a:lnTo>
                <a:moveTo>
                  <a:pt x="11840162" y="4608393"/>
                </a:moveTo>
                <a:cubicBezTo>
                  <a:pt x="11747654" y="4742999"/>
                  <a:pt x="11684817" y="4864040"/>
                  <a:pt x="11549389" y="5027378"/>
                </a:cubicBezTo>
                <a:moveTo>
                  <a:pt x="11263368" y="5504110"/>
                </a:moveTo>
                <a:cubicBezTo>
                  <a:pt x="11162599" y="5699826"/>
                  <a:pt x="11137694" y="5827595"/>
                  <a:pt x="11123440" y="6044498"/>
                </a:cubicBezTo>
                <a:moveTo>
                  <a:pt x="11549436" y="5027394"/>
                </a:moveTo>
                <a:cubicBezTo>
                  <a:pt x="11442658" y="5168130"/>
                  <a:pt x="11370523" y="5300802"/>
                  <a:pt x="11263415" y="5503623"/>
                </a:cubicBezTo>
                <a:cubicBezTo>
                  <a:pt x="11433156" y="5475237"/>
                  <a:pt x="11595439" y="5438819"/>
                  <a:pt x="11752593" y="5391241"/>
                </a:cubicBezTo>
                <a:cubicBezTo>
                  <a:pt x="11916859" y="5154046"/>
                  <a:pt x="12064763" y="5019771"/>
                  <a:pt x="12251684" y="4867812"/>
                </a:cubicBezTo>
                <a:cubicBezTo>
                  <a:pt x="12599850" y="4751832"/>
                  <a:pt x="12974384" y="4729325"/>
                  <a:pt x="13275399" y="4617321"/>
                </a:cubicBezTo>
                <a:moveTo>
                  <a:pt x="13140664" y="4177494"/>
                </a:moveTo>
                <a:cubicBezTo>
                  <a:pt x="13039628" y="4287564"/>
                  <a:pt x="12912711" y="4402508"/>
                  <a:pt x="12761818" y="4492837"/>
                </a:cubicBezTo>
                <a:moveTo>
                  <a:pt x="11661721" y="6773813"/>
                </a:moveTo>
                <a:cubicBezTo>
                  <a:pt x="11570550" y="6612094"/>
                  <a:pt x="11483815" y="6325970"/>
                  <a:pt x="11503858" y="6069442"/>
                </a:cubicBezTo>
                <a:moveTo>
                  <a:pt x="12905427" y="9081823"/>
                </a:moveTo>
                <a:lnTo>
                  <a:pt x="12937271" y="8596917"/>
                </a:lnTo>
                <a:moveTo>
                  <a:pt x="12905427" y="9081823"/>
                </a:moveTo>
                <a:lnTo>
                  <a:pt x="14190133" y="9166037"/>
                </a:lnTo>
                <a:moveTo>
                  <a:pt x="12905427" y="9081823"/>
                </a:moveTo>
                <a:lnTo>
                  <a:pt x="11621240" y="8997639"/>
                </a:lnTo>
                <a:moveTo>
                  <a:pt x="12251620" y="4868269"/>
                </a:moveTo>
                <a:cubicBezTo>
                  <a:pt x="12427576" y="4720774"/>
                  <a:pt x="12519944" y="4653424"/>
                  <a:pt x="12762275" y="4493340"/>
                </a:cubicBezTo>
                <a:moveTo>
                  <a:pt x="11503937" y="6068971"/>
                </a:moveTo>
                <a:cubicBezTo>
                  <a:pt x="11514651" y="5857002"/>
                  <a:pt x="11607427" y="5604766"/>
                  <a:pt x="11752562" y="5391257"/>
                </a:cubicBezTo>
                <a:moveTo>
                  <a:pt x="11503937" y="6068971"/>
                </a:moveTo>
                <a:lnTo>
                  <a:pt x="11995302" y="6101176"/>
                </a:lnTo>
                <a:moveTo>
                  <a:pt x="13319215" y="2780934"/>
                </a:moveTo>
                <a:lnTo>
                  <a:pt x="13287403" y="3265368"/>
                </a:lnTo>
                <a:lnTo>
                  <a:pt x="10719045" y="3097000"/>
                </a:lnTo>
                <a:moveTo>
                  <a:pt x="12879185" y="8157877"/>
                </a:moveTo>
                <a:cubicBezTo>
                  <a:pt x="12879185" y="8157877"/>
                  <a:pt x="12961074" y="8233353"/>
                  <a:pt x="12953113" y="8354693"/>
                </a:cubicBezTo>
                <a:lnTo>
                  <a:pt x="12937192" y="8596917"/>
                </a:lnTo>
                <a:lnTo>
                  <a:pt x="11653021" y="8512733"/>
                </a:lnTo>
                <a:moveTo>
                  <a:pt x="13351074" y="2296013"/>
                </a:moveTo>
                <a:lnTo>
                  <a:pt x="13319230" y="2780918"/>
                </a:lnTo>
                <a:moveTo>
                  <a:pt x="13319230" y="2780918"/>
                </a:moveTo>
                <a:lnTo>
                  <a:pt x="14603952" y="2865118"/>
                </a:lnTo>
                <a:lnTo>
                  <a:pt x="14635795" y="2380244"/>
                </a:lnTo>
                <a:moveTo>
                  <a:pt x="13382917" y="1811140"/>
                </a:moveTo>
                <a:lnTo>
                  <a:pt x="13414713" y="1326681"/>
                </a:lnTo>
                <a:moveTo>
                  <a:pt x="13382917" y="1811140"/>
                </a:moveTo>
                <a:lnTo>
                  <a:pt x="14667607" y="1895339"/>
                </a:lnTo>
                <a:moveTo>
                  <a:pt x="13287451" y="3265336"/>
                </a:moveTo>
                <a:lnTo>
                  <a:pt x="13255607" y="3750241"/>
                </a:lnTo>
                <a:lnTo>
                  <a:pt x="11971436" y="3666057"/>
                </a:lnTo>
                <a:moveTo>
                  <a:pt x="13140585" y="4177934"/>
                </a:moveTo>
                <a:cubicBezTo>
                  <a:pt x="13140585" y="4177934"/>
                  <a:pt x="13231646" y="4113806"/>
                  <a:pt x="13239622" y="3992450"/>
                </a:cubicBezTo>
                <a:lnTo>
                  <a:pt x="13255529" y="3750241"/>
                </a:lnTo>
                <a:cubicBezTo>
                  <a:pt x="13572324" y="3771004"/>
                  <a:pt x="13888977" y="3794140"/>
                  <a:pt x="14206023" y="3811147"/>
                </a:cubicBezTo>
                <a:cubicBezTo>
                  <a:pt x="14394565" y="3821143"/>
                  <a:pt x="14533910" y="3825576"/>
                  <a:pt x="14533910" y="3825576"/>
                </a:cubicBezTo>
                <a:cubicBezTo>
                  <a:pt x="14515550" y="3983412"/>
                  <a:pt x="14406348" y="4023304"/>
                  <a:pt x="14311810" y="4099440"/>
                </a:cubicBezTo>
                <a:moveTo>
                  <a:pt x="12544864" y="7795774"/>
                </a:moveTo>
                <a:cubicBezTo>
                  <a:pt x="12713283" y="7957854"/>
                  <a:pt x="12784505" y="8017566"/>
                  <a:pt x="12879217" y="8157877"/>
                </a:cubicBezTo>
                <a:cubicBezTo>
                  <a:pt x="13224252" y="8227538"/>
                  <a:pt x="13645685" y="8302212"/>
                  <a:pt x="14029580" y="8388549"/>
                </a:cubicBezTo>
                <a:moveTo>
                  <a:pt x="12545383" y="7795805"/>
                </a:moveTo>
                <a:cubicBezTo>
                  <a:pt x="12356071" y="7635187"/>
                  <a:pt x="12267920" y="7549416"/>
                  <a:pt x="12088126" y="7357425"/>
                </a:cubicBezTo>
                <a:moveTo>
                  <a:pt x="12088126" y="7357425"/>
                </a:moveTo>
                <a:cubicBezTo>
                  <a:pt x="11960581" y="7246489"/>
                  <a:pt x="11789393" y="7005192"/>
                  <a:pt x="11661799" y="6773325"/>
                </a:cubicBezTo>
                <a:moveTo>
                  <a:pt x="12088126" y="7357425"/>
                </a:moveTo>
                <a:cubicBezTo>
                  <a:pt x="12418262" y="7515984"/>
                  <a:pt x="12786661" y="7587185"/>
                  <a:pt x="13070307" y="7739410"/>
                </a:cubicBezTo>
                <a:moveTo>
                  <a:pt x="12873584" y="9566240"/>
                </a:moveTo>
                <a:lnTo>
                  <a:pt x="12905396" y="9081806"/>
                </a:lnTo>
                <a:moveTo>
                  <a:pt x="12873584" y="9566240"/>
                </a:moveTo>
                <a:lnTo>
                  <a:pt x="14158290" y="9650455"/>
                </a:lnTo>
                <a:moveTo>
                  <a:pt x="12873631" y="9566240"/>
                </a:moveTo>
                <a:lnTo>
                  <a:pt x="12841773" y="10051145"/>
                </a:lnTo>
                <a:lnTo>
                  <a:pt x="11557601" y="9966962"/>
                </a:lnTo>
                <a:moveTo>
                  <a:pt x="13446556" y="841781"/>
                </a:moveTo>
                <a:lnTo>
                  <a:pt x="13414713" y="1326681"/>
                </a:lnTo>
                <a:moveTo>
                  <a:pt x="14190133" y="9166037"/>
                </a:moveTo>
                <a:lnTo>
                  <a:pt x="14206039" y="8923813"/>
                </a:lnTo>
                <a:cubicBezTo>
                  <a:pt x="14214000" y="8802473"/>
                  <a:pt x="14214503" y="8689589"/>
                  <a:pt x="14214503" y="8689589"/>
                </a:cubicBezTo>
                <a:moveTo>
                  <a:pt x="14190133" y="9166037"/>
                </a:moveTo>
                <a:lnTo>
                  <a:pt x="14158290" y="9650455"/>
                </a:lnTo>
                <a:moveTo>
                  <a:pt x="14190133" y="9166037"/>
                </a:moveTo>
                <a:lnTo>
                  <a:pt x="15474273" y="9250206"/>
                </a:lnTo>
                <a:moveTo>
                  <a:pt x="14603889" y="2865133"/>
                </a:moveTo>
                <a:lnTo>
                  <a:pt x="14572062" y="3349567"/>
                </a:lnTo>
                <a:moveTo>
                  <a:pt x="14572062" y="3349567"/>
                </a:moveTo>
                <a:lnTo>
                  <a:pt x="13287355" y="3265352"/>
                </a:lnTo>
                <a:moveTo>
                  <a:pt x="14572062" y="3349567"/>
                </a:moveTo>
                <a:lnTo>
                  <a:pt x="15856264" y="3433766"/>
                </a:lnTo>
                <a:moveTo>
                  <a:pt x="14731277" y="925990"/>
                </a:moveTo>
                <a:lnTo>
                  <a:pt x="14699434" y="1410890"/>
                </a:lnTo>
                <a:moveTo>
                  <a:pt x="14699434" y="1410890"/>
                </a:moveTo>
                <a:lnTo>
                  <a:pt x="14667607" y="1895339"/>
                </a:lnTo>
                <a:moveTo>
                  <a:pt x="14699434" y="1410890"/>
                </a:moveTo>
                <a:lnTo>
                  <a:pt x="15983542" y="1495075"/>
                </a:lnTo>
                <a:moveTo>
                  <a:pt x="14699434" y="1410890"/>
                </a:moveTo>
                <a:lnTo>
                  <a:pt x="13414728" y="1326676"/>
                </a:lnTo>
                <a:moveTo>
                  <a:pt x="14029580" y="8388549"/>
                </a:moveTo>
                <a:cubicBezTo>
                  <a:pt x="13853232" y="8290408"/>
                  <a:pt x="13815819" y="8235255"/>
                  <a:pt x="13647070" y="8118803"/>
                </a:cubicBezTo>
                <a:moveTo>
                  <a:pt x="14029580" y="8388549"/>
                </a:moveTo>
                <a:cubicBezTo>
                  <a:pt x="14485484" y="8498415"/>
                  <a:pt x="14918922" y="8536719"/>
                  <a:pt x="15397386" y="8603361"/>
                </a:cubicBezTo>
                <a:moveTo>
                  <a:pt x="14126447" y="10135345"/>
                </a:moveTo>
                <a:lnTo>
                  <a:pt x="14158290" y="9650455"/>
                </a:lnTo>
                <a:moveTo>
                  <a:pt x="14126447" y="10135345"/>
                </a:moveTo>
                <a:lnTo>
                  <a:pt x="15410602" y="10219528"/>
                </a:lnTo>
                <a:moveTo>
                  <a:pt x="14126447" y="10135345"/>
                </a:moveTo>
                <a:lnTo>
                  <a:pt x="12841741" y="10051145"/>
                </a:lnTo>
                <a:moveTo>
                  <a:pt x="14158290" y="9650455"/>
                </a:moveTo>
                <a:lnTo>
                  <a:pt x="15442445" y="9734623"/>
                </a:lnTo>
                <a:moveTo>
                  <a:pt x="14667607" y="1895339"/>
                </a:moveTo>
                <a:lnTo>
                  <a:pt x="15951762" y="1979523"/>
                </a:lnTo>
                <a:moveTo>
                  <a:pt x="14667638" y="1895339"/>
                </a:moveTo>
                <a:lnTo>
                  <a:pt x="14635795" y="2380244"/>
                </a:lnTo>
                <a:moveTo>
                  <a:pt x="14635795" y="2380244"/>
                </a:moveTo>
                <a:lnTo>
                  <a:pt x="13351089" y="2296029"/>
                </a:lnTo>
                <a:moveTo>
                  <a:pt x="14030052" y="8388596"/>
                </a:moveTo>
                <a:cubicBezTo>
                  <a:pt x="14113971" y="8474084"/>
                  <a:pt x="14217020" y="8527885"/>
                  <a:pt x="14214425" y="8689101"/>
                </a:cubicBezTo>
                <a:lnTo>
                  <a:pt x="12937176" y="8596886"/>
                </a:lnTo>
                <a:moveTo>
                  <a:pt x="14572109" y="3349551"/>
                </a:moveTo>
                <a:lnTo>
                  <a:pt x="14556188" y="3591776"/>
                </a:lnTo>
                <a:cubicBezTo>
                  <a:pt x="14548226" y="3713116"/>
                  <a:pt x="14533957" y="3825104"/>
                  <a:pt x="14533957" y="3825104"/>
                </a:cubicBezTo>
                <a:cubicBezTo>
                  <a:pt x="14972806" y="3853867"/>
                  <a:pt x="15465950" y="3842896"/>
                  <a:pt x="15812999" y="3865656"/>
                </a:cubicBezTo>
                <a:cubicBezTo>
                  <a:pt x="15778701" y="3966909"/>
                  <a:pt x="15751169" y="4019217"/>
                  <a:pt x="15695947" y="4065002"/>
                </a:cubicBezTo>
                <a:cubicBezTo>
                  <a:pt x="15202331" y="4075471"/>
                  <a:pt x="14777830" y="4047650"/>
                  <a:pt x="14311842" y="4099440"/>
                </a:cubicBezTo>
                <a:moveTo>
                  <a:pt x="11994799" y="6101616"/>
                </a:moveTo>
                <a:cubicBezTo>
                  <a:pt x="11996514" y="6505434"/>
                  <a:pt x="12175899" y="6898312"/>
                  <a:pt x="12359705" y="7093871"/>
                </a:cubicBezTo>
                <a:cubicBezTo>
                  <a:pt x="12590882" y="7371570"/>
                  <a:pt x="12830634" y="7583491"/>
                  <a:pt x="13070307" y="7739882"/>
                </a:cubicBezTo>
                <a:moveTo>
                  <a:pt x="12486354" y="5165033"/>
                </a:moveTo>
                <a:cubicBezTo>
                  <a:pt x="12743631" y="4996509"/>
                  <a:pt x="12974353" y="4729325"/>
                  <a:pt x="13275368" y="4617305"/>
                </a:cubicBezTo>
                <a:moveTo>
                  <a:pt x="12486354" y="5165033"/>
                </a:moveTo>
                <a:cubicBezTo>
                  <a:pt x="12200427" y="5250270"/>
                  <a:pt x="12017722" y="5305581"/>
                  <a:pt x="11752027" y="5391210"/>
                </a:cubicBezTo>
                <a:moveTo>
                  <a:pt x="13275368" y="4617305"/>
                </a:moveTo>
                <a:cubicBezTo>
                  <a:pt x="13537900" y="4498542"/>
                  <a:pt x="13688809" y="4399741"/>
                  <a:pt x="13897330" y="4316485"/>
                </a:cubicBezTo>
                <a:moveTo>
                  <a:pt x="13275368" y="4617305"/>
                </a:moveTo>
                <a:cubicBezTo>
                  <a:pt x="13894924" y="4507360"/>
                  <a:pt x="14487875" y="4405070"/>
                  <a:pt x="15121623" y="4395796"/>
                </a:cubicBezTo>
                <a:moveTo>
                  <a:pt x="11995302" y="6101176"/>
                </a:moveTo>
                <a:cubicBezTo>
                  <a:pt x="12001470" y="5747749"/>
                  <a:pt x="12143206" y="5463904"/>
                  <a:pt x="12486872" y="5165065"/>
                </a:cubicBezTo>
                <a:moveTo>
                  <a:pt x="11995302" y="6101176"/>
                </a:moveTo>
                <a:lnTo>
                  <a:pt x="13443441" y="6196111"/>
                </a:lnTo>
                <a:cubicBezTo>
                  <a:pt x="13446524" y="5654276"/>
                  <a:pt x="13907966" y="5119892"/>
                  <a:pt x="14385691" y="4808195"/>
                </a:cubicBezTo>
                <a:cubicBezTo>
                  <a:pt x="14631658" y="4649762"/>
                  <a:pt x="14853191" y="4523109"/>
                  <a:pt x="15121623" y="4395796"/>
                </a:cubicBezTo>
                <a:moveTo>
                  <a:pt x="13897330" y="4316485"/>
                </a:moveTo>
                <a:cubicBezTo>
                  <a:pt x="14036660" y="4247972"/>
                  <a:pt x="14196395" y="4169053"/>
                  <a:pt x="14311857" y="4098984"/>
                </a:cubicBezTo>
                <a:moveTo>
                  <a:pt x="13897330" y="4316485"/>
                </a:moveTo>
                <a:cubicBezTo>
                  <a:pt x="13516346" y="4372440"/>
                  <a:pt x="13124175" y="4436143"/>
                  <a:pt x="12762306" y="4492884"/>
                </a:cubicBezTo>
                <a:cubicBezTo>
                  <a:pt x="12452922" y="4553994"/>
                  <a:pt x="12164493" y="4596259"/>
                  <a:pt x="11840209" y="4608409"/>
                </a:cubicBezTo>
                <a:moveTo>
                  <a:pt x="13647557" y="8119305"/>
                </a:moveTo>
                <a:cubicBezTo>
                  <a:pt x="13451842" y="8007663"/>
                  <a:pt x="13301877" y="7856679"/>
                  <a:pt x="13070260" y="7739866"/>
                </a:cubicBezTo>
                <a:moveTo>
                  <a:pt x="15121623" y="4395796"/>
                </a:moveTo>
                <a:cubicBezTo>
                  <a:pt x="15226041" y="4347590"/>
                  <a:pt x="15383117" y="4260483"/>
                  <a:pt x="15490320" y="4210579"/>
                </a:cubicBezTo>
                <a:moveTo>
                  <a:pt x="15121623" y="4395796"/>
                </a:moveTo>
                <a:cubicBezTo>
                  <a:pt x="15831092" y="4353814"/>
                  <a:pt x="16956456" y="4396063"/>
                  <a:pt x="17654676" y="4542536"/>
                </a:cubicBezTo>
                <a:moveTo>
                  <a:pt x="15489786" y="4210564"/>
                </a:moveTo>
                <a:cubicBezTo>
                  <a:pt x="15577951" y="4166460"/>
                  <a:pt x="15633000" y="4123488"/>
                  <a:pt x="15695475" y="4065002"/>
                </a:cubicBezTo>
                <a:moveTo>
                  <a:pt x="14871157" y="8200471"/>
                </a:moveTo>
                <a:cubicBezTo>
                  <a:pt x="15024268" y="8279201"/>
                  <a:pt x="15115456" y="8359518"/>
                  <a:pt x="15212479" y="8432228"/>
                </a:cubicBezTo>
                <a:cubicBezTo>
                  <a:pt x="15913846" y="8512090"/>
                  <a:pt x="16415407" y="8544954"/>
                  <a:pt x="17080274" y="8565010"/>
                </a:cubicBezTo>
                <a:moveTo>
                  <a:pt x="14196065" y="7695574"/>
                </a:moveTo>
                <a:cubicBezTo>
                  <a:pt x="13763350" y="7321840"/>
                  <a:pt x="13372675" y="6778653"/>
                  <a:pt x="13443425" y="6196566"/>
                </a:cubicBezTo>
                <a:moveTo>
                  <a:pt x="14196065" y="7695574"/>
                </a:moveTo>
                <a:cubicBezTo>
                  <a:pt x="13503084" y="7535804"/>
                  <a:pt x="12931371" y="7371759"/>
                  <a:pt x="12359657" y="7093855"/>
                </a:cubicBezTo>
                <a:moveTo>
                  <a:pt x="14196065" y="7695574"/>
                </a:moveTo>
                <a:cubicBezTo>
                  <a:pt x="15477577" y="7998830"/>
                  <a:pt x="16804162" y="8085796"/>
                  <a:pt x="18066716" y="7989289"/>
                </a:cubicBezTo>
                <a:moveTo>
                  <a:pt x="14196048" y="7695558"/>
                </a:moveTo>
                <a:cubicBezTo>
                  <a:pt x="14419296" y="7882865"/>
                  <a:pt x="14622328" y="8037338"/>
                  <a:pt x="14871692" y="8200488"/>
                </a:cubicBezTo>
                <a:cubicBezTo>
                  <a:pt x="14049246" y="8088704"/>
                  <a:pt x="13586499" y="7944966"/>
                  <a:pt x="13070244" y="7739850"/>
                </a:cubicBezTo>
                <a:moveTo>
                  <a:pt x="15397921" y="8603409"/>
                </a:moveTo>
                <a:cubicBezTo>
                  <a:pt x="15328839" y="8519351"/>
                  <a:pt x="15293676" y="8494942"/>
                  <a:pt x="15213046" y="8432244"/>
                </a:cubicBezTo>
                <a:moveTo>
                  <a:pt x="15397921" y="8603409"/>
                </a:moveTo>
                <a:cubicBezTo>
                  <a:pt x="15397921" y="8603409"/>
                  <a:pt x="15483130" y="8693220"/>
                  <a:pt x="15487834" y="8816336"/>
                </a:cubicBezTo>
                <a:lnTo>
                  <a:pt x="14214487" y="8689086"/>
                </a:lnTo>
                <a:moveTo>
                  <a:pt x="15397921" y="8603409"/>
                </a:moveTo>
                <a:cubicBezTo>
                  <a:pt x="15872626" y="8661831"/>
                  <a:pt x="16402820" y="8688582"/>
                  <a:pt x="16902492" y="8707695"/>
                </a:cubicBezTo>
                <a:moveTo>
                  <a:pt x="15410602" y="10219528"/>
                </a:moveTo>
                <a:lnTo>
                  <a:pt x="15442445" y="9734623"/>
                </a:lnTo>
                <a:moveTo>
                  <a:pt x="15442445" y="9734623"/>
                </a:moveTo>
                <a:lnTo>
                  <a:pt x="15474273" y="9250206"/>
                </a:lnTo>
                <a:moveTo>
                  <a:pt x="15474273" y="9250206"/>
                </a:moveTo>
                <a:cubicBezTo>
                  <a:pt x="15483759" y="9105917"/>
                  <a:pt x="15498060" y="8960986"/>
                  <a:pt x="15487866" y="8816336"/>
                </a:cubicBezTo>
                <a:moveTo>
                  <a:pt x="15888044" y="2949333"/>
                </a:moveTo>
                <a:lnTo>
                  <a:pt x="15856264" y="3433766"/>
                </a:lnTo>
                <a:moveTo>
                  <a:pt x="15856264" y="3433766"/>
                </a:moveTo>
                <a:cubicBezTo>
                  <a:pt x="15846824" y="3578054"/>
                  <a:pt x="15842576" y="3723631"/>
                  <a:pt x="15812999" y="3865671"/>
                </a:cubicBezTo>
                <a:lnTo>
                  <a:pt x="17124954" y="3949352"/>
                </a:lnTo>
                <a:moveTo>
                  <a:pt x="15919982" y="2464396"/>
                </a:moveTo>
                <a:lnTo>
                  <a:pt x="15888044" y="2949301"/>
                </a:lnTo>
                <a:lnTo>
                  <a:pt x="14603921" y="2865118"/>
                </a:lnTo>
                <a:moveTo>
                  <a:pt x="15919982" y="2464396"/>
                </a:moveTo>
                <a:lnTo>
                  <a:pt x="15951762" y="1979523"/>
                </a:lnTo>
                <a:moveTo>
                  <a:pt x="15919982" y="2464396"/>
                </a:moveTo>
                <a:lnTo>
                  <a:pt x="14635747" y="2380244"/>
                </a:lnTo>
                <a:moveTo>
                  <a:pt x="16015479" y="1010175"/>
                </a:moveTo>
                <a:lnTo>
                  <a:pt x="15983542" y="1495075"/>
                </a:lnTo>
                <a:moveTo>
                  <a:pt x="15951762" y="1979523"/>
                </a:moveTo>
                <a:lnTo>
                  <a:pt x="15983542" y="1495086"/>
                </a:lnTo>
                <a:moveTo>
                  <a:pt x="24431722" y="10323878"/>
                </a:moveTo>
                <a:lnTo>
                  <a:pt x="24442890" y="10324617"/>
                </a:lnTo>
                <a:moveTo>
                  <a:pt x="24474672" y="9840199"/>
                </a:moveTo>
                <a:lnTo>
                  <a:pt x="24463658" y="9839460"/>
                </a:lnTo>
                <a:moveTo>
                  <a:pt x="11684880" y="8028300"/>
                </a:moveTo>
                <a:cubicBezTo>
                  <a:pt x="11895022" y="8042069"/>
                  <a:pt x="12369051" y="8070785"/>
                  <a:pt x="12879185" y="8158364"/>
                </a:cubicBezTo>
                <a:moveTo>
                  <a:pt x="20674580" y="8617586"/>
                </a:moveTo>
                <a:lnTo>
                  <a:pt x="20341988" y="8595770"/>
                </a:lnTo>
                <a:cubicBezTo>
                  <a:pt x="20054866" y="8576956"/>
                  <a:pt x="19729040" y="8587141"/>
                  <a:pt x="19488328" y="8602418"/>
                </a:cubicBezTo>
                <a:moveTo>
                  <a:pt x="11646271" y="7561376"/>
                </a:moveTo>
                <a:cubicBezTo>
                  <a:pt x="12028640" y="7638676"/>
                  <a:pt x="12246743" y="7693436"/>
                  <a:pt x="12545352" y="7796293"/>
                </a:cubicBezTo>
                <a:moveTo>
                  <a:pt x="10432568" y="7459228"/>
                </a:moveTo>
                <a:cubicBezTo>
                  <a:pt x="10833737" y="7485523"/>
                  <a:pt x="11250341" y="7487881"/>
                  <a:pt x="11645783" y="7560874"/>
                </a:cubicBezTo>
                <a:moveTo>
                  <a:pt x="19877714" y="8295736"/>
                </a:moveTo>
                <a:cubicBezTo>
                  <a:pt x="19360108" y="8388361"/>
                  <a:pt x="19115936" y="8411890"/>
                  <a:pt x="18710818" y="8471900"/>
                </a:cubicBezTo>
                <a:moveTo>
                  <a:pt x="12545414" y="7795821"/>
                </a:moveTo>
                <a:cubicBezTo>
                  <a:pt x="12938812" y="7916187"/>
                  <a:pt x="13113634" y="7980818"/>
                  <a:pt x="13647621" y="8118850"/>
                </a:cubicBezTo>
                <a:moveTo>
                  <a:pt x="18710188" y="8471883"/>
                </a:moveTo>
                <a:cubicBezTo>
                  <a:pt x="18160170" y="8553914"/>
                  <a:pt x="17625572" y="8563109"/>
                  <a:pt x="17080274" y="8564539"/>
                </a:cubicBezTo>
                <a:moveTo>
                  <a:pt x="20800442" y="8170357"/>
                </a:moveTo>
                <a:cubicBezTo>
                  <a:pt x="20474932" y="8185257"/>
                  <a:pt x="20238310" y="8226201"/>
                  <a:pt x="19877714" y="8295264"/>
                </a:cubicBezTo>
                <a:moveTo>
                  <a:pt x="13647557" y="8119337"/>
                </a:moveTo>
                <a:cubicBezTo>
                  <a:pt x="14179372" y="8290643"/>
                  <a:pt x="14704311" y="8355636"/>
                  <a:pt x="15213031" y="8432275"/>
                </a:cubicBezTo>
                <a:moveTo>
                  <a:pt x="24570168" y="8385956"/>
                </a:moveTo>
                <a:lnTo>
                  <a:pt x="24558998" y="8385217"/>
                </a:lnTo>
                <a:moveTo>
                  <a:pt x="11191453" y="6598058"/>
                </a:moveTo>
                <a:cubicBezTo>
                  <a:pt x="11397914" y="6659577"/>
                  <a:pt x="11512259" y="6703775"/>
                  <a:pt x="11661705" y="6773325"/>
                </a:cubicBezTo>
                <a:moveTo>
                  <a:pt x="11661752" y="6773797"/>
                </a:moveTo>
                <a:cubicBezTo>
                  <a:pt x="11943148" y="6895279"/>
                  <a:pt x="12096276" y="6957552"/>
                  <a:pt x="12360192" y="7093886"/>
                </a:cubicBezTo>
                <a:moveTo>
                  <a:pt x="21415434" y="7277170"/>
                </a:moveTo>
                <a:cubicBezTo>
                  <a:pt x="21278718" y="7298782"/>
                  <a:pt x="21106444" y="7333125"/>
                  <a:pt x="20922056" y="7397268"/>
                </a:cubicBezTo>
                <a:moveTo>
                  <a:pt x="20922686" y="7397316"/>
                </a:moveTo>
                <a:cubicBezTo>
                  <a:pt x="20627224" y="7489940"/>
                  <a:pt x="20428046" y="7537108"/>
                  <a:pt x="20142814" y="7635564"/>
                </a:cubicBezTo>
                <a:moveTo>
                  <a:pt x="24622718" y="7415894"/>
                </a:moveTo>
                <a:lnTo>
                  <a:pt x="24633886" y="7416633"/>
                </a:lnTo>
                <a:moveTo>
                  <a:pt x="20142814" y="7635108"/>
                </a:moveTo>
                <a:cubicBezTo>
                  <a:pt x="19805030" y="7748008"/>
                  <a:pt x="18872548" y="7914615"/>
                  <a:pt x="18066244" y="7988802"/>
                </a:cubicBezTo>
                <a:moveTo>
                  <a:pt x="24665668" y="6931728"/>
                </a:moveTo>
                <a:lnTo>
                  <a:pt x="24654654" y="6931005"/>
                </a:lnTo>
                <a:moveTo>
                  <a:pt x="18998254" y="6560194"/>
                </a:moveTo>
                <a:cubicBezTo>
                  <a:pt x="17124166" y="6459947"/>
                  <a:pt x="15319918" y="6341672"/>
                  <a:pt x="13443409" y="6196079"/>
                </a:cubicBezTo>
                <a:moveTo>
                  <a:pt x="9275737" y="5436398"/>
                </a:moveTo>
                <a:lnTo>
                  <a:pt x="10227192" y="5498766"/>
                </a:lnTo>
                <a:cubicBezTo>
                  <a:pt x="10417700" y="5511246"/>
                  <a:pt x="10555661" y="5520299"/>
                  <a:pt x="10555661" y="5520299"/>
                </a:cubicBezTo>
                <a:moveTo>
                  <a:pt x="10555676" y="5519796"/>
                </a:moveTo>
                <a:cubicBezTo>
                  <a:pt x="10790220" y="5527168"/>
                  <a:pt x="11036438" y="5551310"/>
                  <a:pt x="11263383" y="5504063"/>
                </a:cubicBezTo>
                <a:moveTo>
                  <a:pt x="24761164" y="5477971"/>
                </a:moveTo>
                <a:lnTo>
                  <a:pt x="24749994" y="5477249"/>
                </a:lnTo>
                <a:moveTo>
                  <a:pt x="15489769" y="4210548"/>
                </a:moveTo>
                <a:cubicBezTo>
                  <a:pt x="14977762" y="4248978"/>
                  <a:pt x="14447096" y="4214194"/>
                  <a:pt x="13896795" y="4316454"/>
                </a:cubicBezTo>
                <a:moveTo>
                  <a:pt x="11840225" y="4608393"/>
                </a:moveTo>
                <a:cubicBezTo>
                  <a:pt x="11840225" y="4608393"/>
                  <a:pt x="11736420" y="4614774"/>
                  <a:pt x="11564650" y="4609163"/>
                </a:cubicBezTo>
                <a:cubicBezTo>
                  <a:pt x="11479032" y="4606365"/>
                  <a:pt x="10623579" y="4550772"/>
                  <a:pt x="10623579" y="4550772"/>
                </a:cubicBezTo>
                <a:moveTo>
                  <a:pt x="17200786" y="4157957"/>
                </a:moveTo>
                <a:cubicBezTo>
                  <a:pt x="16699226" y="4126505"/>
                  <a:pt x="16197666" y="4094112"/>
                  <a:pt x="15695475" y="4064971"/>
                </a:cubicBezTo>
                <a:moveTo>
                  <a:pt x="24792944" y="4993051"/>
                </a:moveTo>
                <a:lnTo>
                  <a:pt x="24781932" y="4992328"/>
                </a:lnTo>
                <a:moveTo>
                  <a:pt x="14311291" y="4099408"/>
                </a:moveTo>
                <a:cubicBezTo>
                  <a:pt x="13919514" y="4133013"/>
                  <a:pt x="13491913" y="4152031"/>
                  <a:pt x="13140600" y="4177934"/>
                </a:cubicBezTo>
                <a:moveTo>
                  <a:pt x="5533323" y="3742335"/>
                </a:moveTo>
                <a:cubicBezTo>
                  <a:pt x="5601697" y="3723757"/>
                  <a:pt x="5708680" y="3742068"/>
                  <a:pt x="5816937" y="3749157"/>
                </a:cubicBezTo>
                <a:lnTo>
                  <a:pt x="6803413" y="3813819"/>
                </a:lnTo>
                <a:moveTo>
                  <a:pt x="17402166" y="8385657"/>
                </a:moveTo>
                <a:cubicBezTo>
                  <a:pt x="16570374" y="8400321"/>
                  <a:pt x="15721277" y="8344665"/>
                  <a:pt x="14871708" y="8200471"/>
                </a:cubicBezTo>
                <a:moveTo>
                  <a:pt x="21113996" y="7756165"/>
                </a:moveTo>
                <a:cubicBezTo>
                  <a:pt x="20895784" y="7806320"/>
                  <a:pt x="20741758" y="7839045"/>
                  <a:pt x="20402560" y="7924564"/>
                </a:cubicBezTo>
                <a:moveTo>
                  <a:pt x="24729384" y="5962405"/>
                </a:moveTo>
                <a:lnTo>
                  <a:pt x="24718214" y="5961666"/>
                </a:lnTo>
                <a:moveTo>
                  <a:pt x="12251605" y="4868284"/>
                </a:moveTo>
                <a:cubicBezTo>
                  <a:pt x="12003735" y="4901448"/>
                  <a:pt x="11785333" y="4981231"/>
                  <a:pt x="11549373" y="5027865"/>
                </a:cubicBezTo>
                <a:moveTo>
                  <a:pt x="4229596" y="3720409"/>
                </a:moveTo>
                <a:cubicBezTo>
                  <a:pt x="4780038" y="3721666"/>
                  <a:pt x="5123044" y="3367736"/>
                  <a:pt x="5592446" y="3263937"/>
                </a:cubicBezTo>
                <a:moveTo>
                  <a:pt x="1697927" y="2992635"/>
                </a:moveTo>
                <a:lnTo>
                  <a:pt x="2684403" y="3057297"/>
                </a:lnTo>
                <a:cubicBezTo>
                  <a:pt x="2848904" y="3068080"/>
                  <a:pt x="2903450" y="3081534"/>
                  <a:pt x="2938046" y="3090399"/>
                </a:cubicBezTo>
                <a:moveTo>
                  <a:pt x="24824882" y="4508602"/>
                </a:moveTo>
                <a:lnTo>
                  <a:pt x="24813712" y="4507879"/>
                </a:lnTo>
                <a:moveTo>
                  <a:pt x="24888442" y="3539279"/>
                </a:moveTo>
                <a:lnTo>
                  <a:pt x="24877430" y="3538556"/>
                </a:lnTo>
                <a:moveTo>
                  <a:pt x="24920380" y="3054405"/>
                </a:moveTo>
                <a:lnTo>
                  <a:pt x="24909210" y="3053682"/>
                </a:lnTo>
                <a:moveTo>
                  <a:pt x="24984098" y="2085067"/>
                </a:moveTo>
                <a:lnTo>
                  <a:pt x="24972926" y="2084328"/>
                </a:lnTo>
              </a:path>
            </a:pathLst>
          </a:custGeom>
          <a:noFill/>
          <a:ln w="50800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324892D-3ABB-5869-E4F9-8A25B1583F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9885"/>
                    </a14:imgEffect>
                    <a14:imgEffect>
                      <a14:brightnessContrast contrast="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86857" y="11064815"/>
            <a:ext cx="2231450" cy="205358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9BF11CA-D54A-AB91-1BBB-E033C91BB62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9885"/>
                    </a14:imgEffect>
                    <a14:imgEffect>
                      <a14:brightnessContrast contrast="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3305" y="4128607"/>
            <a:ext cx="2794000" cy="2794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8726E3D-8A9D-CD4E-483D-B68D5CF272A0}"/>
              </a:ext>
            </a:extLst>
          </p:cNvPr>
          <p:cNvSpPr txBox="1"/>
          <p:nvPr userDrawn="1"/>
        </p:nvSpPr>
        <p:spPr>
          <a:xfrm>
            <a:off x="31742743" y="-87085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ru-ME" sz="3200" dirty="0" err="1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69675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руговая диаграмма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Заголовок 20">
            <a:extLst>
              <a:ext uri="{FF2B5EF4-FFF2-40B4-BE49-F238E27FC236}">
                <a16:creationId xmlns:a16="http://schemas.microsoft.com/office/drawing/2014/main" id="{7436C6E8-2BF2-A7DD-A6E8-F7A22E55E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2339" y="4123691"/>
            <a:ext cx="9307511" cy="221599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8" name="Текст 11">
            <a:extLst>
              <a:ext uri="{FF2B5EF4-FFF2-40B4-BE49-F238E27FC236}">
                <a16:creationId xmlns:a16="http://schemas.microsoft.com/office/drawing/2014/main" id="{AB8AA476-A078-9867-7590-B11A1818670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2337" y="6858000"/>
            <a:ext cx="9307511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3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Подзаголовок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29DFA22-AFE9-778F-AC1B-3C70D89721A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9885"/>
                    </a14:imgEffect>
                    <a14:imgEffect>
                      <a14:brightnessContrast contrast="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9637" y="-475835"/>
            <a:ext cx="2231450" cy="205358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A259924-5D11-FB4A-C427-AD4771BF8B7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9885"/>
                    </a14:imgEffect>
                    <a14:imgEffect>
                      <a14:brightnessContrast contrast="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4663" y="10348216"/>
            <a:ext cx="2794000" cy="279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79177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фры к графику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Заголовок 20">
            <a:extLst>
              <a:ext uri="{FF2B5EF4-FFF2-40B4-BE49-F238E27FC236}">
                <a16:creationId xmlns:a16="http://schemas.microsoft.com/office/drawing/2014/main" id="{7436C6E8-2BF2-A7DD-A6E8-F7A22E55E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2338" y="791369"/>
            <a:ext cx="21029613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18" name="Текст 11">
            <a:extLst>
              <a:ext uri="{FF2B5EF4-FFF2-40B4-BE49-F238E27FC236}">
                <a16:creationId xmlns:a16="http://schemas.microsoft.com/office/drawing/2014/main" id="{AB8AA476-A078-9867-7590-B11A1818670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2336" y="2148475"/>
            <a:ext cx="21029613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3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" name="Текст 11">
            <a:extLst>
              <a:ext uri="{FF2B5EF4-FFF2-40B4-BE49-F238E27FC236}">
                <a16:creationId xmlns:a16="http://schemas.microsoft.com/office/drawing/2014/main" id="{8C803713-E16C-4615-139F-0F68BD5FD50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442825" y="9298003"/>
            <a:ext cx="5260066" cy="229909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16600" b="1" i="0" kern="1200" dirty="0">
                <a:solidFill>
                  <a:schemeClr val="bg1"/>
                </a:solidFill>
                <a:latin typeface="YS Text Wide" pitchFamily="2" charset="0"/>
                <a:ea typeface="YS Text Wide" pitchFamily="2" charset="0"/>
                <a:cs typeface="YS Text Wide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3" name="Текст 11">
            <a:extLst>
              <a:ext uri="{FF2B5EF4-FFF2-40B4-BE49-F238E27FC236}">
                <a16:creationId xmlns:a16="http://schemas.microsoft.com/office/drawing/2014/main" id="{7E8D3423-C701-0EAA-E238-66707E4C70B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475482" y="11541855"/>
            <a:ext cx="5260067" cy="132959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3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Почему она такая важная?</a:t>
            </a:r>
            <a:br>
              <a:rPr lang="ru-RU" dirty="0"/>
            </a:br>
            <a:r>
              <a:rPr lang="ru-RU" dirty="0"/>
              <a:t>И что это за цифра вообще?</a:t>
            </a:r>
          </a:p>
        </p:txBody>
      </p:sp>
      <p:sp>
        <p:nvSpPr>
          <p:cNvPr id="4" name="Текст 11">
            <a:extLst>
              <a:ext uri="{FF2B5EF4-FFF2-40B4-BE49-F238E27FC236}">
                <a16:creationId xmlns:a16="http://schemas.microsoft.com/office/drawing/2014/main" id="{013AAA64-B5F7-7CD5-7ADF-5035B71AE12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8187761" y="9298003"/>
            <a:ext cx="5260066" cy="229909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16600" b="1" i="0" kern="1200" dirty="0">
                <a:solidFill>
                  <a:schemeClr val="bg1"/>
                </a:solidFill>
                <a:latin typeface="YS Text Wide" pitchFamily="2" charset="0"/>
                <a:ea typeface="YS Text Wide" pitchFamily="2" charset="0"/>
                <a:cs typeface="YS Text Wide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5" name="Текст 11">
            <a:extLst>
              <a:ext uri="{FF2B5EF4-FFF2-40B4-BE49-F238E27FC236}">
                <a16:creationId xmlns:a16="http://schemas.microsoft.com/office/drawing/2014/main" id="{0EAD55EC-2218-BFE9-47A5-A68CDB0AF4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220418" y="11541855"/>
            <a:ext cx="5260067" cy="132959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3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Почему она такая важная?</a:t>
            </a:r>
            <a:br>
              <a:rPr lang="ru-RU" dirty="0"/>
            </a:br>
            <a:r>
              <a:rPr lang="ru-RU" dirty="0"/>
              <a:t>И что это за цифра вообще?</a:t>
            </a:r>
          </a:p>
        </p:txBody>
      </p:sp>
    </p:spTree>
    <p:extLst>
      <p:ext uri="{BB962C8B-B14F-4D97-AF65-F5344CB8AC3E}">
        <p14:creationId xmlns:p14="http://schemas.microsoft.com/office/powerpoint/2010/main" val="172877585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ажная цифра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">
            <a:extLst>
              <a:ext uri="{FF2B5EF4-FFF2-40B4-BE49-F238E27FC236}">
                <a16:creationId xmlns:a16="http://schemas.microsoft.com/office/drawing/2014/main" id="{55F2E6D6-6EE8-4222-61D6-051458D1956E}"/>
              </a:ext>
            </a:extLst>
          </p:cNvPr>
          <p:cNvSpPr/>
          <p:nvPr userDrawn="1"/>
        </p:nvSpPr>
        <p:spPr>
          <a:xfrm rot="1898094">
            <a:off x="-5984213" y="-1279747"/>
            <a:ext cx="37651226" cy="16275492"/>
          </a:xfrm>
          <a:custGeom>
            <a:avLst/>
            <a:gdLst>
              <a:gd name="connsiteX0" fmla="*/ 24781932 w 25004707"/>
              <a:gd name="connsiteY0" fmla="*/ 4992328 h 10808782"/>
              <a:gd name="connsiteX1" fmla="*/ 24813712 w 25004707"/>
              <a:gd name="connsiteY1" fmla="*/ 4507894 h 10808782"/>
              <a:gd name="connsiteX2" fmla="*/ 24781932 w 25004707"/>
              <a:gd name="connsiteY2" fmla="*/ 4992328 h 10808782"/>
              <a:gd name="connsiteX3" fmla="*/ 24749994 w 25004707"/>
              <a:gd name="connsiteY3" fmla="*/ 5477249 h 10808782"/>
              <a:gd name="connsiteX4" fmla="*/ 24781932 w 25004707"/>
              <a:gd name="connsiteY4" fmla="*/ 4992328 h 10808782"/>
              <a:gd name="connsiteX5" fmla="*/ 23497668 w 25004707"/>
              <a:gd name="connsiteY5" fmla="*/ 4908160 h 10808782"/>
              <a:gd name="connsiteX6" fmla="*/ 23465886 w 25004707"/>
              <a:gd name="connsiteY6" fmla="*/ 5393065 h 10808782"/>
              <a:gd name="connsiteX7" fmla="*/ 24813712 w 25004707"/>
              <a:gd name="connsiteY7" fmla="*/ 4507894 h 10808782"/>
              <a:gd name="connsiteX8" fmla="*/ 24845492 w 25004707"/>
              <a:gd name="connsiteY8" fmla="*/ 4022989 h 10808782"/>
              <a:gd name="connsiteX9" fmla="*/ 24813712 w 25004707"/>
              <a:gd name="connsiteY9" fmla="*/ 4507894 h 10808782"/>
              <a:gd name="connsiteX10" fmla="*/ 23529446 w 25004707"/>
              <a:gd name="connsiteY10" fmla="*/ 4423711 h 10808782"/>
              <a:gd name="connsiteX11" fmla="*/ 24718214 w 25004707"/>
              <a:gd name="connsiteY11" fmla="*/ 5961666 h 10808782"/>
              <a:gd name="connsiteX12" fmla="*/ 24686276 w 25004707"/>
              <a:gd name="connsiteY12" fmla="*/ 6446571 h 10808782"/>
              <a:gd name="connsiteX13" fmla="*/ 23402168 w 25004707"/>
              <a:gd name="connsiteY13" fmla="*/ 6362388 h 10808782"/>
              <a:gd name="connsiteX14" fmla="*/ 24718214 w 25004707"/>
              <a:gd name="connsiteY14" fmla="*/ 5961666 h 10808782"/>
              <a:gd name="connsiteX15" fmla="*/ 24749994 w 25004707"/>
              <a:gd name="connsiteY15" fmla="*/ 5477249 h 10808782"/>
              <a:gd name="connsiteX16" fmla="*/ 24718214 w 25004707"/>
              <a:gd name="connsiteY16" fmla="*/ 5961666 h 10808782"/>
              <a:gd name="connsiteX17" fmla="*/ 23433948 w 25004707"/>
              <a:gd name="connsiteY17" fmla="*/ 5877498 h 10808782"/>
              <a:gd name="connsiteX18" fmla="*/ 24749994 w 25004707"/>
              <a:gd name="connsiteY18" fmla="*/ 5477249 h 10808782"/>
              <a:gd name="connsiteX19" fmla="*/ 23465886 w 25004707"/>
              <a:gd name="connsiteY19" fmla="*/ 5393065 h 10808782"/>
              <a:gd name="connsiteX20" fmla="*/ 24940990 w 25004707"/>
              <a:gd name="connsiteY20" fmla="*/ 2568777 h 10808782"/>
              <a:gd name="connsiteX21" fmla="*/ 24909210 w 25004707"/>
              <a:gd name="connsiteY21" fmla="*/ 3053682 h 10808782"/>
              <a:gd name="connsiteX22" fmla="*/ 23624944 w 25004707"/>
              <a:gd name="connsiteY22" fmla="*/ 2969499 h 10808782"/>
              <a:gd name="connsiteX23" fmla="*/ 24877430 w 25004707"/>
              <a:gd name="connsiteY23" fmla="*/ 3538571 h 10808782"/>
              <a:gd name="connsiteX24" fmla="*/ 24845492 w 25004707"/>
              <a:gd name="connsiteY24" fmla="*/ 4023005 h 10808782"/>
              <a:gd name="connsiteX25" fmla="*/ 24845492 w 25004707"/>
              <a:gd name="connsiteY25" fmla="*/ 4023005 h 10808782"/>
              <a:gd name="connsiteX26" fmla="*/ 24856664 w 25004707"/>
              <a:gd name="connsiteY26" fmla="*/ 4023744 h 10808782"/>
              <a:gd name="connsiteX27" fmla="*/ 24845492 w 25004707"/>
              <a:gd name="connsiteY27" fmla="*/ 4023005 h 10808782"/>
              <a:gd name="connsiteX28" fmla="*/ 23561384 w 25004707"/>
              <a:gd name="connsiteY28" fmla="*/ 3938837 h 10808782"/>
              <a:gd name="connsiteX29" fmla="*/ 24940990 w 25004707"/>
              <a:gd name="connsiteY29" fmla="*/ 2568777 h 10808782"/>
              <a:gd name="connsiteX30" fmla="*/ 23656882 w 25004707"/>
              <a:gd name="connsiteY30" fmla="*/ 2484594 h 10808782"/>
              <a:gd name="connsiteX31" fmla="*/ 23624944 w 25004707"/>
              <a:gd name="connsiteY31" fmla="*/ 2969499 h 10808782"/>
              <a:gd name="connsiteX32" fmla="*/ 24940990 w 25004707"/>
              <a:gd name="connsiteY32" fmla="*/ 2568777 h 10808782"/>
              <a:gd name="connsiteX33" fmla="*/ 24952160 w 25004707"/>
              <a:gd name="connsiteY33" fmla="*/ 2569500 h 10808782"/>
              <a:gd name="connsiteX34" fmla="*/ 24940990 w 25004707"/>
              <a:gd name="connsiteY34" fmla="*/ 2568777 h 10808782"/>
              <a:gd name="connsiteX35" fmla="*/ 25004708 w 25004707"/>
              <a:gd name="connsiteY35" fmla="*/ 1599423 h 10808782"/>
              <a:gd name="connsiteX36" fmla="*/ 5763304 w 25004707"/>
              <a:gd name="connsiteY36" fmla="*/ 338142 h 10808782"/>
              <a:gd name="connsiteX37" fmla="*/ 631905 w 25004707"/>
              <a:gd name="connsiteY37" fmla="*/ 1774 h 10808782"/>
              <a:gd name="connsiteX38" fmla="*/ 604841 w 25004707"/>
              <a:gd name="connsiteY38" fmla="*/ 0 h 10808782"/>
              <a:gd name="connsiteX39" fmla="*/ 0 w 25004707"/>
              <a:gd name="connsiteY39" fmla="*/ 9209356 h 10808782"/>
              <a:gd name="connsiteX40" fmla="*/ 1284177 w 25004707"/>
              <a:gd name="connsiteY40" fmla="*/ 9293539 h 10808782"/>
              <a:gd name="connsiteX41" fmla="*/ 24909210 w 25004707"/>
              <a:gd name="connsiteY41" fmla="*/ 3053651 h 10808782"/>
              <a:gd name="connsiteX42" fmla="*/ 24877430 w 25004707"/>
              <a:gd name="connsiteY42" fmla="*/ 3538556 h 10808782"/>
              <a:gd name="connsiteX43" fmla="*/ 23593164 w 25004707"/>
              <a:gd name="connsiteY43" fmla="*/ 3454388 h 10808782"/>
              <a:gd name="connsiteX44" fmla="*/ 24590780 w 25004707"/>
              <a:gd name="connsiteY44" fmla="*/ 7900799 h 10808782"/>
              <a:gd name="connsiteX45" fmla="*/ 24622718 w 25004707"/>
              <a:gd name="connsiteY45" fmla="*/ 7415910 h 10808782"/>
              <a:gd name="connsiteX46" fmla="*/ 24590780 w 25004707"/>
              <a:gd name="connsiteY46" fmla="*/ 7900799 h 10808782"/>
              <a:gd name="connsiteX47" fmla="*/ 23306672 w 25004707"/>
              <a:gd name="connsiteY47" fmla="*/ 7816615 h 10808782"/>
              <a:gd name="connsiteX48" fmla="*/ 23274890 w 25004707"/>
              <a:gd name="connsiteY48" fmla="*/ 8301049 h 10808782"/>
              <a:gd name="connsiteX49" fmla="*/ 21990782 w 25004707"/>
              <a:gd name="connsiteY49" fmla="*/ 8216849 h 10808782"/>
              <a:gd name="connsiteX50" fmla="*/ 21466882 w 25004707"/>
              <a:gd name="connsiteY50" fmla="*/ 8182522 h 10808782"/>
              <a:gd name="connsiteX51" fmla="*/ 20799970 w 25004707"/>
              <a:gd name="connsiteY51" fmla="*/ 8169870 h 10808782"/>
              <a:gd name="connsiteX52" fmla="*/ 24590780 w 25004707"/>
              <a:gd name="connsiteY52" fmla="*/ 7900799 h 10808782"/>
              <a:gd name="connsiteX53" fmla="*/ 24601948 w 25004707"/>
              <a:gd name="connsiteY53" fmla="*/ 7901538 h 10808782"/>
              <a:gd name="connsiteX54" fmla="*/ 24622718 w 25004707"/>
              <a:gd name="connsiteY54" fmla="*/ 7415910 h 10808782"/>
              <a:gd name="connsiteX55" fmla="*/ 24654496 w 25004707"/>
              <a:gd name="connsiteY55" fmla="*/ 6931005 h 10808782"/>
              <a:gd name="connsiteX56" fmla="*/ 24622718 w 25004707"/>
              <a:gd name="connsiteY56" fmla="*/ 7415910 h 10808782"/>
              <a:gd name="connsiteX57" fmla="*/ 23338452 w 25004707"/>
              <a:gd name="connsiteY57" fmla="*/ 7331710 h 10808782"/>
              <a:gd name="connsiteX58" fmla="*/ 24558998 w 25004707"/>
              <a:gd name="connsiteY58" fmla="*/ 8385232 h 10808782"/>
              <a:gd name="connsiteX59" fmla="*/ 24527218 w 25004707"/>
              <a:gd name="connsiteY59" fmla="*/ 8870137 h 10808782"/>
              <a:gd name="connsiteX60" fmla="*/ 23242952 w 25004707"/>
              <a:gd name="connsiteY60" fmla="*/ 8785953 h 10808782"/>
              <a:gd name="connsiteX61" fmla="*/ 24558998 w 25004707"/>
              <a:gd name="connsiteY61" fmla="*/ 8385232 h 10808782"/>
              <a:gd name="connsiteX62" fmla="*/ 24590780 w 25004707"/>
              <a:gd name="connsiteY62" fmla="*/ 7900799 h 10808782"/>
              <a:gd name="connsiteX63" fmla="*/ 24558998 w 25004707"/>
              <a:gd name="connsiteY63" fmla="*/ 8385232 h 10808782"/>
              <a:gd name="connsiteX64" fmla="*/ 23274890 w 25004707"/>
              <a:gd name="connsiteY64" fmla="*/ 8301049 h 10808782"/>
              <a:gd name="connsiteX65" fmla="*/ 23242952 w 25004707"/>
              <a:gd name="connsiteY65" fmla="*/ 8785953 h 10808782"/>
              <a:gd name="connsiteX66" fmla="*/ 24654496 w 25004707"/>
              <a:gd name="connsiteY66" fmla="*/ 6931005 h 10808782"/>
              <a:gd name="connsiteX67" fmla="*/ 24686434 w 25004707"/>
              <a:gd name="connsiteY67" fmla="*/ 6446571 h 10808782"/>
              <a:gd name="connsiteX68" fmla="*/ 24697448 w 25004707"/>
              <a:gd name="connsiteY68" fmla="*/ 6447294 h 10808782"/>
              <a:gd name="connsiteX69" fmla="*/ 24654496 w 25004707"/>
              <a:gd name="connsiteY69" fmla="*/ 6931005 h 10808782"/>
              <a:gd name="connsiteX70" fmla="*/ 23370388 w 25004707"/>
              <a:gd name="connsiteY70" fmla="*/ 6846837 h 10808782"/>
              <a:gd name="connsiteX71" fmla="*/ 24463500 w 25004707"/>
              <a:gd name="connsiteY71" fmla="*/ 9839444 h 10808782"/>
              <a:gd name="connsiteX72" fmla="*/ 24431722 w 25004707"/>
              <a:gd name="connsiteY72" fmla="*/ 10323878 h 10808782"/>
              <a:gd name="connsiteX73" fmla="*/ 23147614 w 25004707"/>
              <a:gd name="connsiteY73" fmla="*/ 10239694 h 10808782"/>
              <a:gd name="connsiteX74" fmla="*/ 23338608 w 25004707"/>
              <a:gd name="connsiteY74" fmla="*/ 7331726 h 10808782"/>
              <a:gd name="connsiteX75" fmla="*/ 23306672 w 25004707"/>
              <a:gd name="connsiteY75" fmla="*/ 7816631 h 10808782"/>
              <a:gd name="connsiteX76" fmla="*/ 22022564 w 25004707"/>
              <a:gd name="connsiteY76" fmla="*/ 7732447 h 10808782"/>
              <a:gd name="connsiteX77" fmla="*/ 23242952 w 25004707"/>
              <a:gd name="connsiteY77" fmla="*/ 8785953 h 10808782"/>
              <a:gd name="connsiteX78" fmla="*/ 23211172 w 25004707"/>
              <a:gd name="connsiteY78" fmla="*/ 9270371 h 10808782"/>
              <a:gd name="connsiteX79" fmla="*/ 23242952 w 25004707"/>
              <a:gd name="connsiteY79" fmla="*/ 8785953 h 10808782"/>
              <a:gd name="connsiteX80" fmla="*/ 21958844 w 25004707"/>
              <a:gd name="connsiteY80" fmla="*/ 8701770 h 10808782"/>
              <a:gd name="connsiteX81" fmla="*/ 23433948 w 25004707"/>
              <a:gd name="connsiteY81" fmla="*/ 5877498 h 10808782"/>
              <a:gd name="connsiteX82" fmla="*/ 23465886 w 25004707"/>
              <a:gd name="connsiteY82" fmla="*/ 5393065 h 10808782"/>
              <a:gd name="connsiteX83" fmla="*/ 23433948 w 25004707"/>
              <a:gd name="connsiteY83" fmla="*/ 5877498 h 10808782"/>
              <a:gd name="connsiteX84" fmla="*/ 22149840 w 25004707"/>
              <a:gd name="connsiteY84" fmla="*/ 5793299 h 10808782"/>
              <a:gd name="connsiteX85" fmla="*/ 22138828 w 25004707"/>
              <a:gd name="connsiteY85" fmla="*/ 6277685 h 10808782"/>
              <a:gd name="connsiteX86" fmla="*/ 23465886 w 25004707"/>
              <a:gd name="connsiteY86" fmla="*/ 5393065 h 10808782"/>
              <a:gd name="connsiteX87" fmla="*/ 22181622 w 25004707"/>
              <a:gd name="connsiteY87" fmla="*/ 5308881 h 10808782"/>
              <a:gd name="connsiteX88" fmla="*/ 23115676 w 25004707"/>
              <a:gd name="connsiteY88" fmla="*/ 10724599 h 10808782"/>
              <a:gd name="connsiteX89" fmla="*/ 23147614 w 25004707"/>
              <a:gd name="connsiteY89" fmla="*/ 10239709 h 10808782"/>
              <a:gd name="connsiteX90" fmla="*/ 23115676 w 25004707"/>
              <a:gd name="connsiteY90" fmla="*/ 10724599 h 10808782"/>
              <a:gd name="connsiteX91" fmla="*/ 24399940 w 25004707"/>
              <a:gd name="connsiteY91" fmla="*/ 10808782 h 10808782"/>
              <a:gd name="connsiteX92" fmla="*/ 24431722 w 25004707"/>
              <a:gd name="connsiteY92" fmla="*/ 10323878 h 10808782"/>
              <a:gd name="connsiteX93" fmla="*/ 23115676 w 25004707"/>
              <a:gd name="connsiteY93" fmla="*/ 10724599 h 10808782"/>
              <a:gd name="connsiteX94" fmla="*/ 21831568 w 25004707"/>
              <a:gd name="connsiteY94" fmla="*/ 10640431 h 10808782"/>
              <a:gd name="connsiteX95" fmla="*/ 23147614 w 25004707"/>
              <a:gd name="connsiteY95" fmla="*/ 10239709 h 10808782"/>
              <a:gd name="connsiteX96" fmla="*/ 23179392 w 25004707"/>
              <a:gd name="connsiteY96" fmla="*/ 9755261 h 10808782"/>
              <a:gd name="connsiteX97" fmla="*/ 23147614 w 25004707"/>
              <a:gd name="connsiteY97" fmla="*/ 10239709 h 10808782"/>
              <a:gd name="connsiteX98" fmla="*/ 21863348 w 25004707"/>
              <a:gd name="connsiteY98" fmla="*/ 10155526 h 10808782"/>
              <a:gd name="connsiteX99" fmla="*/ 23720600 w 25004707"/>
              <a:gd name="connsiteY99" fmla="*/ 1515244 h 10808782"/>
              <a:gd name="connsiteX100" fmla="*/ 23688662 w 25004707"/>
              <a:gd name="connsiteY100" fmla="*/ 2000144 h 10808782"/>
              <a:gd name="connsiteX101" fmla="*/ 23688662 w 25004707"/>
              <a:gd name="connsiteY101" fmla="*/ 2000144 h 10808782"/>
              <a:gd name="connsiteX102" fmla="*/ 24972772 w 25004707"/>
              <a:gd name="connsiteY102" fmla="*/ 2084312 h 10808782"/>
              <a:gd name="connsiteX103" fmla="*/ 23688662 w 25004707"/>
              <a:gd name="connsiteY103" fmla="*/ 2000144 h 10808782"/>
              <a:gd name="connsiteX104" fmla="*/ 22404554 w 25004707"/>
              <a:gd name="connsiteY104" fmla="*/ 1915976 h 10808782"/>
              <a:gd name="connsiteX105" fmla="*/ 23179392 w 25004707"/>
              <a:gd name="connsiteY105" fmla="*/ 9755261 h 10808782"/>
              <a:gd name="connsiteX106" fmla="*/ 23211172 w 25004707"/>
              <a:gd name="connsiteY106" fmla="*/ 9270387 h 10808782"/>
              <a:gd name="connsiteX107" fmla="*/ 23179392 w 25004707"/>
              <a:gd name="connsiteY107" fmla="*/ 9755261 h 10808782"/>
              <a:gd name="connsiteX108" fmla="*/ 21895126 w 25004707"/>
              <a:gd name="connsiteY108" fmla="*/ 9671092 h 10808782"/>
              <a:gd name="connsiteX109" fmla="*/ 21863348 w 25004707"/>
              <a:gd name="connsiteY109" fmla="*/ 10155526 h 10808782"/>
              <a:gd name="connsiteX110" fmla="*/ 23179392 w 25004707"/>
              <a:gd name="connsiteY110" fmla="*/ 9755261 h 10808782"/>
              <a:gd name="connsiteX111" fmla="*/ 24463500 w 25004707"/>
              <a:gd name="connsiteY111" fmla="*/ 9839460 h 10808782"/>
              <a:gd name="connsiteX112" fmla="*/ 24495438 w 25004707"/>
              <a:gd name="connsiteY112" fmla="*/ 9354555 h 10808782"/>
              <a:gd name="connsiteX113" fmla="*/ 24506452 w 25004707"/>
              <a:gd name="connsiteY113" fmla="*/ 9355294 h 10808782"/>
              <a:gd name="connsiteX114" fmla="*/ 23593164 w 25004707"/>
              <a:gd name="connsiteY114" fmla="*/ 3454388 h 10808782"/>
              <a:gd name="connsiteX115" fmla="*/ 23625102 w 25004707"/>
              <a:gd name="connsiteY115" fmla="*/ 2969483 h 10808782"/>
              <a:gd name="connsiteX116" fmla="*/ 23593164 w 25004707"/>
              <a:gd name="connsiteY116" fmla="*/ 3454388 h 10808782"/>
              <a:gd name="connsiteX117" fmla="*/ 22309056 w 25004707"/>
              <a:gd name="connsiteY117" fmla="*/ 3370204 h 10808782"/>
              <a:gd name="connsiteX118" fmla="*/ 23624944 w 25004707"/>
              <a:gd name="connsiteY118" fmla="*/ 2969499 h 10808782"/>
              <a:gd name="connsiteX119" fmla="*/ 22340836 w 25004707"/>
              <a:gd name="connsiteY119" fmla="*/ 2885315 h 10808782"/>
              <a:gd name="connsiteX120" fmla="*/ 23593164 w 25004707"/>
              <a:gd name="connsiteY120" fmla="*/ 3454388 h 10808782"/>
              <a:gd name="connsiteX121" fmla="*/ 23561384 w 25004707"/>
              <a:gd name="connsiteY121" fmla="*/ 3938821 h 10808782"/>
              <a:gd name="connsiteX122" fmla="*/ 22277118 w 25004707"/>
              <a:gd name="connsiteY122" fmla="*/ 3854653 h 10808782"/>
              <a:gd name="connsiteX123" fmla="*/ 23434106 w 25004707"/>
              <a:gd name="connsiteY123" fmla="*/ 5877482 h 10808782"/>
              <a:gd name="connsiteX124" fmla="*/ 23402168 w 25004707"/>
              <a:gd name="connsiteY124" fmla="*/ 6362388 h 10808782"/>
              <a:gd name="connsiteX125" fmla="*/ 22450808 w 25004707"/>
              <a:gd name="connsiteY125" fmla="*/ 6300020 h 10808782"/>
              <a:gd name="connsiteX126" fmla="*/ 22138828 w 25004707"/>
              <a:gd name="connsiteY126" fmla="*/ 6277685 h 10808782"/>
              <a:gd name="connsiteX127" fmla="*/ 23370388 w 25004707"/>
              <a:gd name="connsiteY127" fmla="*/ 6846837 h 10808782"/>
              <a:gd name="connsiteX128" fmla="*/ 23402168 w 25004707"/>
              <a:gd name="connsiteY128" fmla="*/ 6362404 h 10808782"/>
              <a:gd name="connsiteX129" fmla="*/ 23370388 w 25004707"/>
              <a:gd name="connsiteY129" fmla="*/ 6846837 h 10808782"/>
              <a:gd name="connsiteX130" fmla="*/ 23338452 w 25004707"/>
              <a:gd name="connsiteY130" fmla="*/ 7331710 h 10808782"/>
              <a:gd name="connsiteX131" fmla="*/ 23370388 w 25004707"/>
              <a:gd name="connsiteY131" fmla="*/ 6846837 h 10808782"/>
              <a:gd name="connsiteX132" fmla="*/ 22133950 w 25004707"/>
              <a:gd name="connsiteY132" fmla="*/ 6765781 h 10808782"/>
              <a:gd name="connsiteX133" fmla="*/ 23529604 w 25004707"/>
              <a:gd name="connsiteY133" fmla="*/ 4423711 h 10808782"/>
              <a:gd name="connsiteX134" fmla="*/ 23561384 w 25004707"/>
              <a:gd name="connsiteY134" fmla="*/ 3938806 h 10808782"/>
              <a:gd name="connsiteX135" fmla="*/ 23529604 w 25004707"/>
              <a:gd name="connsiteY135" fmla="*/ 4423711 h 10808782"/>
              <a:gd name="connsiteX136" fmla="*/ 23497668 w 25004707"/>
              <a:gd name="connsiteY136" fmla="*/ 4908160 h 10808782"/>
              <a:gd name="connsiteX137" fmla="*/ 22213560 w 25004707"/>
              <a:gd name="connsiteY137" fmla="*/ 4823976 h 10808782"/>
              <a:gd name="connsiteX138" fmla="*/ 23529604 w 25004707"/>
              <a:gd name="connsiteY138" fmla="*/ 4423711 h 10808782"/>
              <a:gd name="connsiteX139" fmla="*/ 22245338 w 25004707"/>
              <a:gd name="connsiteY139" fmla="*/ 4339527 h 10808782"/>
              <a:gd name="connsiteX140" fmla="*/ 23338452 w 25004707"/>
              <a:gd name="connsiteY140" fmla="*/ 7331710 h 10808782"/>
              <a:gd name="connsiteX141" fmla="*/ 22387090 w 25004707"/>
              <a:gd name="connsiteY141" fmla="*/ 7269358 h 10808782"/>
              <a:gd name="connsiteX142" fmla="*/ 22074952 w 25004707"/>
              <a:gd name="connsiteY142" fmla="*/ 7250780 h 10808782"/>
              <a:gd name="connsiteX143" fmla="*/ 23688662 w 25004707"/>
              <a:gd name="connsiteY143" fmla="*/ 2000160 h 10808782"/>
              <a:gd name="connsiteX144" fmla="*/ 23656882 w 25004707"/>
              <a:gd name="connsiteY144" fmla="*/ 2484594 h 10808782"/>
              <a:gd name="connsiteX145" fmla="*/ 22372618 w 25004707"/>
              <a:gd name="connsiteY145" fmla="*/ 2400410 h 10808782"/>
              <a:gd name="connsiteX146" fmla="*/ 23211172 w 25004707"/>
              <a:gd name="connsiteY146" fmla="*/ 9270371 h 10808782"/>
              <a:gd name="connsiteX147" fmla="*/ 24495438 w 25004707"/>
              <a:gd name="connsiteY147" fmla="*/ 9354555 h 10808782"/>
              <a:gd name="connsiteX148" fmla="*/ 24527218 w 25004707"/>
              <a:gd name="connsiteY148" fmla="*/ 8870122 h 10808782"/>
              <a:gd name="connsiteX149" fmla="*/ 24538388 w 25004707"/>
              <a:gd name="connsiteY149" fmla="*/ 8870860 h 10808782"/>
              <a:gd name="connsiteX150" fmla="*/ 23211172 w 25004707"/>
              <a:gd name="connsiteY150" fmla="*/ 9270371 h 10808782"/>
              <a:gd name="connsiteX151" fmla="*/ 21927064 w 25004707"/>
              <a:gd name="connsiteY151" fmla="*/ 9186203 h 10808782"/>
              <a:gd name="connsiteX152" fmla="*/ 21831568 w 25004707"/>
              <a:gd name="connsiteY152" fmla="*/ 10640431 h 10808782"/>
              <a:gd name="connsiteX153" fmla="*/ 21863348 w 25004707"/>
              <a:gd name="connsiteY153" fmla="*/ 10155526 h 10808782"/>
              <a:gd name="connsiteX154" fmla="*/ 21831568 w 25004707"/>
              <a:gd name="connsiteY154" fmla="*/ 10640431 h 10808782"/>
              <a:gd name="connsiteX155" fmla="*/ 20547302 w 25004707"/>
              <a:gd name="connsiteY155" fmla="*/ 10556248 h 10808782"/>
              <a:gd name="connsiteX156" fmla="*/ 21863348 w 25004707"/>
              <a:gd name="connsiteY156" fmla="*/ 10155526 h 10808782"/>
              <a:gd name="connsiteX157" fmla="*/ 20579240 w 25004707"/>
              <a:gd name="connsiteY157" fmla="*/ 10071342 h 10808782"/>
              <a:gd name="connsiteX158" fmla="*/ 22340836 w 25004707"/>
              <a:gd name="connsiteY158" fmla="*/ 2885299 h 10808782"/>
              <a:gd name="connsiteX159" fmla="*/ 22308898 w 25004707"/>
              <a:gd name="connsiteY159" fmla="*/ 3370204 h 10808782"/>
              <a:gd name="connsiteX160" fmla="*/ 21024790 w 25004707"/>
              <a:gd name="connsiteY160" fmla="*/ 3286020 h 10808782"/>
              <a:gd name="connsiteX161" fmla="*/ 22277118 w 25004707"/>
              <a:gd name="connsiteY161" fmla="*/ 3854653 h 10808782"/>
              <a:gd name="connsiteX162" fmla="*/ 22308898 w 25004707"/>
              <a:gd name="connsiteY162" fmla="*/ 3370220 h 10808782"/>
              <a:gd name="connsiteX163" fmla="*/ 22277118 w 25004707"/>
              <a:gd name="connsiteY163" fmla="*/ 3854653 h 10808782"/>
              <a:gd name="connsiteX164" fmla="*/ 20993010 w 25004707"/>
              <a:gd name="connsiteY164" fmla="*/ 3770469 h 10808782"/>
              <a:gd name="connsiteX165" fmla="*/ 21927064 w 25004707"/>
              <a:gd name="connsiteY165" fmla="*/ 9186203 h 10808782"/>
              <a:gd name="connsiteX166" fmla="*/ 21895126 w 25004707"/>
              <a:gd name="connsiteY166" fmla="*/ 9671109 h 10808782"/>
              <a:gd name="connsiteX167" fmla="*/ 20611018 w 25004707"/>
              <a:gd name="connsiteY167" fmla="*/ 9586925 h 10808782"/>
              <a:gd name="connsiteX168" fmla="*/ 21927064 w 25004707"/>
              <a:gd name="connsiteY168" fmla="*/ 9186203 h 10808782"/>
              <a:gd name="connsiteX169" fmla="*/ 21958844 w 25004707"/>
              <a:gd name="connsiteY169" fmla="*/ 8701770 h 10808782"/>
              <a:gd name="connsiteX170" fmla="*/ 21927064 w 25004707"/>
              <a:gd name="connsiteY170" fmla="*/ 9186203 h 10808782"/>
              <a:gd name="connsiteX171" fmla="*/ 20642800 w 25004707"/>
              <a:gd name="connsiteY171" fmla="*/ 9102019 h 10808782"/>
              <a:gd name="connsiteX172" fmla="*/ 22436334 w 25004707"/>
              <a:gd name="connsiteY172" fmla="*/ 1431070 h 10808782"/>
              <a:gd name="connsiteX173" fmla="*/ 22404554 w 25004707"/>
              <a:gd name="connsiteY173" fmla="*/ 1915976 h 10808782"/>
              <a:gd name="connsiteX174" fmla="*/ 22404554 w 25004707"/>
              <a:gd name="connsiteY174" fmla="*/ 1915976 h 10808782"/>
              <a:gd name="connsiteX175" fmla="*/ 21120288 w 25004707"/>
              <a:gd name="connsiteY175" fmla="*/ 1831793 h 10808782"/>
              <a:gd name="connsiteX176" fmla="*/ 22022564 w 25004707"/>
              <a:gd name="connsiteY176" fmla="*/ 7732431 h 10808782"/>
              <a:gd name="connsiteX177" fmla="*/ 22074952 w 25004707"/>
              <a:gd name="connsiteY177" fmla="*/ 7250780 h 10808782"/>
              <a:gd name="connsiteX178" fmla="*/ 22022564 w 25004707"/>
              <a:gd name="connsiteY178" fmla="*/ 7732431 h 10808782"/>
              <a:gd name="connsiteX179" fmla="*/ 21113838 w 25004707"/>
              <a:gd name="connsiteY179" fmla="*/ 7756637 h 10808782"/>
              <a:gd name="connsiteX180" fmla="*/ 22022564 w 25004707"/>
              <a:gd name="connsiteY180" fmla="*/ 7732431 h 10808782"/>
              <a:gd name="connsiteX181" fmla="*/ 21958844 w 25004707"/>
              <a:gd name="connsiteY181" fmla="*/ 8701770 h 10808782"/>
              <a:gd name="connsiteX182" fmla="*/ 22181622 w 25004707"/>
              <a:gd name="connsiteY182" fmla="*/ 5308897 h 10808782"/>
              <a:gd name="connsiteX183" fmla="*/ 22149840 w 25004707"/>
              <a:gd name="connsiteY183" fmla="*/ 5793330 h 10808782"/>
              <a:gd name="connsiteX184" fmla="*/ 21252128 w 25004707"/>
              <a:gd name="connsiteY184" fmla="*/ 5650708 h 10808782"/>
              <a:gd name="connsiteX185" fmla="*/ 21488592 w 25004707"/>
              <a:gd name="connsiteY185" fmla="*/ 6165430 h 10808782"/>
              <a:gd name="connsiteX186" fmla="*/ 21015036 w 25004707"/>
              <a:gd name="connsiteY186" fmla="*/ 5981942 h 10808782"/>
              <a:gd name="connsiteX187" fmla="*/ 22074952 w 25004707"/>
              <a:gd name="connsiteY187" fmla="*/ 7250780 h 10808782"/>
              <a:gd name="connsiteX188" fmla="*/ 22133950 w 25004707"/>
              <a:gd name="connsiteY188" fmla="*/ 6766253 h 10808782"/>
              <a:gd name="connsiteX189" fmla="*/ 22138828 w 25004707"/>
              <a:gd name="connsiteY189" fmla="*/ 6277685 h 10808782"/>
              <a:gd name="connsiteX190" fmla="*/ 22133950 w 25004707"/>
              <a:gd name="connsiteY190" fmla="*/ 6765781 h 10808782"/>
              <a:gd name="connsiteX191" fmla="*/ 21562380 w 25004707"/>
              <a:gd name="connsiteY191" fmla="*/ 6728310 h 10808782"/>
              <a:gd name="connsiteX192" fmla="*/ 22138828 w 25004707"/>
              <a:gd name="connsiteY192" fmla="*/ 6277685 h 10808782"/>
              <a:gd name="connsiteX193" fmla="*/ 21488592 w 25004707"/>
              <a:gd name="connsiteY193" fmla="*/ 6165414 h 10808782"/>
              <a:gd name="connsiteX194" fmla="*/ 22245338 w 25004707"/>
              <a:gd name="connsiteY194" fmla="*/ 4339527 h 10808782"/>
              <a:gd name="connsiteX195" fmla="*/ 22277276 w 25004707"/>
              <a:gd name="connsiteY195" fmla="*/ 3854622 h 10808782"/>
              <a:gd name="connsiteX196" fmla="*/ 22245338 w 25004707"/>
              <a:gd name="connsiteY196" fmla="*/ 4339527 h 10808782"/>
              <a:gd name="connsiteX197" fmla="*/ 20961230 w 25004707"/>
              <a:gd name="connsiteY197" fmla="*/ 4255359 h 10808782"/>
              <a:gd name="connsiteX198" fmla="*/ 21958844 w 25004707"/>
              <a:gd name="connsiteY198" fmla="*/ 8701770 h 10808782"/>
              <a:gd name="connsiteX199" fmla="*/ 20674580 w 25004707"/>
              <a:gd name="connsiteY199" fmla="*/ 8617586 h 10808782"/>
              <a:gd name="connsiteX200" fmla="*/ 20642800 w 25004707"/>
              <a:gd name="connsiteY200" fmla="*/ 9102019 h 10808782"/>
              <a:gd name="connsiteX201" fmla="*/ 22181622 w 25004707"/>
              <a:gd name="connsiteY201" fmla="*/ 5308881 h 10808782"/>
              <a:gd name="connsiteX202" fmla="*/ 22213560 w 25004707"/>
              <a:gd name="connsiteY202" fmla="*/ 4823992 h 10808782"/>
              <a:gd name="connsiteX203" fmla="*/ 22181622 w 25004707"/>
              <a:gd name="connsiteY203" fmla="*/ 5308881 h 10808782"/>
              <a:gd name="connsiteX204" fmla="*/ 21849030 w 25004707"/>
              <a:gd name="connsiteY204" fmla="*/ 5287081 h 10808782"/>
              <a:gd name="connsiteX205" fmla="*/ 20995686 w 25004707"/>
              <a:gd name="connsiteY205" fmla="*/ 5199596 h 10808782"/>
              <a:gd name="connsiteX206" fmla="*/ 21252128 w 25004707"/>
              <a:gd name="connsiteY206" fmla="*/ 5651180 h 10808782"/>
              <a:gd name="connsiteX207" fmla="*/ 20568856 w 25004707"/>
              <a:gd name="connsiteY207" fmla="*/ 5391367 h 10808782"/>
              <a:gd name="connsiteX208" fmla="*/ 21015666 w 25004707"/>
              <a:gd name="connsiteY208" fmla="*/ 5981974 h 10808782"/>
              <a:gd name="connsiteX209" fmla="*/ 22245338 w 25004707"/>
              <a:gd name="connsiteY209" fmla="*/ 4339543 h 10808782"/>
              <a:gd name="connsiteX210" fmla="*/ 22213560 w 25004707"/>
              <a:gd name="connsiteY210" fmla="*/ 4823976 h 10808782"/>
              <a:gd name="connsiteX211" fmla="*/ 20929452 w 25004707"/>
              <a:gd name="connsiteY211" fmla="*/ 4739792 h 10808782"/>
              <a:gd name="connsiteX212" fmla="*/ 22372774 w 25004707"/>
              <a:gd name="connsiteY212" fmla="*/ 2400425 h 10808782"/>
              <a:gd name="connsiteX213" fmla="*/ 22340836 w 25004707"/>
              <a:gd name="connsiteY213" fmla="*/ 2885315 h 10808782"/>
              <a:gd name="connsiteX214" fmla="*/ 22340836 w 25004707"/>
              <a:gd name="connsiteY214" fmla="*/ 2885315 h 10808782"/>
              <a:gd name="connsiteX215" fmla="*/ 21056728 w 25004707"/>
              <a:gd name="connsiteY215" fmla="*/ 2801147 h 10808782"/>
              <a:gd name="connsiteX216" fmla="*/ 22404398 w 25004707"/>
              <a:gd name="connsiteY216" fmla="*/ 1915976 h 10808782"/>
              <a:gd name="connsiteX217" fmla="*/ 22372618 w 25004707"/>
              <a:gd name="connsiteY217" fmla="*/ 2400410 h 10808782"/>
              <a:gd name="connsiteX218" fmla="*/ 22372618 w 25004707"/>
              <a:gd name="connsiteY218" fmla="*/ 2400410 h 10808782"/>
              <a:gd name="connsiteX219" fmla="*/ 21088510 w 25004707"/>
              <a:gd name="connsiteY219" fmla="*/ 2316226 h 10808782"/>
              <a:gd name="connsiteX220" fmla="*/ 20579240 w 25004707"/>
              <a:gd name="connsiteY220" fmla="*/ 10071342 h 10808782"/>
              <a:gd name="connsiteX221" fmla="*/ 20611018 w 25004707"/>
              <a:gd name="connsiteY221" fmla="*/ 9586909 h 10808782"/>
              <a:gd name="connsiteX222" fmla="*/ 20579240 w 25004707"/>
              <a:gd name="connsiteY222" fmla="*/ 10071342 h 10808782"/>
              <a:gd name="connsiteX223" fmla="*/ 19294974 w 25004707"/>
              <a:gd name="connsiteY223" fmla="*/ 9987158 h 10808782"/>
              <a:gd name="connsiteX224" fmla="*/ 21562380 w 25004707"/>
              <a:gd name="connsiteY224" fmla="*/ 6728766 h 10808782"/>
              <a:gd name="connsiteX225" fmla="*/ 21415592 w 25004707"/>
              <a:gd name="connsiteY225" fmla="*/ 7277186 h 10808782"/>
              <a:gd name="connsiteX226" fmla="*/ 22074952 w 25004707"/>
              <a:gd name="connsiteY226" fmla="*/ 7250749 h 10808782"/>
              <a:gd name="connsiteX227" fmla="*/ 20993010 w 25004707"/>
              <a:gd name="connsiteY227" fmla="*/ 3770469 h 10808782"/>
              <a:gd name="connsiteX228" fmla="*/ 21024790 w 25004707"/>
              <a:gd name="connsiteY228" fmla="*/ 3286052 h 10808782"/>
              <a:gd name="connsiteX229" fmla="*/ 20993010 w 25004707"/>
              <a:gd name="connsiteY229" fmla="*/ 3770469 h 10808782"/>
              <a:gd name="connsiteX230" fmla="*/ 19708746 w 25004707"/>
              <a:gd name="connsiteY230" fmla="*/ 3686286 h 10808782"/>
              <a:gd name="connsiteX231" fmla="*/ 20929294 w 25004707"/>
              <a:gd name="connsiteY231" fmla="*/ 4739792 h 10808782"/>
              <a:gd name="connsiteX232" fmla="*/ 20995528 w 25004707"/>
              <a:gd name="connsiteY232" fmla="*/ 5199596 h 10808782"/>
              <a:gd name="connsiteX233" fmla="*/ 20097030 w 25004707"/>
              <a:gd name="connsiteY233" fmla="*/ 4955313 h 10808782"/>
              <a:gd name="connsiteX234" fmla="*/ 20642800 w 25004707"/>
              <a:gd name="connsiteY234" fmla="*/ 9102019 h 10808782"/>
              <a:gd name="connsiteX235" fmla="*/ 20611018 w 25004707"/>
              <a:gd name="connsiteY235" fmla="*/ 9586925 h 10808782"/>
              <a:gd name="connsiteX236" fmla="*/ 19326754 w 25004707"/>
              <a:gd name="connsiteY236" fmla="*/ 9502741 h 10808782"/>
              <a:gd name="connsiteX237" fmla="*/ 20642800 w 25004707"/>
              <a:gd name="connsiteY237" fmla="*/ 9102019 h 10808782"/>
              <a:gd name="connsiteX238" fmla="*/ 19358692 w 25004707"/>
              <a:gd name="connsiteY238" fmla="*/ 9017836 h 10808782"/>
              <a:gd name="connsiteX239" fmla="*/ 20961230 w 25004707"/>
              <a:gd name="connsiteY239" fmla="*/ 4255359 h 10808782"/>
              <a:gd name="connsiteX240" fmla="*/ 20929294 w 25004707"/>
              <a:gd name="connsiteY240" fmla="*/ 4739792 h 10808782"/>
              <a:gd name="connsiteX241" fmla="*/ 19750594 w 25004707"/>
              <a:gd name="connsiteY241" fmla="*/ 4599921 h 10808782"/>
              <a:gd name="connsiteX242" fmla="*/ 20961230 w 25004707"/>
              <a:gd name="connsiteY242" fmla="*/ 4255359 h 10808782"/>
              <a:gd name="connsiteX243" fmla="*/ 20993010 w 25004707"/>
              <a:gd name="connsiteY243" fmla="*/ 3770454 h 10808782"/>
              <a:gd name="connsiteX244" fmla="*/ 20961230 w 25004707"/>
              <a:gd name="connsiteY244" fmla="*/ 4255359 h 10808782"/>
              <a:gd name="connsiteX245" fmla="*/ 19676964 w 25004707"/>
              <a:gd name="connsiteY245" fmla="*/ 4171175 h 10808782"/>
              <a:gd name="connsiteX246" fmla="*/ 21120288 w 25004707"/>
              <a:gd name="connsiteY246" fmla="*/ 1831808 h 10808782"/>
              <a:gd name="connsiteX247" fmla="*/ 21088510 w 25004707"/>
              <a:gd name="connsiteY247" fmla="*/ 2316226 h 10808782"/>
              <a:gd name="connsiteX248" fmla="*/ 21088510 w 25004707"/>
              <a:gd name="connsiteY248" fmla="*/ 2316226 h 10808782"/>
              <a:gd name="connsiteX249" fmla="*/ 21056728 w 25004707"/>
              <a:gd name="connsiteY249" fmla="*/ 2801131 h 10808782"/>
              <a:gd name="connsiteX250" fmla="*/ 21088510 w 25004707"/>
              <a:gd name="connsiteY250" fmla="*/ 2316226 h 10808782"/>
              <a:gd name="connsiteX251" fmla="*/ 19804244 w 25004707"/>
              <a:gd name="connsiteY251" fmla="*/ 2232058 h 10808782"/>
              <a:gd name="connsiteX252" fmla="*/ 21152226 w 25004707"/>
              <a:gd name="connsiteY252" fmla="*/ 1346888 h 10808782"/>
              <a:gd name="connsiteX253" fmla="*/ 21120288 w 25004707"/>
              <a:gd name="connsiteY253" fmla="*/ 1831793 h 10808782"/>
              <a:gd name="connsiteX254" fmla="*/ 21120288 w 25004707"/>
              <a:gd name="connsiteY254" fmla="*/ 1831793 h 10808782"/>
              <a:gd name="connsiteX255" fmla="*/ 19836180 w 25004707"/>
              <a:gd name="connsiteY255" fmla="*/ 1747609 h 10808782"/>
              <a:gd name="connsiteX256" fmla="*/ 21056728 w 25004707"/>
              <a:gd name="connsiteY256" fmla="*/ 2801131 h 10808782"/>
              <a:gd name="connsiteX257" fmla="*/ 21024790 w 25004707"/>
              <a:gd name="connsiteY257" fmla="*/ 3286020 h 10808782"/>
              <a:gd name="connsiteX258" fmla="*/ 21056728 w 25004707"/>
              <a:gd name="connsiteY258" fmla="*/ 2801131 h 10808782"/>
              <a:gd name="connsiteX259" fmla="*/ 19772464 w 25004707"/>
              <a:gd name="connsiteY259" fmla="*/ 2716963 h 10808782"/>
              <a:gd name="connsiteX260" fmla="*/ 21024790 w 25004707"/>
              <a:gd name="connsiteY260" fmla="*/ 3286020 h 10808782"/>
              <a:gd name="connsiteX261" fmla="*/ 19740684 w 25004707"/>
              <a:gd name="connsiteY261" fmla="*/ 3201853 h 10808782"/>
              <a:gd name="connsiteX262" fmla="*/ 21488592 w 25004707"/>
              <a:gd name="connsiteY262" fmla="*/ 6165430 h 10808782"/>
              <a:gd name="connsiteX263" fmla="*/ 21562380 w 25004707"/>
              <a:gd name="connsiteY263" fmla="*/ 6728310 h 10808782"/>
              <a:gd name="connsiteX264" fmla="*/ 21184006 w 25004707"/>
              <a:gd name="connsiteY264" fmla="*/ 6703508 h 10808782"/>
              <a:gd name="connsiteX265" fmla="*/ 20674736 w 25004707"/>
              <a:gd name="connsiteY265" fmla="*/ 8617602 h 10808782"/>
              <a:gd name="connsiteX266" fmla="*/ 20690628 w 25004707"/>
              <a:gd name="connsiteY266" fmla="*/ 8375378 h 10808782"/>
              <a:gd name="connsiteX267" fmla="*/ 20800442 w 25004707"/>
              <a:gd name="connsiteY267" fmla="*/ 8170860 h 10808782"/>
              <a:gd name="connsiteX268" fmla="*/ 21113838 w 25004707"/>
              <a:gd name="connsiteY268" fmla="*/ 7756165 h 10808782"/>
              <a:gd name="connsiteX269" fmla="*/ 21415434 w 25004707"/>
              <a:gd name="connsiteY269" fmla="*/ 7276714 h 10808782"/>
              <a:gd name="connsiteX270" fmla="*/ 20579240 w 25004707"/>
              <a:gd name="connsiteY270" fmla="*/ 10071342 h 10808782"/>
              <a:gd name="connsiteX271" fmla="*/ 20547302 w 25004707"/>
              <a:gd name="connsiteY271" fmla="*/ 10556248 h 10808782"/>
              <a:gd name="connsiteX272" fmla="*/ 19263194 w 25004707"/>
              <a:gd name="connsiteY272" fmla="*/ 10472064 h 10808782"/>
              <a:gd name="connsiteX273" fmla="*/ 20800442 w 25004707"/>
              <a:gd name="connsiteY273" fmla="*/ 8170372 h 10808782"/>
              <a:gd name="connsiteX274" fmla="*/ 21113838 w 25004707"/>
              <a:gd name="connsiteY274" fmla="*/ 7756149 h 10808782"/>
              <a:gd name="connsiteX275" fmla="*/ 20096558 w 25004707"/>
              <a:gd name="connsiteY275" fmla="*/ 4954825 h 10808782"/>
              <a:gd name="connsiteX276" fmla="*/ 20568856 w 25004707"/>
              <a:gd name="connsiteY276" fmla="*/ 5391367 h 10808782"/>
              <a:gd name="connsiteX277" fmla="*/ 19539460 w 25004707"/>
              <a:gd name="connsiteY277" fmla="*/ 4997829 h 10808782"/>
              <a:gd name="connsiteX278" fmla="*/ 19676964 w 25004707"/>
              <a:gd name="connsiteY278" fmla="*/ 4170719 h 10808782"/>
              <a:gd name="connsiteX279" fmla="*/ 19750594 w 25004707"/>
              <a:gd name="connsiteY279" fmla="*/ 4599953 h 10808782"/>
              <a:gd name="connsiteX280" fmla="*/ 18586528 w 25004707"/>
              <a:gd name="connsiteY280" fmla="*/ 4366498 h 10808782"/>
              <a:gd name="connsiteX281" fmla="*/ 20097188 w 25004707"/>
              <a:gd name="connsiteY281" fmla="*/ 4954857 h 10808782"/>
              <a:gd name="connsiteX282" fmla="*/ 19751068 w 25004707"/>
              <a:gd name="connsiteY282" fmla="*/ 4599984 h 10808782"/>
              <a:gd name="connsiteX283" fmla="*/ 19772464 w 25004707"/>
              <a:gd name="connsiteY283" fmla="*/ 2716947 h 10808782"/>
              <a:gd name="connsiteX284" fmla="*/ 19740684 w 25004707"/>
              <a:gd name="connsiteY284" fmla="*/ 3201853 h 10808782"/>
              <a:gd name="connsiteX285" fmla="*/ 18456576 w 25004707"/>
              <a:gd name="connsiteY285" fmla="*/ 3117669 h 10808782"/>
              <a:gd name="connsiteX286" fmla="*/ 20922686 w 25004707"/>
              <a:gd name="connsiteY286" fmla="*/ 7397316 h 10808782"/>
              <a:gd name="connsiteX287" fmla="*/ 21184006 w 25004707"/>
              <a:gd name="connsiteY287" fmla="*/ 6703963 h 10808782"/>
              <a:gd name="connsiteX288" fmla="*/ 19877714 w 25004707"/>
              <a:gd name="connsiteY288" fmla="*/ 8295752 h 10808782"/>
              <a:gd name="connsiteX289" fmla="*/ 20403032 w 25004707"/>
              <a:gd name="connsiteY289" fmla="*/ 7924611 h 10808782"/>
              <a:gd name="connsiteX290" fmla="*/ 19740684 w 25004707"/>
              <a:gd name="connsiteY290" fmla="*/ 3201853 h 10808782"/>
              <a:gd name="connsiteX291" fmla="*/ 19708746 w 25004707"/>
              <a:gd name="connsiteY291" fmla="*/ 3686286 h 10808782"/>
              <a:gd name="connsiteX292" fmla="*/ 19708746 w 25004707"/>
              <a:gd name="connsiteY292" fmla="*/ 3686286 h 10808782"/>
              <a:gd name="connsiteX293" fmla="*/ 18424638 w 25004707"/>
              <a:gd name="connsiteY293" fmla="*/ 3602118 h 10808782"/>
              <a:gd name="connsiteX294" fmla="*/ 19804244 w 25004707"/>
              <a:gd name="connsiteY294" fmla="*/ 2232042 h 10808782"/>
              <a:gd name="connsiteX295" fmla="*/ 19772464 w 25004707"/>
              <a:gd name="connsiteY295" fmla="*/ 2716947 h 10808782"/>
              <a:gd name="connsiteX296" fmla="*/ 18488356 w 25004707"/>
              <a:gd name="connsiteY296" fmla="*/ 2632764 h 10808782"/>
              <a:gd name="connsiteX297" fmla="*/ 19804244 w 25004707"/>
              <a:gd name="connsiteY297" fmla="*/ 2232042 h 10808782"/>
              <a:gd name="connsiteX298" fmla="*/ 19836180 w 25004707"/>
              <a:gd name="connsiteY298" fmla="*/ 1747625 h 10808782"/>
              <a:gd name="connsiteX299" fmla="*/ 19804244 w 25004707"/>
              <a:gd name="connsiteY299" fmla="*/ 2232042 h 10808782"/>
              <a:gd name="connsiteX300" fmla="*/ 18520136 w 25004707"/>
              <a:gd name="connsiteY300" fmla="*/ 2147874 h 10808782"/>
              <a:gd name="connsiteX301" fmla="*/ 19676964 w 25004707"/>
              <a:gd name="connsiteY301" fmla="*/ 4171175 h 10808782"/>
              <a:gd name="connsiteX302" fmla="*/ 19708902 w 25004707"/>
              <a:gd name="connsiteY302" fmla="*/ 3686270 h 10808782"/>
              <a:gd name="connsiteX303" fmla="*/ 19676964 w 25004707"/>
              <a:gd name="connsiteY303" fmla="*/ 4171175 h 10808782"/>
              <a:gd name="connsiteX304" fmla="*/ 19344218 w 25004707"/>
              <a:gd name="connsiteY304" fmla="*/ 4149359 h 10808782"/>
              <a:gd name="connsiteX305" fmla="*/ 18402454 w 25004707"/>
              <a:gd name="connsiteY305" fmla="*/ 4077278 h 10808782"/>
              <a:gd name="connsiteX306" fmla="*/ 19326754 w 25004707"/>
              <a:gd name="connsiteY306" fmla="*/ 9502725 h 10808782"/>
              <a:gd name="connsiteX307" fmla="*/ 19294974 w 25004707"/>
              <a:gd name="connsiteY307" fmla="*/ 9987158 h 10808782"/>
              <a:gd name="connsiteX308" fmla="*/ 18010866 w 25004707"/>
              <a:gd name="connsiteY308" fmla="*/ 9902991 h 10808782"/>
              <a:gd name="connsiteX309" fmla="*/ 19263194 w 25004707"/>
              <a:gd name="connsiteY309" fmla="*/ 10472064 h 10808782"/>
              <a:gd name="connsiteX310" fmla="*/ 19294974 w 25004707"/>
              <a:gd name="connsiteY310" fmla="*/ 9987175 h 10808782"/>
              <a:gd name="connsiteX311" fmla="*/ 19263194 w 25004707"/>
              <a:gd name="connsiteY311" fmla="*/ 10472064 h 10808782"/>
              <a:gd name="connsiteX312" fmla="*/ 17978928 w 25004707"/>
              <a:gd name="connsiteY312" fmla="*/ 10387896 h 10808782"/>
              <a:gd name="connsiteX313" fmla="*/ 19326754 w 25004707"/>
              <a:gd name="connsiteY313" fmla="*/ 9502741 h 10808782"/>
              <a:gd name="connsiteX314" fmla="*/ 19358692 w 25004707"/>
              <a:gd name="connsiteY314" fmla="*/ 9017852 h 10808782"/>
              <a:gd name="connsiteX315" fmla="*/ 19326754 w 25004707"/>
              <a:gd name="connsiteY315" fmla="*/ 9502741 h 10808782"/>
              <a:gd name="connsiteX316" fmla="*/ 18042646 w 25004707"/>
              <a:gd name="connsiteY316" fmla="*/ 9418573 h 10808782"/>
              <a:gd name="connsiteX317" fmla="*/ 19358692 w 25004707"/>
              <a:gd name="connsiteY317" fmla="*/ 9017852 h 10808782"/>
              <a:gd name="connsiteX318" fmla="*/ 19487700 w 25004707"/>
              <a:gd name="connsiteY318" fmla="*/ 8601900 h 10808782"/>
              <a:gd name="connsiteX319" fmla="*/ 19358692 w 25004707"/>
              <a:gd name="connsiteY319" fmla="*/ 9017852 h 10808782"/>
              <a:gd name="connsiteX320" fmla="*/ 18082764 w 25004707"/>
              <a:gd name="connsiteY320" fmla="*/ 8945975 h 10808782"/>
              <a:gd name="connsiteX321" fmla="*/ 21015666 w 25004707"/>
              <a:gd name="connsiteY321" fmla="*/ 5981974 h 10808782"/>
              <a:gd name="connsiteX322" fmla="*/ 21184006 w 25004707"/>
              <a:gd name="connsiteY322" fmla="*/ 6703508 h 10808782"/>
              <a:gd name="connsiteX323" fmla="*/ 21015666 w 25004707"/>
              <a:gd name="connsiteY323" fmla="*/ 5981974 h 10808782"/>
              <a:gd name="connsiteX324" fmla="*/ 20273552 w 25004707"/>
              <a:gd name="connsiteY324" fmla="*/ 5643966 h 10808782"/>
              <a:gd name="connsiteX325" fmla="*/ 21184006 w 25004707"/>
              <a:gd name="connsiteY325" fmla="*/ 6703508 h 10808782"/>
              <a:gd name="connsiteX326" fmla="*/ 20666240 w 25004707"/>
              <a:gd name="connsiteY326" fmla="*/ 6669558 h 10808782"/>
              <a:gd name="connsiteX327" fmla="*/ 19487700 w 25004707"/>
              <a:gd name="connsiteY327" fmla="*/ 8602388 h 10808782"/>
              <a:gd name="connsiteX328" fmla="*/ 19877244 w 25004707"/>
              <a:gd name="connsiteY328" fmla="*/ 8295720 h 10808782"/>
              <a:gd name="connsiteX329" fmla="*/ 20922686 w 25004707"/>
              <a:gd name="connsiteY329" fmla="*/ 7397331 h 10808782"/>
              <a:gd name="connsiteX330" fmla="*/ 20402560 w 25004707"/>
              <a:gd name="connsiteY330" fmla="*/ 7924564 h 10808782"/>
              <a:gd name="connsiteX331" fmla="*/ 19330530 w 25004707"/>
              <a:gd name="connsiteY331" fmla="*/ 8180368 h 10808782"/>
              <a:gd name="connsiteX332" fmla="*/ 19867960 w 25004707"/>
              <a:gd name="connsiteY332" fmla="*/ 1262715 h 10808782"/>
              <a:gd name="connsiteX333" fmla="*/ 19836024 w 25004707"/>
              <a:gd name="connsiteY333" fmla="*/ 1747609 h 10808782"/>
              <a:gd name="connsiteX334" fmla="*/ 18551914 w 25004707"/>
              <a:gd name="connsiteY334" fmla="*/ 1663441 h 10808782"/>
              <a:gd name="connsiteX335" fmla="*/ 18583852 w 25004707"/>
              <a:gd name="connsiteY335" fmla="*/ 1178533 h 10808782"/>
              <a:gd name="connsiteX336" fmla="*/ 18551914 w 25004707"/>
              <a:gd name="connsiteY336" fmla="*/ 1663425 h 10808782"/>
              <a:gd name="connsiteX337" fmla="*/ 18551914 w 25004707"/>
              <a:gd name="connsiteY337" fmla="*/ 1663425 h 10808782"/>
              <a:gd name="connsiteX338" fmla="*/ 18520136 w 25004707"/>
              <a:gd name="connsiteY338" fmla="*/ 2147874 h 10808782"/>
              <a:gd name="connsiteX339" fmla="*/ 18551914 w 25004707"/>
              <a:gd name="connsiteY339" fmla="*/ 1663425 h 10808782"/>
              <a:gd name="connsiteX340" fmla="*/ 17267806 w 25004707"/>
              <a:gd name="connsiteY340" fmla="*/ 1579257 h 10808782"/>
              <a:gd name="connsiteX341" fmla="*/ 18586528 w 25004707"/>
              <a:gd name="connsiteY341" fmla="*/ 4366498 h 10808782"/>
              <a:gd name="connsiteX342" fmla="*/ 18402610 w 25004707"/>
              <a:gd name="connsiteY342" fmla="*/ 4076822 h 10808782"/>
              <a:gd name="connsiteX343" fmla="*/ 18586528 w 25004707"/>
              <a:gd name="connsiteY343" fmla="*/ 4366498 h 10808782"/>
              <a:gd name="connsiteX344" fmla="*/ 18962698 w 25004707"/>
              <a:gd name="connsiteY344" fmla="*/ 4627804 h 10808782"/>
              <a:gd name="connsiteX345" fmla="*/ 18586528 w 25004707"/>
              <a:gd name="connsiteY345" fmla="*/ 4366498 h 10808782"/>
              <a:gd name="connsiteX346" fmla="*/ 17200786 w 25004707"/>
              <a:gd name="connsiteY346" fmla="*/ 4158019 h 10808782"/>
              <a:gd name="connsiteX347" fmla="*/ 18488356 w 25004707"/>
              <a:gd name="connsiteY347" fmla="*/ 2632764 h 10808782"/>
              <a:gd name="connsiteX348" fmla="*/ 18456418 w 25004707"/>
              <a:gd name="connsiteY348" fmla="*/ 3117653 h 10808782"/>
              <a:gd name="connsiteX349" fmla="*/ 17172310 w 25004707"/>
              <a:gd name="connsiteY349" fmla="*/ 3033485 h 10808782"/>
              <a:gd name="connsiteX350" fmla="*/ 18488356 w 25004707"/>
              <a:gd name="connsiteY350" fmla="*/ 2632764 h 10808782"/>
              <a:gd name="connsiteX351" fmla="*/ 18520136 w 25004707"/>
              <a:gd name="connsiteY351" fmla="*/ 2147874 h 10808782"/>
              <a:gd name="connsiteX352" fmla="*/ 18488356 w 25004707"/>
              <a:gd name="connsiteY352" fmla="*/ 2632764 h 10808782"/>
              <a:gd name="connsiteX353" fmla="*/ 17204090 w 25004707"/>
              <a:gd name="connsiteY353" fmla="*/ 2548596 h 10808782"/>
              <a:gd name="connsiteX354" fmla="*/ 18424638 w 25004707"/>
              <a:gd name="connsiteY354" fmla="*/ 3602118 h 10808782"/>
              <a:gd name="connsiteX355" fmla="*/ 18402454 w 25004707"/>
              <a:gd name="connsiteY355" fmla="*/ 4077310 h 10808782"/>
              <a:gd name="connsiteX356" fmla="*/ 17125426 w 25004707"/>
              <a:gd name="connsiteY356" fmla="*/ 3949824 h 10808782"/>
              <a:gd name="connsiteX357" fmla="*/ 18424638 w 25004707"/>
              <a:gd name="connsiteY357" fmla="*/ 3602118 h 10808782"/>
              <a:gd name="connsiteX358" fmla="*/ 18456418 w 25004707"/>
              <a:gd name="connsiteY358" fmla="*/ 3117684 h 10808782"/>
              <a:gd name="connsiteX359" fmla="*/ 18424638 w 25004707"/>
              <a:gd name="connsiteY359" fmla="*/ 3602118 h 10808782"/>
              <a:gd name="connsiteX360" fmla="*/ 17140372 w 25004707"/>
              <a:gd name="connsiteY360" fmla="*/ 3517934 h 10808782"/>
              <a:gd name="connsiteX361" fmla="*/ 18520136 w 25004707"/>
              <a:gd name="connsiteY361" fmla="*/ 2147874 h 10808782"/>
              <a:gd name="connsiteX362" fmla="*/ 17236028 w 25004707"/>
              <a:gd name="connsiteY362" fmla="*/ 2063691 h 10808782"/>
              <a:gd name="connsiteX363" fmla="*/ 18962698 w 25004707"/>
              <a:gd name="connsiteY363" fmla="*/ 4627804 h 10808782"/>
              <a:gd name="connsiteX364" fmla="*/ 17358900 w 25004707"/>
              <a:gd name="connsiteY364" fmla="*/ 4323180 h 10808782"/>
              <a:gd name="connsiteX365" fmla="*/ 18962698 w 25004707"/>
              <a:gd name="connsiteY365" fmla="*/ 4627804 h 10808782"/>
              <a:gd name="connsiteX366" fmla="*/ 20096558 w 25004707"/>
              <a:gd name="connsiteY366" fmla="*/ 4954825 h 10808782"/>
              <a:gd name="connsiteX367" fmla="*/ 20273552 w 25004707"/>
              <a:gd name="connsiteY367" fmla="*/ 5643966 h 10808782"/>
              <a:gd name="connsiteX368" fmla="*/ 19539618 w 25004707"/>
              <a:gd name="connsiteY368" fmla="*/ 4997813 h 10808782"/>
              <a:gd name="connsiteX369" fmla="*/ 20273552 w 25004707"/>
              <a:gd name="connsiteY369" fmla="*/ 5643966 h 10808782"/>
              <a:gd name="connsiteX370" fmla="*/ 20666240 w 25004707"/>
              <a:gd name="connsiteY370" fmla="*/ 6669558 h 10808782"/>
              <a:gd name="connsiteX371" fmla="*/ 20273552 w 25004707"/>
              <a:gd name="connsiteY371" fmla="*/ 5643966 h 10808782"/>
              <a:gd name="connsiteX372" fmla="*/ 18261016 w 25004707"/>
              <a:gd name="connsiteY372" fmla="*/ 5022238 h 10808782"/>
              <a:gd name="connsiteX373" fmla="*/ 18710344 w 25004707"/>
              <a:gd name="connsiteY373" fmla="*/ 8471883 h 10808782"/>
              <a:gd name="connsiteX374" fmla="*/ 18303180 w 25004707"/>
              <a:gd name="connsiteY374" fmla="*/ 8681872 h 10808782"/>
              <a:gd name="connsiteX375" fmla="*/ 19487858 w 25004707"/>
              <a:gd name="connsiteY375" fmla="*/ 8602371 h 10808782"/>
              <a:gd name="connsiteX376" fmla="*/ 20666084 w 25004707"/>
              <a:gd name="connsiteY376" fmla="*/ 6669542 h 10808782"/>
              <a:gd name="connsiteX377" fmla="*/ 20142814 w 25004707"/>
              <a:gd name="connsiteY377" fmla="*/ 7635092 h 10808782"/>
              <a:gd name="connsiteX378" fmla="*/ 19330530 w 25004707"/>
              <a:gd name="connsiteY378" fmla="*/ 8179866 h 10808782"/>
              <a:gd name="connsiteX379" fmla="*/ 18710188 w 25004707"/>
              <a:gd name="connsiteY379" fmla="*/ 8471868 h 10808782"/>
              <a:gd name="connsiteX380" fmla="*/ 19330530 w 25004707"/>
              <a:gd name="connsiteY380" fmla="*/ 8179881 h 10808782"/>
              <a:gd name="connsiteX381" fmla="*/ 17402166 w 25004707"/>
              <a:gd name="connsiteY381" fmla="*/ 8385201 h 10808782"/>
              <a:gd name="connsiteX382" fmla="*/ 18082764 w 25004707"/>
              <a:gd name="connsiteY382" fmla="*/ 8945975 h 10808782"/>
              <a:gd name="connsiteX383" fmla="*/ 18303180 w 25004707"/>
              <a:gd name="connsiteY383" fmla="*/ 8681400 h 10808782"/>
              <a:gd name="connsiteX384" fmla="*/ 18082764 w 25004707"/>
              <a:gd name="connsiteY384" fmla="*/ 8945975 h 10808782"/>
              <a:gd name="connsiteX385" fmla="*/ 18042646 w 25004707"/>
              <a:gd name="connsiteY385" fmla="*/ 9418573 h 10808782"/>
              <a:gd name="connsiteX386" fmla="*/ 18082764 w 25004707"/>
              <a:gd name="connsiteY386" fmla="*/ 8945975 h 10808782"/>
              <a:gd name="connsiteX387" fmla="*/ 16799444 w 25004707"/>
              <a:gd name="connsiteY387" fmla="*/ 8904669 h 10808782"/>
              <a:gd name="connsiteX388" fmla="*/ 17978928 w 25004707"/>
              <a:gd name="connsiteY388" fmla="*/ 10387896 h 10808782"/>
              <a:gd name="connsiteX389" fmla="*/ 18010866 w 25004707"/>
              <a:gd name="connsiteY389" fmla="*/ 9902991 h 10808782"/>
              <a:gd name="connsiteX390" fmla="*/ 17978928 w 25004707"/>
              <a:gd name="connsiteY390" fmla="*/ 10387896 h 10808782"/>
              <a:gd name="connsiteX391" fmla="*/ 16694821 w 25004707"/>
              <a:gd name="connsiteY391" fmla="*/ 10303712 h 10808782"/>
              <a:gd name="connsiteX392" fmla="*/ 18010866 w 25004707"/>
              <a:gd name="connsiteY392" fmla="*/ 9902991 h 10808782"/>
              <a:gd name="connsiteX393" fmla="*/ 18042646 w 25004707"/>
              <a:gd name="connsiteY393" fmla="*/ 9418558 h 10808782"/>
              <a:gd name="connsiteX394" fmla="*/ 16758537 w 25004707"/>
              <a:gd name="connsiteY394" fmla="*/ 9334389 h 10808782"/>
              <a:gd name="connsiteX395" fmla="*/ 18010866 w 25004707"/>
              <a:gd name="connsiteY395" fmla="*/ 9902991 h 10808782"/>
              <a:gd name="connsiteX396" fmla="*/ 16726601 w 25004707"/>
              <a:gd name="connsiteY396" fmla="*/ 9818807 h 10808782"/>
              <a:gd name="connsiteX397" fmla="*/ 20666240 w 25004707"/>
              <a:gd name="connsiteY397" fmla="*/ 6669558 h 10808782"/>
              <a:gd name="connsiteX398" fmla="*/ 18998410 w 25004707"/>
              <a:gd name="connsiteY398" fmla="*/ 6560226 h 10808782"/>
              <a:gd name="connsiteX399" fmla="*/ 18261646 w 25004707"/>
              <a:gd name="connsiteY399" fmla="*/ 5022270 h 10808782"/>
              <a:gd name="connsiteX400" fmla="*/ 14385738 w 25004707"/>
              <a:gd name="connsiteY400" fmla="*/ 4808195 h 10808782"/>
              <a:gd name="connsiteX401" fmla="*/ 12486354 w 25004707"/>
              <a:gd name="connsiteY401" fmla="*/ 5165033 h 10808782"/>
              <a:gd name="connsiteX402" fmla="*/ 18962698 w 25004707"/>
              <a:gd name="connsiteY402" fmla="*/ 4628276 h 10808782"/>
              <a:gd name="connsiteX403" fmla="*/ 19539460 w 25004707"/>
              <a:gd name="connsiteY403" fmla="*/ 4998269 h 10808782"/>
              <a:gd name="connsiteX404" fmla="*/ 17654520 w 25004707"/>
              <a:gd name="connsiteY404" fmla="*/ 4542992 h 10808782"/>
              <a:gd name="connsiteX405" fmla="*/ 16758537 w 25004707"/>
              <a:gd name="connsiteY405" fmla="*/ 9334389 h 10808782"/>
              <a:gd name="connsiteX406" fmla="*/ 16800072 w 25004707"/>
              <a:gd name="connsiteY406" fmla="*/ 8904700 h 10808782"/>
              <a:gd name="connsiteX407" fmla="*/ 16758537 w 25004707"/>
              <a:gd name="connsiteY407" fmla="*/ 9334389 h 10808782"/>
              <a:gd name="connsiteX408" fmla="*/ 16726601 w 25004707"/>
              <a:gd name="connsiteY408" fmla="*/ 9818807 h 10808782"/>
              <a:gd name="connsiteX409" fmla="*/ 16758537 w 25004707"/>
              <a:gd name="connsiteY409" fmla="*/ 9334389 h 10808782"/>
              <a:gd name="connsiteX410" fmla="*/ 15474273 w 25004707"/>
              <a:gd name="connsiteY410" fmla="*/ 9250206 h 10808782"/>
              <a:gd name="connsiteX411" fmla="*/ 16726601 w 25004707"/>
              <a:gd name="connsiteY411" fmla="*/ 9818807 h 10808782"/>
              <a:gd name="connsiteX412" fmla="*/ 16694821 w 25004707"/>
              <a:gd name="connsiteY412" fmla="*/ 10303712 h 10808782"/>
              <a:gd name="connsiteX413" fmla="*/ 15410602 w 25004707"/>
              <a:gd name="connsiteY413" fmla="*/ 10219528 h 10808782"/>
              <a:gd name="connsiteX414" fmla="*/ 17267806 w 25004707"/>
              <a:gd name="connsiteY414" fmla="*/ 1579257 h 10808782"/>
              <a:gd name="connsiteX415" fmla="*/ 17236028 w 25004707"/>
              <a:gd name="connsiteY415" fmla="*/ 2063691 h 10808782"/>
              <a:gd name="connsiteX416" fmla="*/ 17267806 w 25004707"/>
              <a:gd name="connsiteY416" fmla="*/ 1579257 h 10808782"/>
              <a:gd name="connsiteX417" fmla="*/ 17299588 w 25004707"/>
              <a:gd name="connsiteY417" fmla="*/ 1094351 h 10808782"/>
              <a:gd name="connsiteX418" fmla="*/ 17267806 w 25004707"/>
              <a:gd name="connsiteY418" fmla="*/ 1579257 h 10808782"/>
              <a:gd name="connsiteX419" fmla="*/ 15983542 w 25004707"/>
              <a:gd name="connsiteY419" fmla="*/ 1495075 h 10808782"/>
              <a:gd name="connsiteX420" fmla="*/ 17236028 w 25004707"/>
              <a:gd name="connsiteY420" fmla="*/ 2063691 h 10808782"/>
              <a:gd name="connsiteX421" fmla="*/ 17204090 w 25004707"/>
              <a:gd name="connsiteY421" fmla="*/ 2548596 h 10808782"/>
              <a:gd name="connsiteX422" fmla="*/ 17236028 w 25004707"/>
              <a:gd name="connsiteY422" fmla="*/ 2063691 h 10808782"/>
              <a:gd name="connsiteX423" fmla="*/ 15951762 w 25004707"/>
              <a:gd name="connsiteY423" fmla="*/ 1979523 h 10808782"/>
              <a:gd name="connsiteX424" fmla="*/ 16799444 w 25004707"/>
              <a:gd name="connsiteY424" fmla="*/ 8904669 h 10808782"/>
              <a:gd name="connsiteX425" fmla="*/ 16902020 w 25004707"/>
              <a:gd name="connsiteY425" fmla="*/ 8707648 h 10808782"/>
              <a:gd name="connsiteX426" fmla="*/ 18303180 w 25004707"/>
              <a:gd name="connsiteY426" fmla="*/ 8681872 h 10808782"/>
              <a:gd name="connsiteX427" fmla="*/ 16799444 w 25004707"/>
              <a:gd name="connsiteY427" fmla="*/ 8904669 h 10808782"/>
              <a:gd name="connsiteX428" fmla="*/ 15487866 w 25004707"/>
              <a:gd name="connsiteY428" fmla="*/ 8816367 h 10808782"/>
              <a:gd name="connsiteX429" fmla="*/ 17204090 w 25004707"/>
              <a:gd name="connsiteY429" fmla="*/ 2548596 h 10808782"/>
              <a:gd name="connsiteX430" fmla="*/ 15919982 w 25004707"/>
              <a:gd name="connsiteY430" fmla="*/ 2464396 h 10808782"/>
              <a:gd name="connsiteX431" fmla="*/ 17172310 w 25004707"/>
              <a:gd name="connsiteY431" fmla="*/ 3033501 h 10808782"/>
              <a:gd name="connsiteX432" fmla="*/ 17140372 w 25004707"/>
              <a:gd name="connsiteY432" fmla="*/ 3517934 h 10808782"/>
              <a:gd name="connsiteX433" fmla="*/ 17140372 w 25004707"/>
              <a:gd name="connsiteY433" fmla="*/ 3517934 h 10808782"/>
              <a:gd name="connsiteX434" fmla="*/ 15856264 w 25004707"/>
              <a:gd name="connsiteY434" fmla="*/ 3433766 h 10808782"/>
              <a:gd name="connsiteX435" fmla="*/ 16726601 w 25004707"/>
              <a:gd name="connsiteY435" fmla="*/ 9818807 h 10808782"/>
              <a:gd name="connsiteX436" fmla="*/ 15442492 w 25004707"/>
              <a:gd name="connsiteY436" fmla="*/ 9734623 h 10808782"/>
              <a:gd name="connsiteX437" fmla="*/ 17204090 w 25004707"/>
              <a:gd name="connsiteY437" fmla="*/ 2548580 h 10808782"/>
              <a:gd name="connsiteX438" fmla="*/ 17172310 w 25004707"/>
              <a:gd name="connsiteY438" fmla="*/ 3033485 h 10808782"/>
              <a:gd name="connsiteX439" fmla="*/ 15888202 w 25004707"/>
              <a:gd name="connsiteY439" fmla="*/ 2949301 h 10808782"/>
              <a:gd name="connsiteX440" fmla="*/ 17402166 w 25004707"/>
              <a:gd name="connsiteY440" fmla="*/ 8385673 h 10808782"/>
              <a:gd name="connsiteX441" fmla="*/ 18066716 w 25004707"/>
              <a:gd name="connsiteY441" fmla="*/ 7989305 h 10808782"/>
              <a:gd name="connsiteX442" fmla="*/ 18998254 w 25004707"/>
              <a:gd name="connsiteY442" fmla="*/ 6560697 h 10808782"/>
              <a:gd name="connsiteX443" fmla="*/ 16901864 w 25004707"/>
              <a:gd name="connsiteY443" fmla="*/ 8707648 h 10808782"/>
              <a:gd name="connsiteX444" fmla="*/ 17080274 w 25004707"/>
              <a:gd name="connsiteY444" fmla="*/ 8564539 h 10808782"/>
              <a:gd name="connsiteX445" fmla="*/ 17402166 w 25004707"/>
              <a:gd name="connsiteY445" fmla="*/ 8385201 h 10808782"/>
              <a:gd name="connsiteX446" fmla="*/ 17200630 w 25004707"/>
              <a:gd name="connsiteY446" fmla="*/ 4158019 h 10808782"/>
              <a:gd name="connsiteX447" fmla="*/ 17124954 w 25004707"/>
              <a:gd name="connsiteY447" fmla="*/ 3949321 h 10808782"/>
              <a:gd name="connsiteX448" fmla="*/ 17140530 w 25004707"/>
              <a:gd name="connsiteY448" fmla="*/ 3517934 h 10808782"/>
              <a:gd name="connsiteX449" fmla="*/ 17125426 w 25004707"/>
              <a:gd name="connsiteY449" fmla="*/ 3949352 h 10808782"/>
              <a:gd name="connsiteX450" fmla="*/ 17201730 w 25004707"/>
              <a:gd name="connsiteY450" fmla="*/ 4158098 h 10808782"/>
              <a:gd name="connsiteX451" fmla="*/ 17358742 w 25004707"/>
              <a:gd name="connsiteY451" fmla="*/ 4323196 h 10808782"/>
              <a:gd name="connsiteX452" fmla="*/ 15489707 w 25004707"/>
              <a:gd name="connsiteY452" fmla="*/ 4211020 h 10808782"/>
              <a:gd name="connsiteX453" fmla="*/ 17654676 w 25004707"/>
              <a:gd name="connsiteY453" fmla="*/ 4542552 h 10808782"/>
              <a:gd name="connsiteX454" fmla="*/ 17359372 w 25004707"/>
              <a:gd name="connsiteY454" fmla="*/ 4322756 h 10808782"/>
              <a:gd name="connsiteX455" fmla="*/ 18261488 w 25004707"/>
              <a:gd name="connsiteY455" fmla="*/ 5022254 h 10808782"/>
              <a:gd name="connsiteX456" fmla="*/ 17654520 w 25004707"/>
              <a:gd name="connsiteY456" fmla="*/ 4542536 h 10808782"/>
              <a:gd name="connsiteX457" fmla="*/ 10846386 w 25004707"/>
              <a:gd name="connsiteY457" fmla="*/ 1158336 h 10808782"/>
              <a:gd name="connsiteX458" fmla="*/ 10814575 w 25004707"/>
              <a:gd name="connsiteY458" fmla="*/ 1642772 h 10808782"/>
              <a:gd name="connsiteX459" fmla="*/ 10846386 w 25004707"/>
              <a:gd name="connsiteY459" fmla="*/ 1158336 h 10808782"/>
              <a:gd name="connsiteX460" fmla="*/ 10878229 w 25004707"/>
              <a:gd name="connsiteY460" fmla="*/ 673426 h 10808782"/>
              <a:gd name="connsiteX461" fmla="*/ 10846386 w 25004707"/>
              <a:gd name="connsiteY461" fmla="*/ 1158336 h 10808782"/>
              <a:gd name="connsiteX462" fmla="*/ 9562215 w 25004707"/>
              <a:gd name="connsiteY462" fmla="*/ 1074149 h 10808782"/>
              <a:gd name="connsiteX463" fmla="*/ 10846386 w 25004707"/>
              <a:gd name="connsiteY463" fmla="*/ 1158336 h 10808782"/>
              <a:gd name="connsiteX464" fmla="*/ 12130541 w 25004707"/>
              <a:gd name="connsiteY464" fmla="*/ 1242500 h 10808782"/>
              <a:gd name="connsiteX465" fmla="*/ 10814575 w 25004707"/>
              <a:gd name="connsiteY465" fmla="*/ 1642772 h 10808782"/>
              <a:gd name="connsiteX466" fmla="*/ 10782701 w 25004707"/>
              <a:gd name="connsiteY466" fmla="*/ 2127677 h 10808782"/>
              <a:gd name="connsiteX467" fmla="*/ 10814575 w 25004707"/>
              <a:gd name="connsiteY467" fmla="*/ 1642772 h 10808782"/>
              <a:gd name="connsiteX468" fmla="*/ 12098730 w 25004707"/>
              <a:gd name="connsiteY468" fmla="*/ 1726956 h 10808782"/>
              <a:gd name="connsiteX469" fmla="*/ 10814575 w 25004707"/>
              <a:gd name="connsiteY469" fmla="*/ 1642772 h 10808782"/>
              <a:gd name="connsiteX470" fmla="*/ 9530388 w 25004707"/>
              <a:gd name="connsiteY470" fmla="*/ 1558589 h 10808782"/>
              <a:gd name="connsiteX471" fmla="*/ 10305289 w 25004707"/>
              <a:gd name="connsiteY471" fmla="*/ 9397889 h 10808782"/>
              <a:gd name="connsiteX472" fmla="*/ 10273446 w 25004707"/>
              <a:gd name="connsiteY472" fmla="*/ 9882778 h 10808782"/>
              <a:gd name="connsiteX473" fmla="*/ 8989260 w 25004707"/>
              <a:gd name="connsiteY473" fmla="*/ 9798610 h 10808782"/>
              <a:gd name="connsiteX474" fmla="*/ 10555692 w 25004707"/>
              <a:gd name="connsiteY474" fmla="*/ 5519827 h 10808782"/>
              <a:gd name="connsiteX475" fmla="*/ 10507424 w 25004707"/>
              <a:gd name="connsiteY475" fmla="*/ 6003648 h 10808782"/>
              <a:gd name="connsiteX476" fmla="*/ 10555614 w 25004707"/>
              <a:gd name="connsiteY476" fmla="*/ 5519341 h 10808782"/>
              <a:gd name="connsiteX477" fmla="*/ 10575783 w 25004707"/>
              <a:gd name="connsiteY477" fmla="*/ 5277870 h 10808782"/>
              <a:gd name="connsiteX478" fmla="*/ 10591688 w 25004707"/>
              <a:gd name="connsiteY478" fmla="*/ 5035661 h 10808782"/>
              <a:gd name="connsiteX479" fmla="*/ 11548855 w 25004707"/>
              <a:gd name="connsiteY479" fmla="*/ 5027347 h 10808782"/>
              <a:gd name="connsiteX480" fmla="*/ 10337085 w 25004707"/>
              <a:gd name="connsiteY480" fmla="*/ 8913455 h 10808782"/>
              <a:gd name="connsiteX481" fmla="*/ 10305258 w 25004707"/>
              <a:gd name="connsiteY481" fmla="*/ 9397889 h 10808782"/>
              <a:gd name="connsiteX482" fmla="*/ 9021087 w 25004707"/>
              <a:gd name="connsiteY482" fmla="*/ 9313705 h 10808782"/>
              <a:gd name="connsiteX483" fmla="*/ 10337085 w 25004707"/>
              <a:gd name="connsiteY483" fmla="*/ 8913455 h 10808782"/>
              <a:gd name="connsiteX484" fmla="*/ 10368913 w 25004707"/>
              <a:gd name="connsiteY484" fmla="*/ 8428566 h 10808782"/>
              <a:gd name="connsiteX485" fmla="*/ 10337085 w 25004707"/>
              <a:gd name="connsiteY485" fmla="*/ 8913455 h 10808782"/>
              <a:gd name="connsiteX486" fmla="*/ 9052883 w 25004707"/>
              <a:gd name="connsiteY486" fmla="*/ 8829287 h 10808782"/>
              <a:gd name="connsiteX487" fmla="*/ 10464347 w 25004707"/>
              <a:gd name="connsiteY487" fmla="*/ 6974794 h 10808782"/>
              <a:gd name="connsiteX488" fmla="*/ 10432536 w 25004707"/>
              <a:gd name="connsiteY488" fmla="*/ 7459228 h 10808782"/>
              <a:gd name="connsiteX489" fmla="*/ 9148365 w 25004707"/>
              <a:gd name="connsiteY489" fmla="*/ 7375059 h 10808782"/>
              <a:gd name="connsiteX490" fmla="*/ 9116522 w 25004707"/>
              <a:gd name="connsiteY490" fmla="*/ 7859965 h 10808782"/>
              <a:gd name="connsiteX491" fmla="*/ 10782731 w 25004707"/>
              <a:gd name="connsiteY491" fmla="*/ 2127662 h 10808782"/>
              <a:gd name="connsiteX492" fmla="*/ 10750888 w 25004707"/>
              <a:gd name="connsiteY492" fmla="*/ 2612551 h 10808782"/>
              <a:gd name="connsiteX493" fmla="*/ 10750888 w 25004707"/>
              <a:gd name="connsiteY493" fmla="*/ 2612551 h 10808782"/>
              <a:gd name="connsiteX494" fmla="*/ 12035043 w 25004707"/>
              <a:gd name="connsiteY494" fmla="*/ 2696735 h 10808782"/>
              <a:gd name="connsiteX495" fmla="*/ 10750888 w 25004707"/>
              <a:gd name="connsiteY495" fmla="*/ 2612551 h 10808782"/>
              <a:gd name="connsiteX496" fmla="*/ 9466717 w 25004707"/>
              <a:gd name="connsiteY496" fmla="*/ 2528383 h 10808782"/>
              <a:gd name="connsiteX497" fmla="*/ 10687250 w 25004707"/>
              <a:gd name="connsiteY497" fmla="*/ 3581905 h 10808782"/>
              <a:gd name="connsiteX498" fmla="*/ 10655422 w 25004707"/>
              <a:gd name="connsiteY498" fmla="*/ 4066339 h 10808782"/>
              <a:gd name="connsiteX499" fmla="*/ 10687250 w 25004707"/>
              <a:gd name="connsiteY499" fmla="*/ 3581905 h 10808782"/>
              <a:gd name="connsiteX500" fmla="*/ 10719077 w 25004707"/>
              <a:gd name="connsiteY500" fmla="*/ 3096984 h 10808782"/>
              <a:gd name="connsiteX501" fmla="*/ 10687250 w 25004707"/>
              <a:gd name="connsiteY501" fmla="*/ 3581905 h 10808782"/>
              <a:gd name="connsiteX502" fmla="*/ 9403063 w 25004707"/>
              <a:gd name="connsiteY502" fmla="*/ 3497721 h 10808782"/>
              <a:gd name="connsiteX503" fmla="*/ 10655422 w 25004707"/>
              <a:gd name="connsiteY503" fmla="*/ 4066339 h 10808782"/>
              <a:gd name="connsiteX504" fmla="*/ 9371251 w 25004707"/>
              <a:gd name="connsiteY504" fmla="*/ 3982155 h 10808782"/>
              <a:gd name="connsiteX505" fmla="*/ 10655422 w 25004707"/>
              <a:gd name="connsiteY505" fmla="*/ 4066339 h 10808782"/>
              <a:gd name="connsiteX506" fmla="*/ 11939593 w 25004707"/>
              <a:gd name="connsiteY506" fmla="*/ 4150506 h 10808782"/>
              <a:gd name="connsiteX507" fmla="*/ 10368881 w 25004707"/>
              <a:gd name="connsiteY507" fmla="*/ 8428566 h 10808782"/>
              <a:gd name="connsiteX508" fmla="*/ 10400693 w 25004707"/>
              <a:gd name="connsiteY508" fmla="*/ 7944132 h 10808782"/>
              <a:gd name="connsiteX509" fmla="*/ 11684864 w 25004707"/>
              <a:gd name="connsiteY509" fmla="*/ 8028316 h 10808782"/>
              <a:gd name="connsiteX510" fmla="*/ 10368881 w 25004707"/>
              <a:gd name="connsiteY510" fmla="*/ 8428566 h 10808782"/>
              <a:gd name="connsiteX511" fmla="*/ 11653068 w 25004707"/>
              <a:gd name="connsiteY511" fmla="*/ 8512733 h 10808782"/>
              <a:gd name="connsiteX512" fmla="*/ 10368881 w 25004707"/>
              <a:gd name="connsiteY512" fmla="*/ 8428566 h 10808782"/>
              <a:gd name="connsiteX513" fmla="*/ 9084726 w 25004707"/>
              <a:gd name="connsiteY513" fmla="*/ 8344382 h 10808782"/>
              <a:gd name="connsiteX514" fmla="*/ 10491817 w 25004707"/>
              <a:gd name="connsiteY514" fmla="*/ 6490549 h 10808782"/>
              <a:gd name="connsiteX515" fmla="*/ 10480222 w 25004707"/>
              <a:gd name="connsiteY515" fmla="*/ 6732585 h 10808782"/>
              <a:gd name="connsiteX516" fmla="*/ 10464317 w 25004707"/>
              <a:gd name="connsiteY516" fmla="*/ 6974794 h 10808782"/>
              <a:gd name="connsiteX517" fmla="*/ 9180145 w 25004707"/>
              <a:gd name="connsiteY517" fmla="*/ 6890626 h 10808782"/>
              <a:gd name="connsiteX518" fmla="*/ 10507361 w 25004707"/>
              <a:gd name="connsiteY518" fmla="*/ 6003632 h 10808782"/>
              <a:gd name="connsiteX519" fmla="*/ 10491943 w 25004707"/>
              <a:gd name="connsiteY519" fmla="*/ 6489606 h 10808782"/>
              <a:gd name="connsiteX520" fmla="*/ 10163458 w 25004707"/>
              <a:gd name="connsiteY520" fmla="*/ 6468073 h 10808782"/>
              <a:gd name="connsiteX521" fmla="*/ 9212005 w 25004707"/>
              <a:gd name="connsiteY521" fmla="*/ 6405705 h 10808782"/>
              <a:gd name="connsiteX522" fmla="*/ 10507361 w 25004707"/>
              <a:gd name="connsiteY522" fmla="*/ 6003632 h 10808782"/>
              <a:gd name="connsiteX523" fmla="*/ 9243879 w 25004707"/>
              <a:gd name="connsiteY523" fmla="*/ 5920832 h 10808782"/>
              <a:gd name="connsiteX524" fmla="*/ 10507361 w 25004707"/>
              <a:gd name="connsiteY524" fmla="*/ 6003632 h 10808782"/>
              <a:gd name="connsiteX525" fmla="*/ 11123456 w 25004707"/>
              <a:gd name="connsiteY525" fmla="*/ 6044043 h 10808782"/>
              <a:gd name="connsiteX526" fmla="*/ 10782701 w 25004707"/>
              <a:gd name="connsiteY526" fmla="*/ 2127677 h 10808782"/>
              <a:gd name="connsiteX527" fmla="*/ 12066887 w 25004707"/>
              <a:gd name="connsiteY527" fmla="*/ 2211845 h 10808782"/>
              <a:gd name="connsiteX528" fmla="*/ 10782701 w 25004707"/>
              <a:gd name="connsiteY528" fmla="*/ 2127677 h 10808782"/>
              <a:gd name="connsiteX529" fmla="*/ 9498529 w 25004707"/>
              <a:gd name="connsiteY529" fmla="*/ 2043493 h 10808782"/>
              <a:gd name="connsiteX530" fmla="*/ 10750841 w 25004707"/>
              <a:gd name="connsiteY530" fmla="*/ 2612582 h 10808782"/>
              <a:gd name="connsiteX531" fmla="*/ 10719029 w 25004707"/>
              <a:gd name="connsiteY531" fmla="*/ 3097016 h 10808782"/>
              <a:gd name="connsiteX532" fmla="*/ 9434859 w 25004707"/>
              <a:gd name="connsiteY532" fmla="*/ 3012832 h 10808782"/>
              <a:gd name="connsiteX533" fmla="*/ 10623563 w 25004707"/>
              <a:gd name="connsiteY533" fmla="*/ 4551244 h 10808782"/>
              <a:gd name="connsiteX534" fmla="*/ 10591752 w 25004707"/>
              <a:gd name="connsiteY534" fmla="*/ 5035661 h 10808782"/>
              <a:gd name="connsiteX535" fmla="*/ 9307550 w 25004707"/>
              <a:gd name="connsiteY535" fmla="*/ 4951493 h 10808782"/>
              <a:gd name="connsiteX536" fmla="*/ 9275706 w 25004707"/>
              <a:gd name="connsiteY536" fmla="*/ 5436398 h 10808782"/>
              <a:gd name="connsiteX537" fmla="*/ 10623563 w 25004707"/>
              <a:gd name="connsiteY537" fmla="*/ 4551244 h 10808782"/>
              <a:gd name="connsiteX538" fmla="*/ 10655390 w 25004707"/>
              <a:gd name="connsiteY538" fmla="*/ 4066339 h 10808782"/>
              <a:gd name="connsiteX539" fmla="*/ 10623563 w 25004707"/>
              <a:gd name="connsiteY539" fmla="*/ 4551244 h 10808782"/>
              <a:gd name="connsiteX540" fmla="*/ 9339392 w 25004707"/>
              <a:gd name="connsiteY540" fmla="*/ 4467060 h 10808782"/>
              <a:gd name="connsiteX541" fmla="*/ 10432504 w 25004707"/>
              <a:gd name="connsiteY541" fmla="*/ 7459228 h 10808782"/>
              <a:gd name="connsiteX542" fmla="*/ 10400662 w 25004707"/>
              <a:gd name="connsiteY542" fmla="*/ 7944132 h 10808782"/>
              <a:gd name="connsiteX543" fmla="*/ 9116475 w 25004707"/>
              <a:gd name="connsiteY543" fmla="*/ 7859949 h 10808782"/>
              <a:gd name="connsiteX544" fmla="*/ 5662142 w 25004707"/>
              <a:gd name="connsiteY544" fmla="*/ 1780254 h 10808782"/>
              <a:gd name="connsiteX545" fmla="*/ 5658194 w 25004707"/>
              <a:gd name="connsiteY545" fmla="*/ 2262267 h 10808782"/>
              <a:gd name="connsiteX546" fmla="*/ 5662142 w 25004707"/>
              <a:gd name="connsiteY546" fmla="*/ 1780254 h 10808782"/>
              <a:gd name="connsiteX547" fmla="*/ 4402830 w 25004707"/>
              <a:gd name="connsiteY547" fmla="*/ 1082261 h 10808782"/>
              <a:gd name="connsiteX548" fmla="*/ 5662142 w 25004707"/>
              <a:gd name="connsiteY548" fmla="*/ 1780254 h 10808782"/>
              <a:gd name="connsiteX549" fmla="*/ 6479129 w 25004707"/>
              <a:gd name="connsiteY549" fmla="*/ 1845561 h 10808782"/>
              <a:gd name="connsiteX550" fmla="*/ 6930187 w 25004707"/>
              <a:gd name="connsiteY550" fmla="*/ 1875142 h 10808782"/>
              <a:gd name="connsiteX551" fmla="*/ 5658194 w 25004707"/>
              <a:gd name="connsiteY551" fmla="*/ 2262267 h 10808782"/>
              <a:gd name="connsiteX552" fmla="*/ 4366723 w 25004707"/>
              <a:gd name="connsiteY552" fmla="*/ 1631817 h 10808782"/>
              <a:gd name="connsiteX553" fmla="*/ 5658194 w 25004707"/>
              <a:gd name="connsiteY553" fmla="*/ 2262267 h 10808782"/>
              <a:gd name="connsiteX554" fmla="*/ 5911822 w 25004707"/>
              <a:gd name="connsiteY554" fmla="*/ 2295353 h 10808782"/>
              <a:gd name="connsiteX555" fmla="*/ 6898297 w 25004707"/>
              <a:gd name="connsiteY555" fmla="*/ 2360015 h 10808782"/>
              <a:gd name="connsiteX556" fmla="*/ 6930156 w 25004707"/>
              <a:gd name="connsiteY556" fmla="*/ 1875126 h 10808782"/>
              <a:gd name="connsiteX557" fmla="*/ 5455005 w 25004707"/>
              <a:gd name="connsiteY557" fmla="*/ 4698958 h 10808782"/>
              <a:gd name="connsiteX558" fmla="*/ 5486817 w 25004707"/>
              <a:gd name="connsiteY558" fmla="*/ 4214524 h 10808782"/>
              <a:gd name="connsiteX559" fmla="*/ 6771003 w 25004707"/>
              <a:gd name="connsiteY559" fmla="*/ 4298708 h 10808782"/>
              <a:gd name="connsiteX560" fmla="*/ 5455005 w 25004707"/>
              <a:gd name="connsiteY560" fmla="*/ 4698958 h 10808782"/>
              <a:gd name="connsiteX561" fmla="*/ 6739176 w 25004707"/>
              <a:gd name="connsiteY561" fmla="*/ 4783142 h 10808782"/>
              <a:gd name="connsiteX562" fmla="*/ 5455005 w 25004707"/>
              <a:gd name="connsiteY562" fmla="*/ 4698958 h 10808782"/>
              <a:gd name="connsiteX563" fmla="*/ 5254428 w 25004707"/>
              <a:gd name="connsiteY563" fmla="*/ 4685802 h 10808782"/>
              <a:gd name="connsiteX564" fmla="*/ 4154818 w 25004707"/>
              <a:gd name="connsiteY564" fmla="*/ 4858838 h 10808782"/>
              <a:gd name="connsiteX565" fmla="*/ 5455005 w 25004707"/>
              <a:gd name="connsiteY565" fmla="*/ 4698958 h 10808782"/>
              <a:gd name="connsiteX566" fmla="*/ 5391335 w 25004707"/>
              <a:gd name="connsiteY566" fmla="*/ 5668281 h 10808782"/>
              <a:gd name="connsiteX567" fmla="*/ 4107179 w 25004707"/>
              <a:gd name="connsiteY567" fmla="*/ 5584097 h 10808782"/>
              <a:gd name="connsiteX568" fmla="*/ 5200355 w 25004707"/>
              <a:gd name="connsiteY568" fmla="*/ 8576736 h 10808782"/>
              <a:gd name="connsiteX569" fmla="*/ 5168543 w 25004707"/>
              <a:gd name="connsiteY569" fmla="*/ 9061169 h 10808782"/>
              <a:gd name="connsiteX570" fmla="*/ 3884356 w 25004707"/>
              <a:gd name="connsiteY570" fmla="*/ 8976986 h 10808782"/>
              <a:gd name="connsiteX571" fmla="*/ 5200355 w 25004707"/>
              <a:gd name="connsiteY571" fmla="*/ 8576736 h 10808782"/>
              <a:gd name="connsiteX572" fmla="*/ 5232197 w 25004707"/>
              <a:gd name="connsiteY572" fmla="*/ 8091847 h 10808782"/>
              <a:gd name="connsiteX573" fmla="*/ 5200355 w 25004707"/>
              <a:gd name="connsiteY573" fmla="*/ 8576736 h 10808782"/>
              <a:gd name="connsiteX574" fmla="*/ 3916184 w 25004707"/>
              <a:gd name="connsiteY574" fmla="*/ 8492568 h 10808782"/>
              <a:gd name="connsiteX575" fmla="*/ 5658225 w 25004707"/>
              <a:gd name="connsiteY575" fmla="*/ 2262283 h 10808782"/>
              <a:gd name="connsiteX576" fmla="*/ 5637521 w 25004707"/>
              <a:gd name="connsiteY576" fmla="*/ 2763912 h 10808782"/>
              <a:gd name="connsiteX577" fmla="*/ 6866517 w 25004707"/>
              <a:gd name="connsiteY577" fmla="*/ 2844465 h 10808782"/>
              <a:gd name="connsiteX578" fmla="*/ 5592415 w 25004707"/>
              <a:gd name="connsiteY578" fmla="*/ 3263937 h 10808782"/>
              <a:gd name="connsiteX579" fmla="*/ 5637489 w 25004707"/>
              <a:gd name="connsiteY579" fmla="*/ 2763896 h 10808782"/>
              <a:gd name="connsiteX580" fmla="*/ 4298128 w 25004707"/>
              <a:gd name="connsiteY580" fmla="*/ 2676113 h 10808782"/>
              <a:gd name="connsiteX581" fmla="*/ 5592415 w 25004707"/>
              <a:gd name="connsiteY581" fmla="*/ 3263937 h 10808782"/>
              <a:gd name="connsiteX582" fmla="*/ 5533291 w 25004707"/>
              <a:gd name="connsiteY582" fmla="*/ 3742335 h 10808782"/>
              <a:gd name="connsiteX583" fmla="*/ 5592415 w 25004707"/>
              <a:gd name="connsiteY583" fmla="*/ 3263937 h 10808782"/>
              <a:gd name="connsiteX584" fmla="*/ 5848183 w 25004707"/>
              <a:gd name="connsiteY584" fmla="*/ 3264220 h 10808782"/>
              <a:gd name="connsiteX585" fmla="*/ 6834674 w 25004707"/>
              <a:gd name="connsiteY585" fmla="*/ 3328898 h 10808782"/>
              <a:gd name="connsiteX586" fmla="*/ 5709640 w 25004707"/>
              <a:gd name="connsiteY586" fmla="*/ 821626 h 10808782"/>
              <a:gd name="connsiteX587" fmla="*/ 5677828 w 25004707"/>
              <a:gd name="connsiteY587" fmla="*/ 1306056 h 10808782"/>
              <a:gd name="connsiteX588" fmla="*/ 5622638 w 25004707"/>
              <a:gd name="connsiteY588" fmla="*/ 1302440 h 10808782"/>
              <a:gd name="connsiteX589" fmla="*/ 5501527 w 25004707"/>
              <a:gd name="connsiteY589" fmla="*/ 1263917 h 10808782"/>
              <a:gd name="connsiteX590" fmla="*/ 4424446 w 25004707"/>
              <a:gd name="connsiteY590" fmla="*/ 752908 h 10808782"/>
              <a:gd name="connsiteX591" fmla="*/ 5709640 w 25004707"/>
              <a:gd name="connsiteY591" fmla="*/ 821626 h 10808782"/>
              <a:gd name="connsiteX592" fmla="*/ 5741483 w 25004707"/>
              <a:gd name="connsiteY592" fmla="*/ 336712 h 10808782"/>
              <a:gd name="connsiteX593" fmla="*/ 5709640 w 25004707"/>
              <a:gd name="connsiteY593" fmla="*/ 821626 h 10808782"/>
              <a:gd name="connsiteX594" fmla="*/ 5509063 w 25004707"/>
              <a:gd name="connsiteY594" fmla="*/ 808462 h 10808782"/>
              <a:gd name="connsiteX595" fmla="*/ 4441500 w 25004707"/>
              <a:gd name="connsiteY595" fmla="*/ 493335 h 10808782"/>
              <a:gd name="connsiteX596" fmla="*/ 5136715 w 25004707"/>
              <a:gd name="connsiteY596" fmla="*/ 9546074 h 10808782"/>
              <a:gd name="connsiteX597" fmla="*/ 5168575 w 25004707"/>
              <a:gd name="connsiteY597" fmla="*/ 9061169 h 10808782"/>
              <a:gd name="connsiteX598" fmla="*/ 5136715 w 25004707"/>
              <a:gd name="connsiteY598" fmla="*/ 9546074 h 10808782"/>
              <a:gd name="connsiteX599" fmla="*/ 6420871 w 25004707"/>
              <a:gd name="connsiteY599" fmla="*/ 9630242 h 10808782"/>
              <a:gd name="connsiteX600" fmla="*/ 6452730 w 25004707"/>
              <a:gd name="connsiteY600" fmla="*/ 9145353 h 10808782"/>
              <a:gd name="connsiteX601" fmla="*/ 7736885 w 25004707"/>
              <a:gd name="connsiteY601" fmla="*/ 9229521 h 10808782"/>
              <a:gd name="connsiteX602" fmla="*/ 5136715 w 25004707"/>
              <a:gd name="connsiteY602" fmla="*/ 9546074 h 10808782"/>
              <a:gd name="connsiteX603" fmla="*/ 3852544 w 25004707"/>
              <a:gd name="connsiteY603" fmla="*/ 9461890 h 10808782"/>
              <a:gd name="connsiteX604" fmla="*/ 5486801 w 25004707"/>
              <a:gd name="connsiteY604" fmla="*/ 4214981 h 10808782"/>
              <a:gd name="connsiteX605" fmla="*/ 5491773 w 25004707"/>
              <a:gd name="connsiteY605" fmla="*/ 4139080 h 10808782"/>
              <a:gd name="connsiteX606" fmla="*/ 5497892 w 25004707"/>
              <a:gd name="connsiteY606" fmla="*/ 4062315 h 10808782"/>
              <a:gd name="connsiteX607" fmla="*/ 5533276 w 25004707"/>
              <a:gd name="connsiteY607" fmla="*/ 3742335 h 10808782"/>
              <a:gd name="connsiteX608" fmla="*/ 4193442 w 25004707"/>
              <a:gd name="connsiteY608" fmla="*/ 4269945 h 10808782"/>
              <a:gd name="connsiteX609" fmla="*/ 5327633 w 25004707"/>
              <a:gd name="connsiteY609" fmla="*/ 6638091 h 10808782"/>
              <a:gd name="connsiteX610" fmla="*/ 5359476 w 25004707"/>
              <a:gd name="connsiteY610" fmla="*/ 6153186 h 10808782"/>
              <a:gd name="connsiteX611" fmla="*/ 6643678 w 25004707"/>
              <a:gd name="connsiteY611" fmla="*/ 6237369 h 10808782"/>
              <a:gd name="connsiteX612" fmla="*/ 5327633 w 25004707"/>
              <a:gd name="connsiteY612" fmla="*/ 6638091 h 10808782"/>
              <a:gd name="connsiteX613" fmla="*/ 5295821 w 25004707"/>
              <a:gd name="connsiteY613" fmla="*/ 7122508 h 10808782"/>
              <a:gd name="connsiteX614" fmla="*/ 5327633 w 25004707"/>
              <a:gd name="connsiteY614" fmla="*/ 6638091 h 10808782"/>
              <a:gd name="connsiteX615" fmla="*/ 6611819 w 25004707"/>
              <a:gd name="connsiteY615" fmla="*/ 6722259 h 10808782"/>
              <a:gd name="connsiteX616" fmla="*/ 5327633 w 25004707"/>
              <a:gd name="connsiteY616" fmla="*/ 6638091 h 10808782"/>
              <a:gd name="connsiteX617" fmla="*/ 4043446 w 25004707"/>
              <a:gd name="connsiteY617" fmla="*/ 6553891 h 10808782"/>
              <a:gd name="connsiteX618" fmla="*/ 5295821 w 25004707"/>
              <a:gd name="connsiteY618" fmla="*/ 7122508 h 10808782"/>
              <a:gd name="connsiteX619" fmla="*/ 4011634 w 25004707"/>
              <a:gd name="connsiteY619" fmla="*/ 7038325 h 10808782"/>
              <a:gd name="connsiteX620" fmla="*/ 5295821 w 25004707"/>
              <a:gd name="connsiteY620" fmla="*/ 7122508 h 10808782"/>
              <a:gd name="connsiteX621" fmla="*/ 6579992 w 25004707"/>
              <a:gd name="connsiteY621" fmla="*/ 7206692 h 10808782"/>
              <a:gd name="connsiteX622" fmla="*/ 5391303 w 25004707"/>
              <a:gd name="connsiteY622" fmla="*/ 5668281 h 10808782"/>
              <a:gd name="connsiteX623" fmla="*/ 5359460 w 25004707"/>
              <a:gd name="connsiteY623" fmla="*/ 6153186 h 10808782"/>
              <a:gd name="connsiteX624" fmla="*/ 4075304 w 25004707"/>
              <a:gd name="connsiteY624" fmla="*/ 6069002 h 10808782"/>
              <a:gd name="connsiteX625" fmla="*/ 5676774 w 25004707"/>
              <a:gd name="connsiteY625" fmla="*/ 1305997 h 10808782"/>
              <a:gd name="connsiteX626" fmla="*/ 5661592 w 25004707"/>
              <a:gd name="connsiteY626" fmla="*/ 1780223 h 10808782"/>
              <a:gd name="connsiteX627" fmla="*/ 5295774 w 25004707"/>
              <a:gd name="connsiteY627" fmla="*/ 7122508 h 10808782"/>
              <a:gd name="connsiteX628" fmla="*/ 5263931 w 25004707"/>
              <a:gd name="connsiteY628" fmla="*/ 7607414 h 10808782"/>
              <a:gd name="connsiteX629" fmla="*/ 3979775 w 25004707"/>
              <a:gd name="connsiteY629" fmla="*/ 7523230 h 10808782"/>
              <a:gd name="connsiteX630" fmla="*/ 1666131 w 25004707"/>
              <a:gd name="connsiteY630" fmla="*/ 3477068 h 10808782"/>
              <a:gd name="connsiteX631" fmla="*/ 1697943 w 25004707"/>
              <a:gd name="connsiteY631" fmla="*/ 2992651 h 10808782"/>
              <a:gd name="connsiteX632" fmla="*/ 1666131 w 25004707"/>
              <a:gd name="connsiteY632" fmla="*/ 3477068 h 10808782"/>
              <a:gd name="connsiteX633" fmla="*/ 1634272 w 25004707"/>
              <a:gd name="connsiteY633" fmla="*/ 3961989 h 10808782"/>
              <a:gd name="connsiteX634" fmla="*/ 1666131 w 25004707"/>
              <a:gd name="connsiteY634" fmla="*/ 3477068 h 10808782"/>
              <a:gd name="connsiteX635" fmla="*/ 381954 w 25004707"/>
              <a:gd name="connsiteY635" fmla="*/ 3392900 h 10808782"/>
              <a:gd name="connsiteX636" fmla="*/ 1666131 w 25004707"/>
              <a:gd name="connsiteY636" fmla="*/ 3477068 h 10808782"/>
              <a:gd name="connsiteX637" fmla="*/ 2652607 w 25004707"/>
              <a:gd name="connsiteY637" fmla="*/ 3541731 h 10808782"/>
              <a:gd name="connsiteX638" fmla="*/ 2934679 w 25004707"/>
              <a:gd name="connsiteY638" fmla="*/ 3571987 h 10808782"/>
              <a:gd name="connsiteX639" fmla="*/ 1697943 w 25004707"/>
              <a:gd name="connsiteY639" fmla="*/ 2992651 h 10808782"/>
              <a:gd name="connsiteX640" fmla="*/ 1729801 w 25004707"/>
              <a:gd name="connsiteY640" fmla="*/ 2507730 h 10808782"/>
              <a:gd name="connsiteX641" fmla="*/ 1697943 w 25004707"/>
              <a:gd name="connsiteY641" fmla="*/ 2992651 h 10808782"/>
              <a:gd name="connsiteX642" fmla="*/ 403160 w 25004707"/>
              <a:gd name="connsiteY642" fmla="*/ 2907760 h 10808782"/>
              <a:gd name="connsiteX643" fmla="*/ 1602492 w 25004707"/>
              <a:gd name="connsiteY643" fmla="*/ 4446422 h 10808782"/>
              <a:gd name="connsiteX644" fmla="*/ 1634304 w 25004707"/>
              <a:gd name="connsiteY644" fmla="*/ 3961989 h 10808782"/>
              <a:gd name="connsiteX645" fmla="*/ 1602492 w 25004707"/>
              <a:gd name="connsiteY645" fmla="*/ 4446422 h 10808782"/>
              <a:gd name="connsiteX646" fmla="*/ 2886663 w 25004707"/>
              <a:gd name="connsiteY646" fmla="*/ 4530606 h 10808782"/>
              <a:gd name="connsiteX647" fmla="*/ 1602492 w 25004707"/>
              <a:gd name="connsiteY647" fmla="*/ 4446422 h 10808782"/>
              <a:gd name="connsiteX648" fmla="*/ 318315 w 25004707"/>
              <a:gd name="connsiteY648" fmla="*/ 4362239 h 10808782"/>
              <a:gd name="connsiteX649" fmla="*/ 1347818 w 25004707"/>
              <a:gd name="connsiteY649" fmla="*/ 8324201 h 10808782"/>
              <a:gd name="connsiteX650" fmla="*/ 1379664 w 25004707"/>
              <a:gd name="connsiteY650" fmla="*/ 7839312 h 10808782"/>
              <a:gd name="connsiteX651" fmla="*/ 1347818 w 25004707"/>
              <a:gd name="connsiteY651" fmla="*/ 8324201 h 10808782"/>
              <a:gd name="connsiteX652" fmla="*/ 2631997 w 25004707"/>
              <a:gd name="connsiteY652" fmla="*/ 8408384 h 10808782"/>
              <a:gd name="connsiteX653" fmla="*/ 2663840 w 25004707"/>
              <a:gd name="connsiteY653" fmla="*/ 7923495 h 10808782"/>
              <a:gd name="connsiteX654" fmla="*/ 1347818 w 25004707"/>
              <a:gd name="connsiteY654" fmla="*/ 8324201 h 10808782"/>
              <a:gd name="connsiteX655" fmla="*/ 63640 w 25004707"/>
              <a:gd name="connsiteY655" fmla="*/ 8240033 h 10808782"/>
              <a:gd name="connsiteX656" fmla="*/ 1411411 w 25004707"/>
              <a:gd name="connsiteY656" fmla="*/ 7354878 h 10808782"/>
              <a:gd name="connsiteX657" fmla="*/ 1443258 w 25004707"/>
              <a:gd name="connsiteY657" fmla="*/ 6869973 h 10808782"/>
              <a:gd name="connsiteX658" fmla="*/ 2727447 w 25004707"/>
              <a:gd name="connsiteY658" fmla="*/ 6954157 h 10808782"/>
              <a:gd name="connsiteX659" fmla="*/ 1411411 w 25004707"/>
              <a:gd name="connsiteY659" fmla="*/ 7354878 h 10808782"/>
              <a:gd name="connsiteX660" fmla="*/ 1379615 w 25004707"/>
              <a:gd name="connsiteY660" fmla="*/ 7839312 h 10808782"/>
              <a:gd name="connsiteX661" fmla="*/ 1411411 w 25004707"/>
              <a:gd name="connsiteY661" fmla="*/ 7354878 h 10808782"/>
              <a:gd name="connsiteX662" fmla="*/ 127234 w 25004707"/>
              <a:gd name="connsiteY662" fmla="*/ 7270695 h 10808782"/>
              <a:gd name="connsiteX663" fmla="*/ 1793456 w 25004707"/>
              <a:gd name="connsiteY663" fmla="*/ 1538423 h 10808782"/>
              <a:gd name="connsiteX664" fmla="*/ 1825315 w 25004707"/>
              <a:gd name="connsiteY664" fmla="*/ 1053519 h 10808782"/>
              <a:gd name="connsiteX665" fmla="*/ 1793456 w 25004707"/>
              <a:gd name="connsiteY665" fmla="*/ 1538423 h 10808782"/>
              <a:gd name="connsiteX666" fmla="*/ 509285 w 25004707"/>
              <a:gd name="connsiteY666" fmla="*/ 1454241 h 10808782"/>
              <a:gd name="connsiteX667" fmla="*/ 1793456 w 25004707"/>
              <a:gd name="connsiteY667" fmla="*/ 1538423 h 10808782"/>
              <a:gd name="connsiteX668" fmla="*/ 2244530 w 25004707"/>
              <a:gd name="connsiteY668" fmla="*/ 1567988 h 10808782"/>
              <a:gd name="connsiteX669" fmla="*/ 3063877 w 25004707"/>
              <a:gd name="connsiteY669" fmla="*/ 1613223 h 10808782"/>
              <a:gd name="connsiteX670" fmla="*/ 1825315 w 25004707"/>
              <a:gd name="connsiteY670" fmla="*/ 1053519 h 10808782"/>
              <a:gd name="connsiteX671" fmla="*/ 1857095 w 25004707"/>
              <a:gd name="connsiteY671" fmla="*/ 569070 h 10808782"/>
              <a:gd name="connsiteX672" fmla="*/ 1825315 w 25004707"/>
              <a:gd name="connsiteY672" fmla="*/ 1053519 h 10808782"/>
              <a:gd name="connsiteX673" fmla="*/ 541117 w 25004707"/>
              <a:gd name="connsiteY673" fmla="*/ 969340 h 10808782"/>
              <a:gd name="connsiteX674" fmla="*/ 1315958 w 25004707"/>
              <a:gd name="connsiteY674" fmla="*/ 8808634 h 10808782"/>
              <a:gd name="connsiteX675" fmla="*/ 1284111 w 25004707"/>
              <a:gd name="connsiteY675" fmla="*/ 9293539 h 10808782"/>
              <a:gd name="connsiteX676" fmla="*/ 2568295 w 25004707"/>
              <a:gd name="connsiteY676" fmla="*/ 9377707 h 10808782"/>
              <a:gd name="connsiteX677" fmla="*/ 1538806 w 25004707"/>
              <a:gd name="connsiteY677" fmla="*/ 5415746 h 10808782"/>
              <a:gd name="connsiteX678" fmla="*/ 1570617 w 25004707"/>
              <a:gd name="connsiteY678" fmla="*/ 4931312 h 10808782"/>
              <a:gd name="connsiteX679" fmla="*/ 1538806 w 25004707"/>
              <a:gd name="connsiteY679" fmla="*/ 5415746 h 10808782"/>
              <a:gd name="connsiteX680" fmla="*/ 1506961 w 25004707"/>
              <a:gd name="connsiteY680" fmla="*/ 5900650 h 10808782"/>
              <a:gd name="connsiteX681" fmla="*/ 1538806 w 25004707"/>
              <a:gd name="connsiteY681" fmla="*/ 5415746 h 10808782"/>
              <a:gd name="connsiteX682" fmla="*/ 254622 w 25004707"/>
              <a:gd name="connsiteY682" fmla="*/ 5331577 h 10808782"/>
              <a:gd name="connsiteX683" fmla="*/ 1570617 w 25004707"/>
              <a:gd name="connsiteY683" fmla="*/ 4931312 h 10808782"/>
              <a:gd name="connsiteX684" fmla="*/ 1602461 w 25004707"/>
              <a:gd name="connsiteY684" fmla="*/ 4446407 h 10808782"/>
              <a:gd name="connsiteX685" fmla="*/ 1570617 w 25004707"/>
              <a:gd name="connsiteY685" fmla="*/ 4931312 h 10808782"/>
              <a:gd name="connsiteX686" fmla="*/ 286431 w 25004707"/>
              <a:gd name="connsiteY686" fmla="*/ 4847128 h 10808782"/>
              <a:gd name="connsiteX687" fmla="*/ 1729786 w 25004707"/>
              <a:gd name="connsiteY687" fmla="*/ 2507761 h 10808782"/>
              <a:gd name="connsiteX688" fmla="*/ 1761597 w 25004707"/>
              <a:gd name="connsiteY688" fmla="*/ 2023328 h 10808782"/>
              <a:gd name="connsiteX689" fmla="*/ 2414287 w 25004707"/>
              <a:gd name="connsiteY689" fmla="*/ 2066111 h 10808782"/>
              <a:gd name="connsiteX690" fmla="*/ 2740663 w 25004707"/>
              <a:gd name="connsiteY690" fmla="*/ 2087031 h 10808782"/>
              <a:gd name="connsiteX691" fmla="*/ 3004360 w 25004707"/>
              <a:gd name="connsiteY691" fmla="*/ 2088776 h 10808782"/>
              <a:gd name="connsiteX692" fmla="*/ 1729786 w 25004707"/>
              <a:gd name="connsiteY692" fmla="*/ 2507761 h 10808782"/>
              <a:gd name="connsiteX693" fmla="*/ 2958782 w 25004707"/>
              <a:gd name="connsiteY693" fmla="*/ 2588330 h 10808782"/>
              <a:gd name="connsiteX694" fmla="*/ 1729786 w 25004707"/>
              <a:gd name="connsiteY694" fmla="*/ 2507761 h 10808782"/>
              <a:gd name="connsiteX695" fmla="*/ 434989 w 25004707"/>
              <a:gd name="connsiteY695" fmla="*/ 2422886 h 10808782"/>
              <a:gd name="connsiteX696" fmla="*/ 1475135 w 25004707"/>
              <a:gd name="connsiteY696" fmla="*/ 6385540 h 10808782"/>
              <a:gd name="connsiteX697" fmla="*/ 1443319 w 25004707"/>
              <a:gd name="connsiteY697" fmla="*/ 6869973 h 10808782"/>
              <a:gd name="connsiteX698" fmla="*/ 159142 w 25004707"/>
              <a:gd name="connsiteY698" fmla="*/ 6785789 h 10808782"/>
              <a:gd name="connsiteX699" fmla="*/ 1475135 w 25004707"/>
              <a:gd name="connsiteY699" fmla="*/ 6385540 h 10808782"/>
              <a:gd name="connsiteX700" fmla="*/ 1506961 w 25004707"/>
              <a:gd name="connsiteY700" fmla="*/ 5900650 h 10808782"/>
              <a:gd name="connsiteX701" fmla="*/ 1475135 w 25004707"/>
              <a:gd name="connsiteY701" fmla="*/ 6385540 h 10808782"/>
              <a:gd name="connsiteX702" fmla="*/ 190938 w 25004707"/>
              <a:gd name="connsiteY702" fmla="*/ 6301372 h 10808782"/>
              <a:gd name="connsiteX703" fmla="*/ 1857095 w 25004707"/>
              <a:gd name="connsiteY703" fmla="*/ 569070 h 10808782"/>
              <a:gd name="connsiteX704" fmla="*/ 1888954 w 25004707"/>
              <a:gd name="connsiteY704" fmla="*/ 84169 h 10808782"/>
              <a:gd name="connsiteX705" fmla="*/ 1857095 w 25004707"/>
              <a:gd name="connsiteY705" fmla="*/ 569070 h 10808782"/>
              <a:gd name="connsiteX706" fmla="*/ 3141266 w 25004707"/>
              <a:gd name="connsiteY706" fmla="*/ 653251 h 10808782"/>
              <a:gd name="connsiteX707" fmla="*/ 3173109 w 25004707"/>
              <a:gd name="connsiteY707" fmla="*/ 168350 h 10808782"/>
              <a:gd name="connsiteX708" fmla="*/ 1857095 w 25004707"/>
              <a:gd name="connsiteY708" fmla="*/ 569070 h 10808782"/>
              <a:gd name="connsiteX709" fmla="*/ 572924 w 25004707"/>
              <a:gd name="connsiteY709" fmla="*/ 484891 h 10808782"/>
              <a:gd name="connsiteX710" fmla="*/ 1379615 w 25004707"/>
              <a:gd name="connsiteY710" fmla="*/ 7839312 h 10808782"/>
              <a:gd name="connsiteX711" fmla="*/ 95437 w 25004707"/>
              <a:gd name="connsiteY711" fmla="*/ 7755128 h 10808782"/>
              <a:gd name="connsiteX712" fmla="*/ 1379615 w 25004707"/>
              <a:gd name="connsiteY712" fmla="*/ 7839312 h 10808782"/>
              <a:gd name="connsiteX713" fmla="*/ 2663793 w 25004707"/>
              <a:gd name="connsiteY713" fmla="*/ 7923495 h 10808782"/>
              <a:gd name="connsiteX714" fmla="*/ 1634272 w 25004707"/>
              <a:gd name="connsiteY714" fmla="*/ 3961989 h 10808782"/>
              <a:gd name="connsiteX715" fmla="*/ 2918475 w 25004707"/>
              <a:gd name="connsiteY715" fmla="*/ 4046173 h 10808782"/>
              <a:gd name="connsiteX716" fmla="*/ 1634272 w 25004707"/>
              <a:gd name="connsiteY716" fmla="*/ 3961989 h 10808782"/>
              <a:gd name="connsiteX717" fmla="*/ 350101 w 25004707"/>
              <a:gd name="connsiteY717" fmla="*/ 3877805 h 10808782"/>
              <a:gd name="connsiteX718" fmla="*/ 1506961 w 25004707"/>
              <a:gd name="connsiteY718" fmla="*/ 5900650 h 10808782"/>
              <a:gd name="connsiteX719" fmla="*/ 222779 w 25004707"/>
              <a:gd name="connsiteY719" fmla="*/ 5816467 h 10808782"/>
              <a:gd name="connsiteX720" fmla="*/ 1506961 w 25004707"/>
              <a:gd name="connsiteY720" fmla="*/ 5900650 h 10808782"/>
              <a:gd name="connsiteX721" fmla="*/ 2791118 w 25004707"/>
              <a:gd name="connsiteY721" fmla="*/ 5984834 h 10808782"/>
              <a:gd name="connsiteX722" fmla="*/ 1793441 w 25004707"/>
              <a:gd name="connsiteY722" fmla="*/ 1538407 h 10808782"/>
              <a:gd name="connsiteX723" fmla="*/ 1761597 w 25004707"/>
              <a:gd name="connsiteY723" fmla="*/ 2023296 h 10808782"/>
              <a:gd name="connsiteX724" fmla="*/ 477423 w 25004707"/>
              <a:gd name="connsiteY724" fmla="*/ 1939128 h 10808782"/>
              <a:gd name="connsiteX725" fmla="*/ 1347747 w 25004707"/>
              <a:gd name="connsiteY725" fmla="*/ 8324185 h 10808782"/>
              <a:gd name="connsiteX726" fmla="*/ 1315932 w 25004707"/>
              <a:gd name="connsiteY726" fmla="*/ 8808618 h 10808782"/>
              <a:gd name="connsiteX727" fmla="*/ 31754 w 25004707"/>
              <a:gd name="connsiteY727" fmla="*/ 8724434 h 10808782"/>
              <a:gd name="connsiteX728" fmla="*/ 2918475 w 25004707"/>
              <a:gd name="connsiteY728" fmla="*/ 4046173 h 10808782"/>
              <a:gd name="connsiteX729" fmla="*/ 2886663 w 25004707"/>
              <a:gd name="connsiteY729" fmla="*/ 4530606 h 10808782"/>
              <a:gd name="connsiteX730" fmla="*/ 2918475 w 25004707"/>
              <a:gd name="connsiteY730" fmla="*/ 4046173 h 10808782"/>
              <a:gd name="connsiteX731" fmla="*/ 2923446 w 25004707"/>
              <a:gd name="connsiteY731" fmla="*/ 3970272 h 10808782"/>
              <a:gd name="connsiteX732" fmla="*/ 2934176 w 25004707"/>
              <a:gd name="connsiteY732" fmla="*/ 3571956 h 10808782"/>
              <a:gd name="connsiteX733" fmla="*/ 2886663 w 25004707"/>
              <a:gd name="connsiteY733" fmla="*/ 4530606 h 10808782"/>
              <a:gd name="connsiteX734" fmla="*/ 3087240 w 25004707"/>
              <a:gd name="connsiteY734" fmla="*/ 4543731 h 10808782"/>
              <a:gd name="connsiteX735" fmla="*/ 4154818 w 25004707"/>
              <a:gd name="connsiteY735" fmla="*/ 4858838 h 10808782"/>
              <a:gd name="connsiteX736" fmla="*/ 2958782 w 25004707"/>
              <a:gd name="connsiteY736" fmla="*/ 2588330 h 10808782"/>
              <a:gd name="connsiteX737" fmla="*/ 3003841 w 25004707"/>
              <a:gd name="connsiteY737" fmla="*/ 2088289 h 10808782"/>
              <a:gd name="connsiteX738" fmla="*/ 3062980 w 25004707"/>
              <a:gd name="connsiteY738" fmla="*/ 1609875 h 10808782"/>
              <a:gd name="connsiteX739" fmla="*/ 2958782 w 25004707"/>
              <a:gd name="connsiteY739" fmla="*/ 2588330 h 10808782"/>
              <a:gd name="connsiteX740" fmla="*/ 2938062 w 25004707"/>
              <a:gd name="connsiteY740" fmla="*/ 3089943 h 10808782"/>
              <a:gd name="connsiteX741" fmla="*/ 4229533 w 25004707"/>
              <a:gd name="connsiteY741" fmla="*/ 3720409 h 10808782"/>
              <a:gd name="connsiteX742" fmla="*/ 4298128 w 25004707"/>
              <a:gd name="connsiteY742" fmla="*/ 2676113 h 10808782"/>
              <a:gd name="connsiteX743" fmla="*/ 2958782 w 25004707"/>
              <a:gd name="connsiteY743" fmla="*/ 2588330 h 10808782"/>
              <a:gd name="connsiteX744" fmla="*/ 4298128 w 25004707"/>
              <a:gd name="connsiteY744" fmla="*/ 2676113 h 10808782"/>
              <a:gd name="connsiteX745" fmla="*/ 3141329 w 25004707"/>
              <a:gd name="connsiteY745" fmla="*/ 653273 h 10808782"/>
              <a:gd name="connsiteX746" fmla="*/ 3109502 w 25004707"/>
              <a:gd name="connsiteY746" fmla="*/ 1137705 h 10808782"/>
              <a:gd name="connsiteX747" fmla="*/ 3109502 w 25004707"/>
              <a:gd name="connsiteY747" fmla="*/ 1137705 h 10808782"/>
              <a:gd name="connsiteX748" fmla="*/ 3063043 w 25004707"/>
              <a:gd name="connsiteY748" fmla="*/ 1609891 h 10808782"/>
              <a:gd name="connsiteX749" fmla="*/ 4402830 w 25004707"/>
              <a:gd name="connsiteY749" fmla="*/ 1082261 h 10808782"/>
              <a:gd name="connsiteX750" fmla="*/ 3109502 w 25004707"/>
              <a:gd name="connsiteY750" fmla="*/ 1137705 h 10808782"/>
              <a:gd name="connsiteX751" fmla="*/ 1825331 w 25004707"/>
              <a:gd name="connsiteY751" fmla="*/ 1053526 h 10808782"/>
              <a:gd name="connsiteX752" fmla="*/ 2938125 w 25004707"/>
              <a:gd name="connsiteY752" fmla="*/ 3089943 h 10808782"/>
              <a:gd name="connsiteX753" fmla="*/ 2934176 w 25004707"/>
              <a:gd name="connsiteY753" fmla="*/ 3571956 h 10808782"/>
              <a:gd name="connsiteX754" fmla="*/ 2934176 w 25004707"/>
              <a:gd name="connsiteY754" fmla="*/ 3571956 h 10808782"/>
              <a:gd name="connsiteX755" fmla="*/ 4193489 w 25004707"/>
              <a:gd name="connsiteY755" fmla="*/ 4269945 h 10808782"/>
              <a:gd name="connsiteX756" fmla="*/ 4229580 w 25004707"/>
              <a:gd name="connsiteY756" fmla="*/ 3720393 h 10808782"/>
              <a:gd name="connsiteX757" fmla="*/ 2854836 w 25004707"/>
              <a:gd name="connsiteY757" fmla="*/ 5015496 h 10808782"/>
              <a:gd name="connsiteX758" fmla="*/ 2823024 w 25004707"/>
              <a:gd name="connsiteY758" fmla="*/ 5499929 h 10808782"/>
              <a:gd name="connsiteX759" fmla="*/ 2854836 w 25004707"/>
              <a:gd name="connsiteY759" fmla="*/ 5015496 h 10808782"/>
              <a:gd name="connsiteX760" fmla="*/ 2886695 w 25004707"/>
              <a:gd name="connsiteY760" fmla="*/ 4530606 h 10808782"/>
              <a:gd name="connsiteX761" fmla="*/ 2854836 w 25004707"/>
              <a:gd name="connsiteY761" fmla="*/ 5015496 h 10808782"/>
              <a:gd name="connsiteX762" fmla="*/ 1570665 w 25004707"/>
              <a:gd name="connsiteY762" fmla="*/ 4931328 h 10808782"/>
              <a:gd name="connsiteX763" fmla="*/ 2823024 w 25004707"/>
              <a:gd name="connsiteY763" fmla="*/ 5499929 h 10808782"/>
              <a:gd name="connsiteX764" fmla="*/ 4107179 w 25004707"/>
              <a:gd name="connsiteY764" fmla="*/ 5584097 h 10808782"/>
              <a:gd name="connsiteX765" fmla="*/ 2823024 w 25004707"/>
              <a:gd name="connsiteY765" fmla="*/ 5499929 h 10808782"/>
              <a:gd name="connsiteX766" fmla="*/ 1538853 w 25004707"/>
              <a:gd name="connsiteY766" fmla="*/ 5415746 h 10808782"/>
              <a:gd name="connsiteX767" fmla="*/ 2663793 w 25004707"/>
              <a:gd name="connsiteY767" fmla="*/ 7923495 h 10808782"/>
              <a:gd name="connsiteX768" fmla="*/ 2695604 w 25004707"/>
              <a:gd name="connsiteY768" fmla="*/ 7439062 h 10808782"/>
              <a:gd name="connsiteX769" fmla="*/ 3979775 w 25004707"/>
              <a:gd name="connsiteY769" fmla="*/ 7523230 h 10808782"/>
              <a:gd name="connsiteX770" fmla="*/ 2663793 w 25004707"/>
              <a:gd name="connsiteY770" fmla="*/ 7923495 h 10808782"/>
              <a:gd name="connsiteX771" fmla="*/ 3947948 w 25004707"/>
              <a:gd name="connsiteY771" fmla="*/ 8007663 h 10808782"/>
              <a:gd name="connsiteX772" fmla="*/ 3979775 w 25004707"/>
              <a:gd name="connsiteY772" fmla="*/ 7523230 h 10808782"/>
              <a:gd name="connsiteX773" fmla="*/ 2568295 w 25004707"/>
              <a:gd name="connsiteY773" fmla="*/ 9377707 h 10808782"/>
              <a:gd name="connsiteX774" fmla="*/ 2600138 w 25004707"/>
              <a:gd name="connsiteY774" fmla="*/ 8892802 h 10808782"/>
              <a:gd name="connsiteX775" fmla="*/ 3884340 w 25004707"/>
              <a:gd name="connsiteY775" fmla="*/ 8976986 h 10808782"/>
              <a:gd name="connsiteX776" fmla="*/ 3916152 w 25004707"/>
              <a:gd name="connsiteY776" fmla="*/ 8492552 h 10808782"/>
              <a:gd name="connsiteX777" fmla="*/ 2568295 w 25004707"/>
              <a:gd name="connsiteY777" fmla="*/ 9377707 h 10808782"/>
              <a:gd name="connsiteX778" fmla="*/ 3852450 w 25004707"/>
              <a:gd name="connsiteY778" fmla="*/ 9461875 h 10808782"/>
              <a:gd name="connsiteX779" fmla="*/ 3884293 w 25004707"/>
              <a:gd name="connsiteY779" fmla="*/ 8976986 h 10808782"/>
              <a:gd name="connsiteX780" fmla="*/ 2822961 w 25004707"/>
              <a:gd name="connsiteY780" fmla="*/ 5499929 h 10808782"/>
              <a:gd name="connsiteX781" fmla="*/ 2791118 w 25004707"/>
              <a:gd name="connsiteY781" fmla="*/ 5984834 h 10808782"/>
              <a:gd name="connsiteX782" fmla="*/ 2791118 w 25004707"/>
              <a:gd name="connsiteY782" fmla="*/ 5984834 h 10808782"/>
              <a:gd name="connsiteX783" fmla="*/ 2759275 w 25004707"/>
              <a:gd name="connsiteY783" fmla="*/ 6469723 h 10808782"/>
              <a:gd name="connsiteX784" fmla="*/ 2791118 w 25004707"/>
              <a:gd name="connsiteY784" fmla="*/ 5984834 h 10808782"/>
              <a:gd name="connsiteX785" fmla="*/ 4075304 w 25004707"/>
              <a:gd name="connsiteY785" fmla="*/ 6069002 h 10808782"/>
              <a:gd name="connsiteX786" fmla="*/ 2759275 w 25004707"/>
              <a:gd name="connsiteY786" fmla="*/ 6469723 h 10808782"/>
              <a:gd name="connsiteX787" fmla="*/ 2727447 w 25004707"/>
              <a:gd name="connsiteY787" fmla="*/ 6954157 h 10808782"/>
              <a:gd name="connsiteX788" fmla="*/ 2759275 w 25004707"/>
              <a:gd name="connsiteY788" fmla="*/ 6469723 h 10808782"/>
              <a:gd name="connsiteX789" fmla="*/ 1475099 w 25004707"/>
              <a:gd name="connsiteY789" fmla="*/ 6385555 h 10808782"/>
              <a:gd name="connsiteX790" fmla="*/ 2759275 w 25004707"/>
              <a:gd name="connsiteY790" fmla="*/ 6469723 h 10808782"/>
              <a:gd name="connsiteX791" fmla="*/ 4043446 w 25004707"/>
              <a:gd name="connsiteY791" fmla="*/ 6553891 h 10808782"/>
              <a:gd name="connsiteX792" fmla="*/ 2727479 w 25004707"/>
              <a:gd name="connsiteY792" fmla="*/ 6954157 h 10808782"/>
              <a:gd name="connsiteX793" fmla="*/ 2695636 w 25004707"/>
              <a:gd name="connsiteY793" fmla="*/ 7439062 h 10808782"/>
              <a:gd name="connsiteX794" fmla="*/ 1411460 w 25004707"/>
              <a:gd name="connsiteY794" fmla="*/ 7354878 h 10808782"/>
              <a:gd name="connsiteX795" fmla="*/ 2727447 w 25004707"/>
              <a:gd name="connsiteY795" fmla="*/ 6954157 h 10808782"/>
              <a:gd name="connsiteX796" fmla="*/ 4011634 w 25004707"/>
              <a:gd name="connsiteY796" fmla="*/ 7038325 h 10808782"/>
              <a:gd name="connsiteX797" fmla="*/ 4298128 w 25004707"/>
              <a:gd name="connsiteY797" fmla="*/ 2676113 h 10808782"/>
              <a:gd name="connsiteX798" fmla="*/ 4366723 w 25004707"/>
              <a:gd name="connsiteY798" fmla="*/ 1631817 h 10808782"/>
              <a:gd name="connsiteX799" fmla="*/ 4043446 w 25004707"/>
              <a:gd name="connsiteY799" fmla="*/ 6553891 h 10808782"/>
              <a:gd name="connsiteX800" fmla="*/ 4011634 w 25004707"/>
              <a:gd name="connsiteY800" fmla="*/ 7038325 h 10808782"/>
              <a:gd name="connsiteX801" fmla="*/ 4043446 w 25004707"/>
              <a:gd name="connsiteY801" fmla="*/ 6553891 h 10808782"/>
              <a:gd name="connsiteX802" fmla="*/ 4075304 w 25004707"/>
              <a:gd name="connsiteY802" fmla="*/ 6069002 h 10808782"/>
              <a:gd name="connsiteX803" fmla="*/ 4011634 w 25004707"/>
              <a:gd name="connsiteY803" fmla="*/ 7038325 h 10808782"/>
              <a:gd name="connsiteX804" fmla="*/ 3979775 w 25004707"/>
              <a:gd name="connsiteY804" fmla="*/ 7523230 h 10808782"/>
              <a:gd name="connsiteX805" fmla="*/ 4457312 w 25004707"/>
              <a:gd name="connsiteY805" fmla="*/ 252523 h 10808782"/>
              <a:gd name="connsiteX806" fmla="*/ 4441500 w 25004707"/>
              <a:gd name="connsiteY806" fmla="*/ 493335 h 10808782"/>
              <a:gd name="connsiteX807" fmla="*/ 4441500 w 25004707"/>
              <a:gd name="connsiteY807" fmla="*/ 493335 h 10808782"/>
              <a:gd name="connsiteX808" fmla="*/ 3341890 w 25004707"/>
              <a:gd name="connsiteY808" fmla="*/ 666397 h 10808782"/>
              <a:gd name="connsiteX809" fmla="*/ 3141314 w 25004707"/>
              <a:gd name="connsiteY809" fmla="*/ 653248 h 10808782"/>
              <a:gd name="connsiteX810" fmla="*/ 4193505 w 25004707"/>
              <a:gd name="connsiteY810" fmla="*/ 4269945 h 10808782"/>
              <a:gd name="connsiteX811" fmla="*/ 4171904 w 25004707"/>
              <a:gd name="connsiteY811" fmla="*/ 4598837 h 10808782"/>
              <a:gd name="connsiteX812" fmla="*/ 4402830 w 25004707"/>
              <a:gd name="connsiteY812" fmla="*/ 1082261 h 10808782"/>
              <a:gd name="connsiteX813" fmla="*/ 4424415 w 25004707"/>
              <a:gd name="connsiteY813" fmla="*/ 753372 h 10808782"/>
              <a:gd name="connsiteX814" fmla="*/ 3289752 w 25004707"/>
              <a:gd name="connsiteY814" fmla="*/ 1119395 h 10808782"/>
              <a:gd name="connsiteX815" fmla="*/ 3109439 w 25004707"/>
              <a:gd name="connsiteY815" fmla="*/ 1138162 h 10808782"/>
              <a:gd name="connsiteX816" fmla="*/ 4366723 w 25004707"/>
              <a:gd name="connsiteY816" fmla="*/ 1631817 h 10808782"/>
              <a:gd name="connsiteX817" fmla="*/ 3003872 w 25004707"/>
              <a:gd name="connsiteY817" fmla="*/ 2088273 h 10808782"/>
              <a:gd name="connsiteX818" fmla="*/ 4402766 w 25004707"/>
              <a:gd name="connsiteY818" fmla="*/ 1082272 h 10808782"/>
              <a:gd name="connsiteX819" fmla="*/ 4366676 w 25004707"/>
              <a:gd name="connsiteY819" fmla="*/ 1631817 h 10808782"/>
              <a:gd name="connsiteX820" fmla="*/ 4107148 w 25004707"/>
              <a:gd name="connsiteY820" fmla="*/ 5584097 h 10808782"/>
              <a:gd name="connsiteX821" fmla="*/ 4075304 w 25004707"/>
              <a:gd name="connsiteY821" fmla="*/ 6069002 h 10808782"/>
              <a:gd name="connsiteX822" fmla="*/ 4136254 w 25004707"/>
              <a:gd name="connsiteY822" fmla="*/ 5141363 h 10808782"/>
              <a:gd name="connsiteX823" fmla="*/ 4107179 w 25004707"/>
              <a:gd name="connsiteY823" fmla="*/ 5584097 h 10808782"/>
              <a:gd name="connsiteX824" fmla="*/ 4136254 w 25004707"/>
              <a:gd name="connsiteY824" fmla="*/ 5141363 h 10808782"/>
              <a:gd name="connsiteX825" fmla="*/ 4154818 w 25004707"/>
              <a:gd name="connsiteY825" fmla="*/ 4858838 h 10808782"/>
              <a:gd name="connsiteX826" fmla="*/ 4136254 w 25004707"/>
              <a:gd name="connsiteY826" fmla="*/ 5141363 h 10808782"/>
              <a:gd name="connsiteX827" fmla="*/ 4901023 w 25004707"/>
              <a:gd name="connsiteY827" fmla="*/ 5149598 h 10808782"/>
              <a:gd name="connsiteX828" fmla="*/ 5423193 w 25004707"/>
              <a:gd name="connsiteY828" fmla="*/ 5183816 h 10808782"/>
              <a:gd name="connsiteX829" fmla="*/ 4136254 w 25004707"/>
              <a:gd name="connsiteY829" fmla="*/ 5141363 h 10808782"/>
              <a:gd name="connsiteX830" fmla="*/ 3509586 w 25004707"/>
              <a:gd name="connsiteY830" fmla="*/ 5059317 h 10808782"/>
              <a:gd name="connsiteX831" fmla="*/ 2854836 w 25004707"/>
              <a:gd name="connsiteY831" fmla="*/ 5015464 h 10808782"/>
              <a:gd name="connsiteX832" fmla="*/ 3948026 w 25004707"/>
              <a:gd name="connsiteY832" fmla="*/ 8007663 h 10808782"/>
              <a:gd name="connsiteX833" fmla="*/ 3916184 w 25004707"/>
              <a:gd name="connsiteY833" fmla="*/ 8492568 h 10808782"/>
              <a:gd name="connsiteX834" fmla="*/ 3916184 w 25004707"/>
              <a:gd name="connsiteY834" fmla="*/ 8492568 h 10808782"/>
              <a:gd name="connsiteX835" fmla="*/ 2632012 w 25004707"/>
              <a:gd name="connsiteY835" fmla="*/ 8408369 h 10808782"/>
              <a:gd name="connsiteX836" fmla="*/ 2600201 w 25004707"/>
              <a:gd name="connsiteY836" fmla="*/ 8892802 h 10808782"/>
              <a:gd name="connsiteX837" fmla="*/ 1316024 w 25004707"/>
              <a:gd name="connsiteY837" fmla="*/ 8808634 h 10808782"/>
              <a:gd name="connsiteX838" fmla="*/ 4154818 w 25004707"/>
              <a:gd name="connsiteY838" fmla="*/ 4858838 h 10808782"/>
              <a:gd name="connsiteX839" fmla="*/ 4171888 w 25004707"/>
              <a:gd name="connsiteY839" fmla="*/ 4598837 h 10808782"/>
              <a:gd name="connsiteX840" fmla="*/ 4441469 w 25004707"/>
              <a:gd name="connsiteY840" fmla="*/ 493350 h 10808782"/>
              <a:gd name="connsiteX841" fmla="*/ 4424383 w 25004707"/>
              <a:gd name="connsiteY841" fmla="*/ 753369 h 10808782"/>
              <a:gd name="connsiteX842" fmla="*/ 4171888 w 25004707"/>
              <a:gd name="connsiteY842" fmla="*/ 4598837 h 10808782"/>
              <a:gd name="connsiteX843" fmla="*/ 5486817 w 25004707"/>
              <a:gd name="connsiteY843" fmla="*/ 4214493 h 10808782"/>
              <a:gd name="connsiteX844" fmla="*/ 4171888 w 25004707"/>
              <a:gd name="connsiteY844" fmla="*/ 4598837 h 10808782"/>
              <a:gd name="connsiteX845" fmla="*/ 2918475 w 25004707"/>
              <a:gd name="connsiteY845" fmla="*/ 4046141 h 10808782"/>
              <a:gd name="connsiteX846" fmla="*/ 6516337 w 25004707"/>
              <a:gd name="connsiteY846" fmla="*/ 8176030 h 10808782"/>
              <a:gd name="connsiteX847" fmla="*/ 6484494 w 25004707"/>
              <a:gd name="connsiteY847" fmla="*/ 8660920 h 10808782"/>
              <a:gd name="connsiteX848" fmla="*/ 5200323 w 25004707"/>
              <a:gd name="connsiteY848" fmla="*/ 8576751 h 10808782"/>
              <a:gd name="connsiteX849" fmla="*/ 6516337 w 25004707"/>
              <a:gd name="connsiteY849" fmla="*/ 8176030 h 10808782"/>
              <a:gd name="connsiteX850" fmla="*/ 6548180 w 25004707"/>
              <a:gd name="connsiteY850" fmla="*/ 7691597 h 10808782"/>
              <a:gd name="connsiteX851" fmla="*/ 7832335 w 25004707"/>
              <a:gd name="connsiteY851" fmla="*/ 7775781 h 10808782"/>
              <a:gd name="connsiteX852" fmla="*/ 6516337 w 25004707"/>
              <a:gd name="connsiteY852" fmla="*/ 8176030 h 10808782"/>
              <a:gd name="connsiteX853" fmla="*/ 5232182 w 25004707"/>
              <a:gd name="connsiteY853" fmla="*/ 8091847 h 10808782"/>
              <a:gd name="connsiteX854" fmla="*/ 6516337 w 25004707"/>
              <a:gd name="connsiteY854" fmla="*/ 8176030 h 10808782"/>
              <a:gd name="connsiteX855" fmla="*/ 7800540 w 25004707"/>
              <a:gd name="connsiteY855" fmla="*/ 8260199 h 10808782"/>
              <a:gd name="connsiteX856" fmla="*/ 6484447 w 25004707"/>
              <a:gd name="connsiteY856" fmla="*/ 8660904 h 10808782"/>
              <a:gd name="connsiteX857" fmla="*/ 6452635 w 25004707"/>
              <a:gd name="connsiteY857" fmla="*/ 9145338 h 10808782"/>
              <a:gd name="connsiteX858" fmla="*/ 5168449 w 25004707"/>
              <a:gd name="connsiteY858" fmla="*/ 9061154 h 10808782"/>
              <a:gd name="connsiteX859" fmla="*/ 6707364 w 25004707"/>
              <a:gd name="connsiteY859" fmla="*/ 5268031 h 10808782"/>
              <a:gd name="connsiteX860" fmla="*/ 6675537 w 25004707"/>
              <a:gd name="connsiteY860" fmla="*/ 5752465 h 10808782"/>
              <a:gd name="connsiteX861" fmla="*/ 6675537 w 25004707"/>
              <a:gd name="connsiteY861" fmla="*/ 5752465 h 10808782"/>
              <a:gd name="connsiteX862" fmla="*/ 6643678 w 25004707"/>
              <a:gd name="connsiteY862" fmla="*/ 6237369 h 10808782"/>
              <a:gd name="connsiteX863" fmla="*/ 6675537 w 25004707"/>
              <a:gd name="connsiteY863" fmla="*/ 5752465 h 10808782"/>
              <a:gd name="connsiteX864" fmla="*/ 7959724 w 25004707"/>
              <a:gd name="connsiteY864" fmla="*/ 5836648 h 10808782"/>
              <a:gd name="connsiteX865" fmla="*/ 6675537 w 25004707"/>
              <a:gd name="connsiteY865" fmla="*/ 5752465 h 10808782"/>
              <a:gd name="connsiteX866" fmla="*/ 5391366 w 25004707"/>
              <a:gd name="connsiteY866" fmla="*/ 5668297 h 10808782"/>
              <a:gd name="connsiteX867" fmla="*/ 6739145 w 25004707"/>
              <a:gd name="connsiteY867" fmla="*/ 4783126 h 10808782"/>
              <a:gd name="connsiteX868" fmla="*/ 6707301 w 25004707"/>
              <a:gd name="connsiteY868" fmla="*/ 5268031 h 10808782"/>
              <a:gd name="connsiteX869" fmla="*/ 5423115 w 25004707"/>
              <a:gd name="connsiteY869" fmla="*/ 5183847 h 10808782"/>
              <a:gd name="connsiteX870" fmla="*/ 6771003 w 25004707"/>
              <a:gd name="connsiteY870" fmla="*/ 4298708 h 10808782"/>
              <a:gd name="connsiteX871" fmla="*/ 6802846 w 25004707"/>
              <a:gd name="connsiteY871" fmla="*/ 3813819 h 10808782"/>
              <a:gd name="connsiteX872" fmla="*/ 8087017 w 25004707"/>
              <a:gd name="connsiteY872" fmla="*/ 3897971 h 10808782"/>
              <a:gd name="connsiteX873" fmla="*/ 8118845 w 25004707"/>
              <a:gd name="connsiteY873" fmla="*/ 3413538 h 10808782"/>
              <a:gd name="connsiteX874" fmla="*/ 6771003 w 25004707"/>
              <a:gd name="connsiteY874" fmla="*/ 4298708 h 10808782"/>
              <a:gd name="connsiteX875" fmla="*/ 6739176 w 25004707"/>
              <a:gd name="connsiteY875" fmla="*/ 4783142 h 10808782"/>
              <a:gd name="connsiteX876" fmla="*/ 6962031 w 25004707"/>
              <a:gd name="connsiteY876" fmla="*/ 1390234 h 10808782"/>
              <a:gd name="connsiteX877" fmla="*/ 6930187 w 25004707"/>
              <a:gd name="connsiteY877" fmla="*/ 1875142 h 10808782"/>
              <a:gd name="connsiteX878" fmla="*/ 6962031 w 25004707"/>
              <a:gd name="connsiteY878" fmla="*/ 1390234 h 10808782"/>
              <a:gd name="connsiteX879" fmla="*/ 6993842 w 25004707"/>
              <a:gd name="connsiteY879" fmla="*/ 905794 h 10808782"/>
              <a:gd name="connsiteX880" fmla="*/ 6962031 w 25004707"/>
              <a:gd name="connsiteY880" fmla="*/ 1390234 h 10808782"/>
              <a:gd name="connsiteX881" fmla="*/ 5677875 w 25004707"/>
              <a:gd name="connsiteY881" fmla="*/ 1306052 h 10808782"/>
              <a:gd name="connsiteX882" fmla="*/ 6962031 w 25004707"/>
              <a:gd name="connsiteY882" fmla="*/ 1390234 h 10808782"/>
              <a:gd name="connsiteX883" fmla="*/ 8246217 w 25004707"/>
              <a:gd name="connsiteY883" fmla="*/ 1474414 h 10808782"/>
              <a:gd name="connsiteX884" fmla="*/ 6930187 w 25004707"/>
              <a:gd name="connsiteY884" fmla="*/ 1875142 h 10808782"/>
              <a:gd name="connsiteX885" fmla="*/ 8214374 w 25004707"/>
              <a:gd name="connsiteY885" fmla="*/ 1959310 h 10808782"/>
              <a:gd name="connsiteX886" fmla="*/ 8246217 w 25004707"/>
              <a:gd name="connsiteY886" fmla="*/ 1474414 h 10808782"/>
              <a:gd name="connsiteX887" fmla="*/ 7025685 w 25004707"/>
              <a:gd name="connsiteY887" fmla="*/ 420894 h 10808782"/>
              <a:gd name="connsiteX888" fmla="*/ 6993842 w 25004707"/>
              <a:gd name="connsiteY888" fmla="*/ 905794 h 10808782"/>
              <a:gd name="connsiteX889" fmla="*/ 6993842 w 25004707"/>
              <a:gd name="connsiteY889" fmla="*/ 905794 h 10808782"/>
              <a:gd name="connsiteX890" fmla="*/ 5709671 w 25004707"/>
              <a:gd name="connsiteY890" fmla="*/ 821615 h 10808782"/>
              <a:gd name="connsiteX891" fmla="*/ 6993842 w 25004707"/>
              <a:gd name="connsiteY891" fmla="*/ 905794 h 10808782"/>
              <a:gd name="connsiteX892" fmla="*/ 8278013 w 25004707"/>
              <a:gd name="connsiteY892" fmla="*/ 989967 h 10808782"/>
              <a:gd name="connsiteX893" fmla="*/ 8309856 w 25004707"/>
              <a:gd name="connsiteY893" fmla="*/ 505066 h 10808782"/>
              <a:gd name="connsiteX894" fmla="*/ 6739176 w 25004707"/>
              <a:gd name="connsiteY894" fmla="*/ 4783142 h 10808782"/>
              <a:gd name="connsiteX895" fmla="*/ 8023347 w 25004707"/>
              <a:gd name="connsiteY895" fmla="*/ 4867310 h 10808782"/>
              <a:gd name="connsiteX896" fmla="*/ 6611819 w 25004707"/>
              <a:gd name="connsiteY896" fmla="*/ 6722259 h 10808782"/>
              <a:gd name="connsiteX897" fmla="*/ 6579992 w 25004707"/>
              <a:gd name="connsiteY897" fmla="*/ 7206692 h 10808782"/>
              <a:gd name="connsiteX898" fmla="*/ 6611819 w 25004707"/>
              <a:gd name="connsiteY898" fmla="*/ 6722259 h 10808782"/>
              <a:gd name="connsiteX899" fmla="*/ 6643647 w 25004707"/>
              <a:gd name="connsiteY899" fmla="*/ 6237369 h 10808782"/>
              <a:gd name="connsiteX900" fmla="*/ 6611819 w 25004707"/>
              <a:gd name="connsiteY900" fmla="*/ 6722259 h 10808782"/>
              <a:gd name="connsiteX901" fmla="*/ 7895990 w 25004707"/>
              <a:gd name="connsiteY901" fmla="*/ 6806442 h 10808782"/>
              <a:gd name="connsiteX902" fmla="*/ 6579992 w 25004707"/>
              <a:gd name="connsiteY902" fmla="*/ 7206692 h 10808782"/>
              <a:gd name="connsiteX903" fmla="*/ 6548133 w 25004707"/>
              <a:gd name="connsiteY903" fmla="*/ 7691613 h 10808782"/>
              <a:gd name="connsiteX904" fmla="*/ 5263978 w 25004707"/>
              <a:gd name="connsiteY904" fmla="*/ 7607414 h 10808782"/>
              <a:gd name="connsiteX905" fmla="*/ 5232150 w 25004707"/>
              <a:gd name="connsiteY905" fmla="*/ 8091847 h 10808782"/>
              <a:gd name="connsiteX906" fmla="*/ 3947979 w 25004707"/>
              <a:gd name="connsiteY906" fmla="*/ 8007663 h 10808782"/>
              <a:gd name="connsiteX907" fmla="*/ 6643678 w 25004707"/>
              <a:gd name="connsiteY907" fmla="*/ 6237369 h 10808782"/>
              <a:gd name="connsiteX908" fmla="*/ 7927849 w 25004707"/>
              <a:gd name="connsiteY908" fmla="*/ 6321553 h 10808782"/>
              <a:gd name="connsiteX909" fmla="*/ 6898344 w 25004707"/>
              <a:gd name="connsiteY909" fmla="*/ 2360031 h 10808782"/>
              <a:gd name="connsiteX910" fmla="*/ 6866517 w 25004707"/>
              <a:gd name="connsiteY910" fmla="*/ 2844465 h 10808782"/>
              <a:gd name="connsiteX911" fmla="*/ 6866517 w 25004707"/>
              <a:gd name="connsiteY911" fmla="*/ 2844465 h 10808782"/>
              <a:gd name="connsiteX912" fmla="*/ 8150688 w 25004707"/>
              <a:gd name="connsiteY912" fmla="*/ 2928648 h 10808782"/>
              <a:gd name="connsiteX913" fmla="*/ 6866517 w 25004707"/>
              <a:gd name="connsiteY913" fmla="*/ 2844465 h 10808782"/>
              <a:gd name="connsiteX914" fmla="*/ 6802862 w 25004707"/>
              <a:gd name="connsiteY914" fmla="*/ 3813787 h 10808782"/>
              <a:gd name="connsiteX915" fmla="*/ 7832335 w 25004707"/>
              <a:gd name="connsiteY915" fmla="*/ 7775781 h 10808782"/>
              <a:gd name="connsiteX916" fmla="*/ 7864178 w 25004707"/>
              <a:gd name="connsiteY916" fmla="*/ 7290876 h 10808782"/>
              <a:gd name="connsiteX917" fmla="*/ 7832335 w 25004707"/>
              <a:gd name="connsiteY917" fmla="*/ 7775781 h 10808782"/>
              <a:gd name="connsiteX918" fmla="*/ 7800540 w 25004707"/>
              <a:gd name="connsiteY918" fmla="*/ 8260199 h 10808782"/>
              <a:gd name="connsiteX919" fmla="*/ 7832335 w 25004707"/>
              <a:gd name="connsiteY919" fmla="*/ 7775781 h 10808782"/>
              <a:gd name="connsiteX920" fmla="*/ 9116522 w 25004707"/>
              <a:gd name="connsiteY920" fmla="*/ 7859965 h 10808782"/>
              <a:gd name="connsiteX921" fmla="*/ 7864178 w 25004707"/>
              <a:gd name="connsiteY921" fmla="*/ 7290876 h 10808782"/>
              <a:gd name="connsiteX922" fmla="*/ 7895990 w 25004707"/>
              <a:gd name="connsiteY922" fmla="*/ 6806442 h 10808782"/>
              <a:gd name="connsiteX923" fmla="*/ 7864178 w 25004707"/>
              <a:gd name="connsiteY923" fmla="*/ 7290876 h 10808782"/>
              <a:gd name="connsiteX924" fmla="*/ 6580023 w 25004707"/>
              <a:gd name="connsiteY924" fmla="*/ 7206692 h 10808782"/>
              <a:gd name="connsiteX925" fmla="*/ 7864178 w 25004707"/>
              <a:gd name="connsiteY925" fmla="*/ 7290876 h 10808782"/>
              <a:gd name="connsiteX926" fmla="*/ 9148365 w 25004707"/>
              <a:gd name="connsiteY926" fmla="*/ 7375028 h 10808782"/>
              <a:gd name="connsiteX927" fmla="*/ 9180177 w 25004707"/>
              <a:gd name="connsiteY927" fmla="*/ 6890626 h 10808782"/>
              <a:gd name="connsiteX928" fmla="*/ 8023347 w 25004707"/>
              <a:gd name="connsiteY928" fmla="*/ 4867310 h 10808782"/>
              <a:gd name="connsiteX929" fmla="*/ 7991504 w 25004707"/>
              <a:gd name="connsiteY929" fmla="*/ 5352199 h 10808782"/>
              <a:gd name="connsiteX930" fmla="*/ 6707317 w 25004707"/>
              <a:gd name="connsiteY930" fmla="*/ 5268031 h 10808782"/>
              <a:gd name="connsiteX931" fmla="*/ 8023347 w 25004707"/>
              <a:gd name="connsiteY931" fmla="*/ 4867310 h 10808782"/>
              <a:gd name="connsiteX932" fmla="*/ 8055159 w 25004707"/>
              <a:gd name="connsiteY932" fmla="*/ 4382892 h 10808782"/>
              <a:gd name="connsiteX933" fmla="*/ 8023347 w 25004707"/>
              <a:gd name="connsiteY933" fmla="*/ 4867310 h 10808782"/>
              <a:gd name="connsiteX934" fmla="*/ 9307518 w 25004707"/>
              <a:gd name="connsiteY934" fmla="*/ 4951493 h 10808782"/>
              <a:gd name="connsiteX935" fmla="*/ 9339345 w 25004707"/>
              <a:gd name="connsiteY935" fmla="*/ 4467060 h 10808782"/>
              <a:gd name="connsiteX936" fmla="*/ 8150735 w 25004707"/>
              <a:gd name="connsiteY936" fmla="*/ 2928633 h 10808782"/>
              <a:gd name="connsiteX937" fmla="*/ 8118892 w 25004707"/>
              <a:gd name="connsiteY937" fmla="*/ 3413522 h 10808782"/>
              <a:gd name="connsiteX938" fmla="*/ 8118892 w 25004707"/>
              <a:gd name="connsiteY938" fmla="*/ 3413522 h 10808782"/>
              <a:gd name="connsiteX939" fmla="*/ 6834705 w 25004707"/>
              <a:gd name="connsiteY939" fmla="*/ 3329354 h 10808782"/>
              <a:gd name="connsiteX940" fmla="*/ 8118892 w 25004707"/>
              <a:gd name="connsiteY940" fmla="*/ 3413522 h 10808782"/>
              <a:gd name="connsiteX941" fmla="*/ 9403063 w 25004707"/>
              <a:gd name="connsiteY941" fmla="*/ 3497721 h 10808782"/>
              <a:gd name="connsiteX942" fmla="*/ 7927849 w 25004707"/>
              <a:gd name="connsiteY942" fmla="*/ 6321553 h 10808782"/>
              <a:gd name="connsiteX943" fmla="*/ 7895990 w 25004707"/>
              <a:gd name="connsiteY943" fmla="*/ 6806442 h 10808782"/>
              <a:gd name="connsiteX944" fmla="*/ 7927849 w 25004707"/>
              <a:gd name="connsiteY944" fmla="*/ 6321553 h 10808782"/>
              <a:gd name="connsiteX945" fmla="*/ 7959692 w 25004707"/>
              <a:gd name="connsiteY945" fmla="*/ 5836632 h 10808782"/>
              <a:gd name="connsiteX946" fmla="*/ 7895990 w 25004707"/>
              <a:gd name="connsiteY946" fmla="*/ 6806442 h 10808782"/>
              <a:gd name="connsiteX947" fmla="*/ 9180177 w 25004707"/>
              <a:gd name="connsiteY947" fmla="*/ 6890626 h 10808782"/>
              <a:gd name="connsiteX948" fmla="*/ 7736885 w 25004707"/>
              <a:gd name="connsiteY948" fmla="*/ 9229521 h 10808782"/>
              <a:gd name="connsiteX949" fmla="*/ 7705010 w 25004707"/>
              <a:gd name="connsiteY949" fmla="*/ 9714426 h 10808782"/>
              <a:gd name="connsiteX950" fmla="*/ 7736885 w 25004707"/>
              <a:gd name="connsiteY950" fmla="*/ 9229521 h 10808782"/>
              <a:gd name="connsiteX951" fmla="*/ 9021040 w 25004707"/>
              <a:gd name="connsiteY951" fmla="*/ 9313690 h 10808782"/>
              <a:gd name="connsiteX952" fmla="*/ 7736885 w 25004707"/>
              <a:gd name="connsiteY952" fmla="*/ 9229521 h 10808782"/>
              <a:gd name="connsiteX953" fmla="*/ 7800540 w 25004707"/>
              <a:gd name="connsiteY953" fmla="*/ 8260199 h 10808782"/>
              <a:gd name="connsiteX954" fmla="*/ 8087049 w 25004707"/>
              <a:gd name="connsiteY954" fmla="*/ 3897987 h 10808782"/>
              <a:gd name="connsiteX955" fmla="*/ 8055206 w 25004707"/>
              <a:gd name="connsiteY955" fmla="*/ 4382892 h 10808782"/>
              <a:gd name="connsiteX956" fmla="*/ 8055206 w 25004707"/>
              <a:gd name="connsiteY956" fmla="*/ 4382892 h 10808782"/>
              <a:gd name="connsiteX957" fmla="*/ 6771019 w 25004707"/>
              <a:gd name="connsiteY957" fmla="*/ 4298708 h 10808782"/>
              <a:gd name="connsiteX958" fmla="*/ 8055206 w 25004707"/>
              <a:gd name="connsiteY958" fmla="*/ 4382892 h 10808782"/>
              <a:gd name="connsiteX959" fmla="*/ 9339392 w 25004707"/>
              <a:gd name="connsiteY959" fmla="*/ 4467060 h 10808782"/>
              <a:gd name="connsiteX960" fmla="*/ 7959724 w 25004707"/>
              <a:gd name="connsiteY960" fmla="*/ 5836648 h 10808782"/>
              <a:gd name="connsiteX961" fmla="*/ 7991535 w 25004707"/>
              <a:gd name="connsiteY961" fmla="*/ 5352214 h 10808782"/>
              <a:gd name="connsiteX962" fmla="*/ 9275706 w 25004707"/>
              <a:gd name="connsiteY962" fmla="*/ 5436398 h 10808782"/>
              <a:gd name="connsiteX963" fmla="*/ 7959724 w 25004707"/>
              <a:gd name="connsiteY963" fmla="*/ 5836648 h 10808782"/>
              <a:gd name="connsiteX964" fmla="*/ 9243879 w 25004707"/>
              <a:gd name="connsiteY964" fmla="*/ 5920832 h 10808782"/>
              <a:gd name="connsiteX965" fmla="*/ 7705010 w 25004707"/>
              <a:gd name="connsiteY965" fmla="*/ 9714426 h 10808782"/>
              <a:gd name="connsiteX966" fmla="*/ 6420839 w 25004707"/>
              <a:gd name="connsiteY966" fmla="*/ 9630242 h 10808782"/>
              <a:gd name="connsiteX967" fmla="*/ 7705010 w 25004707"/>
              <a:gd name="connsiteY967" fmla="*/ 9714426 h 10808782"/>
              <a:gd name="connsiteX968" fmla="*/ 8989196 w 25004707"/>
              <a:gd name="connsiteY968" fmla="*/ 9798594 h 10808782"/>
              <a:gd name="connsiteX969" fmla="*/ 9021040 w 25004707"/>
              <a:gd name="connsiteY969" fmla="*/ 9313690 h 10808782"/>
              <a:gd name="connsiteX970" fmla="*/ 8246217 w 25004707"/>
              <a:gd name="connsiteY970" fmla="*/ 1474414 h 10808782"/>
              <a:gd name="connsiteX971" fmla="*/ 8278029 w 25004707"/>
              <a:gd name="connsiteY971" fmla="*/ 989981 h 10808782"/>
              <a:gd name="connsiteX972" fmla="*/ 9562184 w 25004707"/>
              <a:gd name="connsiteY972" fmla="*/ 1074155 h 10808782"/>
              <a:gd name="connsiteX973" fmla="*/ 7800540 w 25004707"/>
              <a:gd name="connsiteY973" fmla="*/ 8260199 h 10808782"/>
              <a:gd name="connsiteX974" fmla="*/ 9084726 w 25004707"/>
              <a:gd name="connsiteY974" fmla="*/ 8344382 h 10808782"/>
              <a:gd name="connsiteX975" fmla="*/ 8182500 w 25004707"/>
              <a:gd name="connsiteY975" fmla="*/ 2444199 h 10808782"/>
              <a:gd name="connsiteX976" fmla="*/ 8214343 w 25004707"/>
              <a:gd name="connsiteY976" fmla="*/ 1959294 h 10808782"/>
              <a:gd name="connsiteX977" fmla="*/ 9498529 w 25004707"/>
              <a:gd name="connsiteY977" fmla="*/ 2043493 h 10808782"/>
              <a:gd name="connsiteX978" fmla="*/ 8182500 w 25004707"/>
              <a:gd name="connsiteY978" fmla="*/ 2444199 h 10808782"/>
              <a:gd name="connsiteX979" fmla="*/ 8150688 w 25004707"/>
              <a:gd name="connsiteY979" fmla="*/ 2928648 h 10808782"/>
              <a:gd name="connsiteX980" fmla="*/ 8182500 w 25004707"/>
              <a:gd name="connsiteY980" fmla="*/ 2444199 h 10808782"/>
              <a:gd name="connsiteX981" fmla="*/ 9466686 w 25004707"/>
              <a:gd name="connsiteY981" fmla="*/ 2528399 h 10808782"/>
              <a:gd name="connsiteX982" fmla="*/ 8182500 w 25004707"/>
              <a:gd name="connsiteY982" fmla="*/ 2444199 h 10808782"/>
              <a:gd name="connsiteX983" fmla="*/ 6898329 w 25004707"/>
              <a:gd name="connsiteY983" fmla="*/ 2360015 h 10808782"/>
              <a:gd name="connsiteX984" fmla="*/ 8150688 w 25004707"/>
              <a:gd name="connsiteY984" fmla="*/ 2928648 h 10808782"/>
              <a:gd name="connsiteX985" fmla="*/ 9434859 w 25004707"/>
              <a:gd name="connsiteY985" fmla="*/ 3012832 h 10808782"/>
              <a:gd name="connsiteX986" fmla="*/ 9275706 w 25004707"/>
              <a:gd name="connsiteY986" fmla="*/ 5436398 h 10808782"/>
              <a:gd name="connsiteX987" fmla="*/ 9243879 w 25004707"/>
              <a:gd name="connsiteY987" fmla="*/ 5920832 h 10808782"/>
              <a:gd name="connsiteX988" fmla="*/ 9243879 w 25004707"/>
              <a:gd name="connsiteY988" fmla="*/ 5920832 h 10808782"/>
              <a:gd name="connsiteX989" fmla="*/ 9212035 w 25004707"/>
              <a:gd name="connsiteY989" fmla="*/ 6405721 h 10808782"/>
              <a:gd name="connsiteX990" fmla="*/ 9212035 w 25004707"/>
              <a:gd name="connsiteY990" fmla="*/ 6405721 h 10808782"/>
              <a:gd name="connsiteX991" fmla="*/ 9180177 w 25004707"/>
              <a:gd name="connsiteY991" fmla="*/ 6890626 h 10808782"/>
              <a:gd name="connsiteX992" fmla="*/ 9212035 w 25004707"/>
              <a:gd name="connsiteY992" fmla="*/ 6405721 h 10808782"/>
              <a:gd name="connsiteX993" fmla="*/ 7927865 w 25004707"/>
              <a:gd name="connsiteY993" fmla="*/ 6321538 h 10808782"/>
              <a:gd name="connsiteX994" fmla="*/ 9371235 w 25004707"/>
              <a:gd name="connsiteY994" fmla="*/ 3982171 h 10808782"/>
              <a:gd name="connsiteX995" fmla="*/ 9339392 w 25004707"/>
              <a:gd name="connsiteY995" fmla="*/ 4467060 h 10808782"/>
              <a:gd name="connsiteX996" fmla="*/ 9562184 w 25004707"/>
              <a:gd name="connsiteY996" fmla="*/ 1074155 h 10808782"/>
              <a:gd name="connsiteX997" fmla="*/ 9530372 w 25004707"/>
              <a:gd name="connsiteY997" fmla="*/ 1558589 h 10808782"/>
              <a:gd name="connsiteX998" fmla="*/ 9562184 w 25004707"/>
              <a:gd name="connsiteY998" fmla="*/ 1074155 h 10808782"/>
              <a:gd name="connsiteX999" fmla="*/ 9594027 w 25004707"/>
              <a:gd name="connsiteY999" fmla="*/ 589247 h 10808782"/>
              <a:gd name="connsiteX1000" fmla="*/ 9530372 w 25004707"/>
              <a:gd name="connsiteY1000" fmla="*/ 1558589 h 10808782"/>
              <a:gd name="connsiteX1001" fmla="*/ 9498529 w 25004707"/>
              <a:gd name="connsiteY1001" fmla="*/ 2043493 h 10808782"/>
              <a:gd name="connsiteX1002" fmla="*/ 9530372 w 25004707"/>
              <a:gd name="connsiteY1002" fmla="*/ 1558589 h 10808782"/>
              <a:gd name="connsiteX1003" fmla="*/ 8246186 w 25004707"/>
              <a:gd name="connsiteY1003" fmla="*/ 1474408 h 10808782"/>
              <a:gd name="connsiteX1004" fmla="*/ 9116522 w 25004707"/>
              <a:gd name="connsiteY1004" fmla="*/ 7859965 h 10808782"/>
              <a:gd name="connsiteX1005" fmla="*/ 9084726 w 25004707"/>
              <a:gd name="connsiteY1005" fmla="*/ 8344382 h 10808782"/>
              <a:gd name="connsiteX1006" fmla="*/ 9403063 w 25004707"/>
              <a:gd name="connsiteY1006" fmla="*/ 3497721 h 10808782"/>
              <a:gd name="connsiteX1007" fmla="*/ 9371251 w 25004707"/>
              <a:gd name="connsiteY1007" fmla="*/ 3982155 h 10808782"/>
              <a:gd name="connsiteX1008" fmla="*/ 9403063 w 25004707"/>
              <a:gd name="connsiteY1008" fmla="*/ 3497721 h 10808782"/>
              <a:gd name="connsiteX1009" fmla="*/ 9434921 w 25004707"/>
              <a:gd name="connsiteY1009" fmla="*/ 3012801 h 10808782"/>
              <a:gd name="connsiteX1010" fmla="*/ 9371251 w 25004707"/>
              <a:gd name="connsiteY1010" fmla="*/ 3982155 h 10808782"/>
              <a:gd name="connsiteX1011" fmla="*/ 8087081 w 25004707"/>
              <a:gd name="connsiteY1011" fmla="*/ 3897971 h 10808782"/>
              <a:gd name="connsiteX1012" fmla="*/ 9498529 w 25004707"/>
              <a:gd name="connsiteY1012" fmla="*/ 2043493 h 10808782"/>
              <a:gd name="connsiteX1013" fmla="*/ 9466686 w 25004707"/>
              <a:gd name="connsiteY1013" fmla="*/ 2528399 h 10808782"/>
              <a:gd name="connsiteX1014" fmla="*/ 9466686 w 25004707"/>
              <a:gd name="connsiteY1014" fmla="*/ 2528399 h 10808782"/>
              <a:gd name="connsiteX1015" fmla="*/ 9434859 w 25004707"/>
              <a:gd name="connsiteY1015" fmla="*/ 3012832 h 10808782"/>
              <a:gd name="connsiteX1016" fmla="*/ 9021040 w 25004707"/>
              <a:gd name="connsiteY1016" fmla="*/ 9313690 h 10808782"/>
              <a:gd name="connsiteX1017" fmla="*/ 9052851 w 25004707"/>
              <a:gd name="connsiteY1017" fmla="*/ 8829272 h 10808782"/>
              <a:gd name="connsiteX1018" fmla="*/ 9084726 w 25004707"/>
              <a:gd name="connsiteY1018" fmla="*/ 8344382 h 10808782"/>
              <a:gd name="connsiteX1019" fmla="*/ 9052883 w 25004707"/>
              <a:gd name="connsiteY1019" fmla="*/ 8829287 h 10808782"/>
              <a:gd name="connsiteX1020" fmla="*/ 9052883 w 25004707"/>
              <a:gd name="connsiteY1020" fmla="*/ 8829287 h 10808782"/>
              <a:gd name="connsiteX1021" fmla="*/ 6484525 w 25004707"/>
              <a:gd name="connsiteY1021" fmla="*/ 8660920 h 10808782"/>
              <a:gd name="connsiteX1022" fmla="*/ 11589397 w 25004707"/>
              <a:gd name="connsiteY1022" fmla="*/ 9482057 h 10808782"/>
              <a:gd name="connsiteX1023" fmla="*/ 11621209 w 25004707"/>
              <a:gd name="connsiteY1023" fmla="*/ 8997623 h 10808782"/>
              <a:gd name="connsiteX1024" fmla="*/ 11589397 w 25004707"/>
              <a:gd name="connsiteY1024" fmla="*/ 9482057 h 10808782"/>
              <a:gd name="connsiteX1025" fmla="*/ 11557539 w 25004707"/>
              <a:gd name="connsiteY1025" fmla="*/ 9966962 h 10808782"/>
              <a:gd name="connsiteX1026" fmla="*/ 10273352 w 25004707"/>
              <a:gd name="connsiteY1026" fmla="*/ 9882778 h 10808782"/>
              <a:gd name="connsiteX1027" fmla="*/ 11589397 w 25004707"/>
              <a:gd name="connsiteY1027" fmla="*/ 9482057 h 10808782"/>
              <a:gd name="connsiteX1028" fmla="*/ 12873584 w 25004707"/>
              <a:gd name="connsiteY1028" fmla="*/ 9566240 h 10808782"/>
              <a:gd name="connsiteX1029" fmla="*/ 11589397 w 25004707"/>
              <a:gd name="connsiteY1029" fmla="*/ 9482057 h 10808782"/>
              <a:gd name="connsiteX1030" fmla="*/ 10305227 w 25004707"/>
              <a:gd name="connsiteY1030" fmla="*/ 9397873 h 10808782"/>
              <a:gd name="connsiteX1031" fmla="*/ 11621209 w 25004707"/>
              <a:gd name="connsiteY1031" fmla="*/ 8997623 h 10808782"/>
              <a:gd name="connsiteX1032" fmla="*/ 11653068 w 25004707"/>
              <a:gd name="connsiteY1032" fmla="*/ 8512733 h 10808782"/>
              <a:gd name="connsiteX1033" fmla="*/ 11621209 w 25004707"/>
              <a:gd name="connsiteY1033" fmla="*/ 8997623 h 10808782"/>
              <a:gd name="connsiteX1034" fmla="*/ 10337038 w 25004707"/>
              <a:gd name="connsiteY1034" fmla="*/ 8913455 h 10808782"/>
              <a:gd name="connsiteX1035" fmla="*/ 12098730 w 25004707"/>
              <a:gd name="connsiteY1035" fmla="*/ 1726956 h 10808782"/>
              <a:gd name="connsiteX1036" fmla="*/ 12066887 w 25004707"/>
              <a:gd name="connsiteY1036" fmla="*/ 2211845 h 10808782"/>
              <a:gd name="connsiteX1037" fmla="*/ 12098730 w 25004707"/>
              <a:gd name="connsiteY1037" fmla="*/ 1726956 h 10808782"/>
              <a:gd name="connsiteX1038" fmla="*/ 12130541 w 25004707"/>
              <a:gd name="connsiteY1038" fmla="*/ 1242500 h 10808782"/>
              <a:gd name="connsiteX1039" fmla="*/ 12098730 w 25004707"/>
              <a:gd name="connsiteY1039" fmla="*/ 1726956 h 10808782"/>
              <a:gd name="connsiteX1040" fmla="*/ 13382917 w 25004707"/>
              <a:gd name="connsiteY1040" fmla="*/ 1811140 h 10808782"/>
              <a:gd name="connsiteX1041" fmla="*/ 12066887 w 25004707"/>
              <a:gd name="connsiteY1041" fmla="*/ 2211845 h 10808782"/>
              <a:gd name="connsiteX1042" fmla="*/ 12035043 w 25004707"/>
              <a:gd name="connsiteY1042" fmla="*/ 2696735 h 10808782"/>
              <a:gd name="connsiteX1043" fmla="*/ 12066887 w 25004707"/>
              <a:gd name="connsiteY1043" fmla="*/ 2211845 h 10808782"/>
              <a:gd name="connsiteX1044" fmla="*/ 13351074 w 25004707"/>
              <a:gd name="connsiteY1044" fmla="*/ 2296029 h 10808782"/>
              <a:gd name="connsiteX1045" fmla="*/ 13382917 w 25004707"/>
              <a:gd name="connsiteY1045" fmla="*/ 1811140 h 10808782"/>
              <a:gd name="connsiteX1046" fmla="*/ 11684864 w 25004707"/>
              <a:gd name="connsiteY1046" fmla="*/ 8028316 h 10808782"/>
              <a:gd name="connsiteX1047" fmla="*/ 11700769 w 25004707"/>
              <a:gd name="connsiteY1047" fmla="*/ 7786092 h 10808782"/>
              <a:gd name="connsiteX1048" fmla="*/ 11645721 w 25004707"/>
              <a:gd name="connsiteY1048" fmla="*/ 7561345 h 10808782"/>
              <a:gd name="connsiteX1049" fmla="*/ 11684864 w 25004707"/>
              <a:gd name="connsiteY1049" fmla="*/ 8028316 h 10808782"/>
              <a:gd name="connsiteX1050" fmla="*/ 11653068 w 25004707"/>
              <a:gd name="connsiteY1050" fmla="*/ 8512733 h 10808782"/>
              <a:gd name="connsiteX1051" fmla="*/ 12162401 w 25004707"/>
              <a:gd name="connsiteY1051" fmla="*/ 757600 h 10808782"/>
              <a:gd name="connsiteX1052" fmla="*/ 12130541 w 25004707"/>
              <a:gd name="connsiteY1052" fmla="*/ 1242500 h 10808782"/>
              <a:gd name="connsiteX1053" fmla="*/ 12130541 w 25004707"/>
              <a:gd name="connsiteY1053" fmla="*/ 1242500 h 10808782"/>
              <a:gd name="connsiteX1054" fmla="*/ 13414713 w 25004707"/>
              <a:gd name="connsiteY1054" fmla="*/ 1326681 h 10808782"/>
              <a:gd name="connsiteX1055" fmla="*/ 11971389 w 25004707"/>
              <a:gd name="connsiteY1055" fmla="*/ 3666073 h 10808782"/>
              <a:gd name="connsiteX1056" fmla="*/ 11939593 w 25004707"/>
              <a:gd name="connsiteY1056" fmla="*/ 4150506 h 10808782"/>
              <a:gd name="connsiteX1057" fmla="*/ 11971389 w 25004707"/>
              <a:gd name="connsiteY1057" fmla="*/ 3666073 h 10808782"/>
              <a:gd name="connsiteX1058" fmla="*/ 10687203 w 25004707"/>
              <a:gd name="connsiteY1058" fmla="*/ 3581889 h 10808782"/>
              <a:gd name="connsiteX1059" fmla="*/ 11971389 w 25004707"/>
              <a:gd name="connsiteY1059" fmla="*/ 3666073 h 10808782"/>
              <a:gd name="connsiteX1060" fmla="*/ 12035043 w 25004707"/>
              <a:gd name="connsiteY1060" fmla="*/ 2696750 h 10808782"/>
              <a:gd name="connsiteX1061" fmla="*/ 11939562 w 25004707"/>
              <a:gd name="connsiteY1061" fmla="*/ 4150506 h 10808782"/>
              <a:gd name="connsiteX1062" fmla="*/ 11923656 w 25004707"/>
              <a:gd name="connsiteY1062" fmla="*/ 4392731 h 10808782"/>
              <a:gd name="connsiteX1063" fmla="*/ 11839674 w 25004707"/>
              <a:gd name="connsiteY1063" fmla="*/ 4608362 h 10808782"/>
              <a:gd name="connsiteX1064" fmla="*/ 11939593 w 25004707"/>
              <a:gd name="connsiteY1064" fmla="*/ 4150506 h 10808782"/>
              <a:gd name="connsiteX1065" fmla="*/ 12272294 w 25004707"/>
              <a:gd name="connsiteY1065" fmla="*/ 4172322 h 10808782"/>
              <a:gd name="connsiteX1066" fmla="*/ 13140632 w 25004707"/>
              <a:gd name="connsiteY1066" fmla="*/ 4177462 h 10808782"/>
              <a:gd name="connsiteX1067" fmla="*/ 11123456 w 25004707"/>
              <a:gd name="connsiteY1067" fmla="*/ 6044043 h 10808782"/>
              <a:gd name="connsiteX1068" fmla="*/ 11191500 w 25004707"/>
              <a:gd name="connsiteY1068" fmla="*/ 6598074 h 10808782"/>
              <a:gd name="connsiteX1069" fmla="*/ 10491927 w 25004707"/>
              <a:gd name="connsiteY1069" fmla="*/ 6490078 h 10808782"/>
              <a:gd name="connsiteX1070" fmla="*/ 11123456 w 25004707"/>
              <a:gd name="connsiteY1070" fmla="*/ 6044043 h 10808782"/>
              <a:gd name="connsiteX1071" fmla="*/ 11503937 w 25004707"/>
              <a:gd name="connsiteY1071" fmla="*/ 6068971 h 10808782"/>
              <a:gd name="connsiteX1072" fmla="*/ 11646287 w 25004707"/>
              <a:gd name="connsiteY1072" fmla="*/ 7561361 h 10808782"/>
              <a:gd name="connsiteX1073" fmla="*/ 11412797 w 25004707"/>
              <a:gd name="connsiteY1073" fmla="*/ 7108001 h 10808782"/>
              <a:gd name="connsiteX1074" fmla="*/ 11130048 w 25004707"/>
              <a:gd name="connsiteY1074" fmla="*/ 7039111 h 10808782"/>
              <a:gd name="connsiteX1075" fmla="*/ 10846071 w 25004707"/>
              <a:gd name="connsiteY1075" fmla="*/ 7005444 h 10808782"/>
              <a:gd name="connsiteX1076" fmla="*/ 10464379 w 25004707"/>
              <a:gd name="connsiteY1076" fmla="*/ 6974779 h 10808782"/>
              <a:gd name="connsiteX1077" fmla="*/ 11191531 w 25004707"/>
              <a:gd name="connsiteY1077" fmla="*/ 6598058 h 10808782"/>
              <a:gd name="connsiteX1078" fmla="*/ 11412813 w 25004707"/>
              <a:gd name="connsiteY1078" fmla="*/ 7107545 h 10808782"/>
              <a:gd name="connsiteX1079" fmla="*/ 12088126 w 25004707"/>
              <a:gd name="connsiteY1079" fmla="*/ 7357425 h 10808782"/>
              <a:gd name="connsiteX1080" fmla="*/ 12035043 w 25004707"/>
              <a:gd name="connsiteY1080" fmla="*/ 2696735 h 10808782"/>
              <a:gd name="connsiteX1081" fmla="*/ 13319230 w 25004707"/>
              <a:gd name="connsiteY1081" fmla="*/ 2780918 h 10808782"/>
              <a:gd name="connsiteX1082" fmla="*/ 11840162 w 25004707"/>
              <a:gd name="connsiteY1082" fmla="*/ 4608393 h 10808782"/>
              <a:gd name="connsiteX1083" fmla="*/ 11549389 w 25004707"/>
              <a:gd name="connsiteY1083" fmla="*/ 5027378 h 10808782"/>
              <a:gd name="connsiteX1084" fmla="*/ 11263368 w 25004707"/>
              <a:gd name="connsiteY1084" fmla="*/ 5504110 h 10808782"/>
              <a:gd name="connsiteX1085" fmla="*/ 11123440 w 25004707"/>
              <a:gd name="connsiteY1085" fmla="*/ 6044498 h 10808782"/>
              <a:gd name="connsiteX1086" fmla="*/ 11549436 w 25004707"/>
              <a:gd name="connsiteY1086" fmla="*/ 5027394 h 10808782"/>
              <a:gd name="connsiteX1087" fmla="*/ 11263415 w 25004707"/>
              <a:gd name="connsiteY1087" fmla="*/ 5503623 h 10808782"/>
              <a:gd name="connsiteX1088" fmla="*/ 11752593 w 25004707"/>
              <a:gd name="connsiteY1088" fmla="*/ 5391241 h 10808782"/>
              <a:gd name="connsiteX1089" fmla="*/ 12251684 w 25004707"/>
              <a:gd name="connsiteY1089" fmla="*/ 4867812 h 10808782"/>
              <a:gd name="connsiteX1090" fmla="*/ 13275399 w 25004707"/>
              <a:gd name="connsiteY1090" fmla="*/ 4617321 h 10808782"/>
              <a:gd name="connsiteX1091" fmla="*/ 13140664 w 25004707"/>
              <a:gd name="connsiteY1091" fmla="*/ 4177494 h 10808782"/>
              <a:gd name="connsiteX1092" fmla="*/ 12761818 w 25004707"/>
              <a:gd name="connsiteY1092" fmla="*/ 4492837 h 10808782"/>
              <a:gd name="connsiteX1093" fmla="*/ 11661721 w 25004707"/>
              <a:gd name="connsiteY1093" fmla="*/ 6773813 h 10808782"/>
              <a:gd name="connsiteX1094" fmla="*/ 11503858 w 25004707"/>
              <a:gd name="connsiteY1094" fmla="*/ 6069442 h 10808782"/>
              <a:gd name="connsiteX1095" fmla="*/ 12905427 w 25004707"/>
              <a:gd name="connsiteY1095" fmla="*/ 9081823 h 10808782"/>
              <a:gd name="connsiteX1096" fmla="*/ 12937271 w 25004707"/>
              <a:gd name="connsiteY1096" fmla="*/ 8596917 h 10808782"/>
              <a:gd name="connsiteX1097" fmla="*/ 12905427 w 25004707"/>
              <a:gd name="connsiteY1097" fmla="*/ 9081823 h 10808782"/>
              <a:gd name="connsiteX1098" fmla="*/ 14190133 w 25004707"/>
              <a:gd name="connsiteY1098" fmla="*/ 9166037 h 10808782"/>
              <a:gd name="connsiteX1099" fmla="*/ 12905427 w 25004707"/>
              <a:gd name="connsiteY1099" fmla="*/ 9081823 h 10808782"/>
              <a:gd name="connsiteX1100" fmla="*/ 11621240 w 25004707"/>
              <a:gd name="connsiteY1100" fmla="*/ 8997639 h 10808782"/>
              <a:gd name="connsiteX1101" fmla="*/ 12251620 w 25004707"/>
              <a:gd name="connsiteY1101" fmla="*/ 4868269 h 10808782"/>
              <a:gd name="connsiteX1102" fmla="*/ 12762275 w 25004707"/>
              <a:gd name="connsiteY1102" fmla="*/ 4493340 h 10808782"/>
              <a:gd name="connsiteX1103" fmla="*/ 11503937 w 25004707"/>
              <a:gd name="connsiteY1103" fmla="*/ 6068971 h 10808782"/>
              <a:gd name="connsiteX1104" fmla="*/ 11752562 w 25004707"/>
              <a:gd name="connsiteY1104" fmla="*/ 5391257 h 10808782"/>
              <a:gd name="connsiteX1105" fmla="*/ 11503937 w 25004707"/>
              <a:gd name="connsiteY1105" fmla="*/ 6068971 h 10808782"/>
              <a:gd name="connsiteX1106" fmla="*/ 11995302 w 25004707"/>
              <a:gd name="connsiteY1106" fmla="*/ 6101176 h 10808782"/>
              <a:gd name="connsiteX1107" fmla="*/ 13319215 w 25004707"/>
              <a:gd name="connsiteY1107" fmla="*/ 2780934 h 10808782"/>
              <a:gd name="connsiteX1108" fmla="*/ 13287403 w 25004707"/>
              <a:gd name="connsiteY1108" fmla="*/ 3265368 h 10808782"/>
              <a:gd name="connsiteX1109" fmla="*/ 10719045 w 25004707"/>
              <a:gd name="connsiteY1109" fmla="*/ 3097000 h 10808782"/>
              <a:gd name="connsiteX1110" fmla="*/ 12879185 w 25004707"/>
              <a:gd name="connsiteY1110" fmla="*/ 8157877 h 10808782"/>
              <a:gd name="connsiteX1111" fmla="*/ 12953113 w 25004707"/>
              <a:gd name="connsiteY1111" fmla="*/ 8354693 h 10808782"/>
              <a:gd name="connsiteX1112" fmla="*/ 12937192 w 25004707"/>
              <a:gd name="connsiteY1112" fmla="*/ 8596917 h 10808782"/>
              <a:gd name="connsiteX1113" fmla="*/ 11653021 w 25004707"/>
              <a:gd name="connsiteY1113" fmla="*/ 8512733 h 10808782"/>
              <a:gd name="connsiteX1114" fmla="*/ 13351074 w 25004707"/>
              <a:gd name="connsiteY1114" fmla="*/ 2296013 h 10808782"/>
              <a:gd name="connsiteX1115" fmla="*/ 13319230 w 25004707"/>
              <a:gd name="connsiteY1115" fmla="*/ 2780918 h 10808782"/>
              <a:gd name="connsiteX1116" fmla="*/ 13319230 w 25004707"/>
              <a:gd name="connsiteY1116" fmla="*/ 2780918 h 10808782"/>
              <a:gd name="connsiteX1117" fmla="*/ 14603952 w 25004707"/>
              <a:gd name="connsiteY1117" fmla="*/ 2865118 h 10808782"/>
              <a:gd name="connsiteX1118" fmla="*/ 14635795 w 25004707"/>
              <a:gd name="connsiteY1118" fmla="*/ 2380244 h 10808782"/>
              <a:gd name="connsiteX1119" fmla="*/ 13382917 w 25004707"/>
              <a:gd name="connsiteY1119" fmla="*/ 1811140 h 10808782"/>
              <a:gd name="connsiteX1120" fmla="*/ 13414713 w 25004707"/>
              <a:gd name="connsiteY1120" fmla="*/ 1326681 h 10808782"/>
              <a:gd name="connsiteX1121" fmla="*/ 13382917 w 25004707"/>
              <a:gd name="connsiteY1121" fmla="*/ 1811140 h 10808782"/>
              <a:gd name="connsiteX1122" fmla="*/ 14667607 w 25004707"/>
              <a:gd name="connsiteY1122" fmla="*/ 1895339 h 10808782"/>
              <a:gd name="connsiteX1123" fmla="*/ 13287451 w 25004707"/>
              <a:gd name="connsiteY1123" fmla="*/ 3265336 h 10808782"/>
              <a:gd name="connsiteX1124" fmla="*/ 13255607 w 25004707"/>
              <a:gd name="connsiteY1124" fmla="*/ 3750241 h 10808782"/>
              <a:gd name="connsiteX1125" fmla="*/ 11971436 w 25004707"/>
              <a:gd name="connsiteY1125" fmla="*/ 3666057 h 10808782"/>
              <a:gd name="connsiteX1126" fmla="*/ 13140585 w 25004707"/>
              <a:gd name="connsiteY1126" fmla="*/ 4177934 h 10808782"/>
              <a:gd name="connsiteX1127" fmla="*/ 13239622 w 25004707"/>
              <a:gd name="connsiteY1127" fmla="*/ 3992450 h 10808782"/>
              <a:gd name="connsiteX1128" fmla="*/ 13255529 w 25004707"/>
              <a:gd name="connsiteY1128" fmla="*/ 3750241 h 10808782"/>
              <a:gd name="connsiteX1129" fmla="*/ 14206023 w 25004707"/>
              <a:gd name="connsiteY1129" fmla="*/ 3811147 h 10808782"/>
              <a:gd name="connsiteX1130" fmla="*/ 14533910 w 25004707"/>
              <a:gd name="connsiteY1130" fmla="*/ 3825576 h 10808782"/>
              <a:gd name="connsiteX1131" fmla="*/ 14311810 w 25004707"/>
              <a:gd name="connsiteY1131" fmla="*/ 4099440 h 10808782"/>
              <a:gd name="connsiteX1132" fmla="*/ 12544864 w 25004707"/>
              <a:gd name="connsiteY1132" fmla="*/ 7795774 h 10808782"/>
              <a:gd name="connsiteX1133" fmla="*/ 12879217 w 25004707"/>
              <a:gd name="connsiteY1133" fmla="*/ 8157877 h 10808782"/>
              <a:gd name="connsiteX1134" fmla="*/ 14029580 w 25004707"/>
              <a:gd name="connsiteY1134" fmla="*/ 8388549 h 10808782"/>
              <a:gd name="connsiteX1135" fmla="*/ 12545383 w 25004707"/>
              <a:gd name="connsiteY1135" fmla="*/ 7795805 h 10808782"/>
              <a:gd name="connsiteX1136" fmla="*/ 12088126 w 25004707"/>
              <a:gd name="connsiteY1136" fmla="*/ 7357425 h 10808782"/>
              <a:gd name="connsiteX1137" fmla="*/ 12088126 w 25004707"/>
              <a:gd name="connsiteY1137" fmla="*/ 7357425 h 10808782"/>
              <a:gd name="connsiteX1138" fmla="*/ 11661799 w 25004707"/>
              <a:gd name="connsiteY1138" fmla="*/ 6773325 h 10808782"/>
              <a:gd name="connsiteX1139" fmla="*/ 12088126 w 25004707"/>
              <a:gd name="connsiteY1139" fmla="*/ 7357425 h 10808782"/>
              <a:gd name="connsiteX1140" fmla="*/ 13070307 w 25004707"/>
              <a:gd name="connsiteY1140" fmla="*/ 7739410 h 10808782"/>
              <a:gd name="connsiteX1141" fmla="*/ 12873584 w 25004707"/>
              <a:gd name="connsiteY1141" fmla="*/ 9566240 h 10808782"/>
              <a:gd name="connsiteX1142" fmla="*/ 12905396 w 25004707"/>
              <a:gd name="connsiteY1142" fmla="*/ 9081806 h 10808782"/>
              <a:gd name="connsiteX1143" fmla="*/ 12873584 w 25004707"/>
              <a:gd name="connsiteY1143" fmla="*/ 9566240 h 10808782"/>
              <a:gd name="connsiteX1144" fmla="*/ 14158290 w 25004707"/>
              <a:gd name="connsiteY1144" fmla="*/ 9650455 h 10808782"/>
              <a:gd name="connsiteX1145" fmla="*/ 12873631 w 25004707"/>
              <a:gd name="connsiteY1145" fmla="*/ 9566240 h 10808782"/>
              <a:gd name="connsiteX1146" fmla="*/ 12841773 w 25004707"/>
              <a:gd name="connsiteY1146" fmla="*/ 10051145 h 10808782"/>
              <a:gd name="connsiteX1147" fmla="*/ 11557601 w 25004707"/>
              <a:gd name="connsiteY1147" fmla="*/ 9966962 h 10808782"/>
              <a:gd name="connsiteX1148" fmla="*/ 13446556 w 25004707"/>
              <a:gd name="connsiteY1148" fmla="*/ 841781 h 10808782"/>
              <a:gd name="connsiteX1149" fmla="*/ 13414713 w 25004707"/>
              <a:gd name="connsiteY1149" fmla="*/ 1326681 h 10808782"/>
              <a:gd name="connsiteX1150" fmla="*/ 14190133 w 25004707"/>
              <a:gd name="connsiteY1150" fmla="*/ 9166037 h 10808782"/>
              <a:gd name="connsiteX1151" fmla="*/ 14206039 w 25004707"/>
              <a:gd name="connsiteY1151" fmla="*/ 8923813 h 10808782"/>
              <a:gd name="connsiteX1152" fmla="*/ 14214503 w 25004707"/>
              <a:gd name="connsiteY1152" fmla="*/ 8689589 h 10808782"/>
              <a:gd name="connsiteX1153" fmla="*/ 14190133 w 25004707"/>
              <a:gd name="connsiteY1153" fmla="*/ 9166037 h 10808782"/>
              <a:gd name="connsiteX1154" fmla="*/ 14158290 w 25004707"/>
              <a:gd name="connsiteY1154" fmla="*/ 9650455 h 10808782"/>
              <a:gd name="connsiteX1155" fmla="*/ 14190133 w 25004707"/>
              <a:gd name="connsiteY1155" fmla="*/ 9166037 h 10808782"/>
              <a:gd name="connsiteX1156" fmla="*/ 15474273 w 25004707"/>
              <a:gd name="connsiteY1156" fmla="*/ 9250206 h 10808782"/>
              <a:gd name="connsiteX1157" fmla="*/ 14603889 w 25004707"/>
              <a:gd name="connsiteY1157" fmla="*/ 2865133 h 10808782"/>
              <a:gd name="connsiteX1158" fmla="*/ 14572062 w 25004707"/>
              <a:gd name="connsiteY1158" fmla="*/ 3349567 h 10808782"/>
              <a:gd name="connsiteX1159" fmla="*/ 14572062 w 25004707"/>
              <a:gd name="connsiteY1159" fmla="*/ 3349567 h 10808782"/>
              <a:gd name="connsiteX1160" fmla="*/ 13287355 w 25004707"/>
              <a:gd name="connsiteY1160" fmla="*/ 3265352 h 10808782"/>
              <a:gd name="connsiteX1161" fmla="*/ 14572062 w 25004707"/>
              <a:gd name="connsiteY1161" fmla="*/ 3349567 h 10808782"/>
              <a:gd name="connsiteX1162" fmla="*/ 15856264 w 25004707"/>
              <a:gd name="connsiteY1162" fmla="*/ 3433766 h 10808782"/>
              <a:gd name="connsiteX1163" fmla="*/ 14731277 w 25004707"/>
              <a:gd name="connsiteY1163" fmla="*/ 925990 h 10808782"/>
              <a:gd name="connsiteX1164" fmla="*/ 14699434 w 25004707"/>
              <a:gd name="connsiteY1164" fmla="*/ 1410890 h 10808782"/>
              <a:gd name="connsiteX1165" fmla="*/ 14699434 w 25004707"/>
              <a:gd name="connsiteY1165" fmla="*/ 1410890 h 10808782"/>
              <a:gd name="connsiteX1166" fmla="*/ 14667607 w 25004707"/>
              <a:gd name="connsiteY1166" fmla="*/ 1895339 h 10808782"/>
              <a:gd name="connsiteX1167" fmla="*/ 14699434 w 25004707"/>
              <a:gd name="connsiteY1167" fmla="*/ 1410890 h 10808782"/>
              <a:gd name="connsiteX1168" fmla="*/ 15983542 w 25004707"/>
              <a:gd name="connsiteY1168" fmla="*/ 1495075 h 10808782"/>
              <a:gd name="connsiteX1169" fmla="*/ 14699434 w 25004707"/>
              <a:gd name="connsiteY1169" fmla="*/ 1410890 h 10808782"/>
              <a:gd name="connsiteX1170" fmla="*/ 13414728 w 25004707"/>
              <a:gd name="connsiteY1170" fmla="*/ 1326676 h 10808782"/>
              <a:gd name="connsiteX1171" fmla="*/ 14029580 w 25004707"/>
              <a:gd name="connsiteY1171" fmla="*/ 8388549 h 10808782"/>
              <a:gd name="connsiteX1172" fmla="*/ 13647070 w 25004707"/>
              <a:gd name="connsiteY1172" fmla="*/ 8118803 h 10808782"/>
              <a:gd name="connsiteX1173" fmla="*/ 14029580 w 25004707"/>
              <a:gd name="connsiteY1173" fmla="*/ 8388549 h 10808782"/>
              <a:gd name="connsiteX1174" fmla="*/ 15397386 w 25004707"/>
              <a:gd name="connsiteY1174" fmla="*/ 8603361 h 10808782"/>
              <a:gd name="connsiteX1175" fmla="*/ 14126447 w 25004707"/>
              <a:gd name="connsiteY1175" fmla="*/ 10135345 h 10808782"/>
              <a:gd name="connsiteX1176" fmla="*/ 14158290 w 25004707"/>
              <a:gd name="connsiteY1176" fmla="*/ 9650455 h 10808782"/>
              <a:gd name="connsiteX1177" fmla="*/ 14126447 w 25004707"/>
              <a:gd name="connsiteY1177" fmla="*/ 10135345 h 10808782"/>
              <a:gd name="connsiteX1178" fmla="*/ 15410602 w 25004707"/>
              <a:gd name="connsiteY1178" fmla="*/ 10219528 h 10808782"/>
              <a:gd name="connsiteX1179" fmla="*/ 14126447 w 25004707"/>
              <a:gd name="connsiteY1179" fmla="*/ 10135345 h 10808782"/>
              <a:gd name="connsiteX1180" fmla="*/ 12841741 w 25004707"/>
              <a:gd name="connsiteY1180" fmla="*/ 10051145 h 10808782"/>
              <a:gd name="connsiteX1181" fmla="*/ 14158290 w 25004707"/>
              <a:gd name="connsiteY1181" fmla="*/ 9650455 h 10808782"/>
              <a:gd name="connsiteX1182" fmla="*/ 15442445 w 25004707"/>
              <a:gd name="connsiteY1182" fmla="*/ 9734623 h 10808782"/>
              <a:gd name="connsiteX1183" fmla="*/ 14667607 w 25004707"/>
              <a:gd name="connsiteY1183" fmla="*/ 1895339 h 10808782"/>
              <a:gd name="connsiteX1184" fmla="*/ 15951762 w 25004707"/>
              <a:gd name="connsiteY1184" fmla="*/ 1979523 h 10808782"/>
              <a:gd name="connsiteX1185" fmla="*/ 14667638 w 25004707"/>
              <a:gd name="connsiteY1185" fmla="*/ 1895339 h 10808782"/>
              <a:gd name="connsiteX1186" fmla="*/ 14635795 w 25004707"/>
              <a:gd name="connsiteY1186" fmla="*/ 2380244 h 10808782"/>
              <a:gd name="connsiteX1187" fmla="*/ 14635795 w 25004707"/>
              <a:gd name="connsiteY1187" fmla="*/ 2380244 h 10808782"/>
              <a:gd name="connsiteX1188" fmla="*/ 13351089 w 25004707"/>
              <a:gd name="connsiteY1188" fmla="*/ 2296029 h 10808782"/>
              <a:gd name="connsiteX1189" fmla="*/ 14030052 w 25004707"/>
              <a:gd name="connsiteY1189" fmla="*/ 8388596 h 10808782"/>
              <a:gd name="connsiteX1190" fmla="*/ 14214425 w 25004707"/>
              <a:gd name="connsiteY1190" fmla="*/ 8689101 h 10808782"/>
              <a:gd name="connsiteX1191" fmla="*/ 12937176 w 25004707"/>
              <a:gd name="connsiteY1191" fmla="*/ 8596886 h 10808782"/>
              <a:gd name="connsiteX1192" fmla="*/ 14572109 w 25004707"/>
              <a:gd name="connsiteY1192" fmla="*/ 3349551 h 10808782"/>
              <a:gd name="connsiteX1193" fmla="*/ 14556188 w 25004707"/>
              <a:gd name="connsiteY1193" fmla="*/ 3591776 h 10808782"/>
              <a:gd name="connsiteX1194" fmla="*/ 14533957 w 25004707"/>
              <a:gd name="connsiteY1194" fmla="*/ 3825104 h 10808782"/>
              <a:gd name="connsiteX1195" fmla="*/ 15812999 w 25004707"/>
              <a:gd name="connsiteY1195" fmla="*/ 3865656 h 10808782"/>
              <a:gd name="connsiteX1196" fmla="*/ 15695947 w 25004707"/>
              <a:gd name="connsiteY1196" fmla="*/ 4065002 h 10808782"/>
              <a:gd name="connsiteX1197" fmla="*/ 14311842 w 25004707"/>
              <a:gd name="connsiteY1197" fmla="*/ 4099440 h 10808782"/>
              <a:gd name="connsiteX1198" fmla="*/ 11994799 w 25004707"/>
              <a:gd name="connsiteY1198" fmla="*/ 6101616 h 10808782"/>
              <a:gd name="connsiteX1199" fmla="*/ 12359705 w 25004707"/>
              <a:gd name="connsiteY1199" fmla="*/ 7093871 h 10808782"/>
              <a:gd name="connsiteX1200" fmla="*/ 13070307 w 25004707"/>
              <a:gd name="connsiteY1200" fmla="*/ 7739882 h 10808782"/>
              <a:gd name="connsiteX1201" fmla="*/ 12486354 w 25004707"/>
              <a:gd name="connsiteY1201" fmla="*/ 5165033 h 10808782"/>
              <a:gd name="connsiteX1202" fmla="*/ 13275368 w 25004707"/>
              <a:gd name="connsiteY1202" fmla="*/ 4617305 h 10808782"/>
              <a:gd name="connsiteX1203" fmla="*/ 12486354 w 25004707"/>
              <a:gd name="connsiteY1203" fmla="*/ 5165033 h 10808782"/>
              <a:gd name="connsiteX1204" fmla="*/ 11752027 w 25004707"/>
              <a:gd name="connsiteY1204" fmla="*/ 5391210 h 10808782"/>
              <a:gd name="connsiteX1205" fmla="*/ 13275368 w 25004707"/>
              <a:gd name="connsiteY1205" fmla="*/ 4617305 h 10808782"/>
              <a:gd name="connsiteX1206" fmla="*/ 13897330 w 25004707"/>
              <a:gd name="connsiteY1206" fmla="*/ 4316485 h 10808782"/>
              <a:gd name="connsiteX1207" fmla="*/ 13275368 w 25004707"/>
              <a:gd name="connsiteY1207" fmla="*/ 4617305 h 10808782"/>
              <a:gd name="connsiteX1208" fmla="*/ 15121623 w 25004707"/>
              <a:gd name="connsiteY1208" fmla="*/ 4395796 h 10808782"/>
              <a:gd name="connsiteX1209" fmla="*/ 11995302 w 25004707"/>
              <a:gd name="connsiteY1209" fmla="*/ 6101176 h 10808782"/>
              <a:gd name="connsiteX1210" fmla="*/ 12486872 w 25004707"/>
              <a:gd name="connsiteY1210" fmla="*/ 5165065 h 10808782"/>
              <a:gd name="connsiteX1211" fmla="*/ 11995302 w 25004707"/>
              <a:gd name="connsiteY1211" fmla="*/ 6101176 h 10808782"/>
              <a:gd name="connsiteX1212" fmla="*/ 13443441 w 25004707"/>
              <a:gd name="connsiteY1212" fmla="*/ 6196111 h 10808782"/>
              <a:gd name="connsiteX1213" fmla="*/ 14385691 w 25004707"/>
              <a:gd name="connsiteY1213" fmla="*/ 4808195 h 10808782"/>
              <a:gd name="connsiteX1214" fmla="*/ 15121623 w 25004707"/>
              <a:gd name="connsiteY1214" fmla="*/ 4395796 h 10808782"/>
              <a:gd name="connsiteX1215" fmla="*/ 13897330 w 25004707"/>
              <a:gd name="connsiteY1215" fmla="*/ 4316485 h 10808782"/>
              <a:gd name="connsiteX1216" fmla="*/ 14311857 w 25004707"/>
              <a:gd name="connsiteY1216" fmla="*/ 4098984 h 10808782"/>
              <a:gd name="connsiteX1217" fmla="*/ 13897330 w 25004707"/>
              <a:gd name="connsiteY1217" fmla="*/ 4316485 h 10808782"/>
              <a:gd name="connsiteX1218" fmla="*/ 12762306 w 25004707"/>
              <a:gd name="connsiteY1218" fmla="*/ 4492884 h 10808782"/>
              <a:gd name="connsiteX1219" fmla="*/ 11840209 w 25004707"/>
              <a:gd name="connsiteY1219" fmla="*/ 4608409 h 10808782"/>
              <a:gd name="connsiteX1220" fmla="*/ 13647557 w 25004707"/>
              <a:gd name="connsiteY1220" fmla="*/ 8119305 h 10808782"/>
              <a:gd name="connsiteX1221" fmla="*/ 13070260 w 25004707"/>
              <a:gd name="connsiteY1221" fmla="*/ 7739866 h 10808782"/>
              <a:gd name="connsiteX1222" fmla="*/ 15121623 w 25004707"/>
              <a:gd name="connsiteY1222" fmla="*/ 4395796 h 10808782"/>
              <a:gd name="connsiteX1223" fmla="*/ 15490320 w 25004707"/>
              <a:gd name="connsiteY1223" fmla="*/ 4210579 h 10808782"/>
              <a:gd name="connsiteX1224" fmla="*/ 15121623 w 25004707"/>
              <a:gd name="connsiteY1224" fmla="*/ 4395796 h 10808782"/>
              <a:gd name="connsiteX1225" fmla="*/ 17654676 w 25004707"/>
              <a:gd name="connsiteY1225" fmla="*/ 4542536 h 10808782"/>
              <a:gd name="connsiteX1226" fmla="*/ 15489786 w 25004707"/>
              <a:gd name="connsiteY1226" fmla="*/ 4210564 h 10808782"/>
              <a:gd name="connsiteX1227" fmla="*/ 15695475 w 25004707"/>
              <a:gd name="connsiteY1227" fmla="*/ 4065002 h 10808782"/>
              <a:gd name="connsiteX1228" fmla="*/ 14871157 w 25004707"/>
              <a:gd name="connsiteY1228" fmla="*/ 8200471 h 10808782"/>
              <a:gd name="connsiteX1229" fmla="*/ 15212479 w 25004707"/>
              <a:gd name="connsiteY1229" fmla="*/ 8432228 h 10808782"/>
              <a:gd name="connsiteX1230" fmla="*/ 17080274 w 25004707"/>
              <a:gd name="connsiteY1230" fmla="*/ 8565010 h 10808782"/>
              <a:gd name="connsiteX1231" fmla="*/ 14196065 w 25004707"/>
              <a:gd name="connsiteY1231" fmla="*/ 7695574 h 10808782"/>
              <a:gd name="connsiteX1232" fmla="*/ 13443425 w 25004707"/>
              <a:gd name="connsiteY1232" fmla="*/ 6196566 h 10808782"/>
              <a:gd name="connsiteX1233" fmla="*/ 14196065 w 25004707"/>
              <a:gd name="connsiteY1233" fmla="*/ 7695574 h 10808782"/>
              <a:gd name="connsiteX1234" fmla="*/ 12359657 w 25004707"/>
              <a:gd name="connsiteY1234" fmla="*/ 7093855 h 10808782"/>
              <a:gd name="connsiteX1235" fmla="*/ 14196065 w 25004707"/>
              <a:gd name="connsiteY1235" fmla="*/ 7695574 h 10808782"/>
              <a:gd name="connsiteX1236" fmla="*/ 18066716 w 25004707"/>
              <a:gd name="connsiteY1236" fmla="*/ 7989289 h 10808782"/>
              <a:gd name="connsiteX1237" fmla="*/ 14196048 w 25004707"/>
              <a:gd name="connsiteY1237" fmla="*/ 7695558 h 10808782"/>
              <a:gd name="connsiteX1238" fmla="*/ 14871692 w 25004707"/>
              <a:gd name="connsiteY1238" fmla="*/ 8200488 h 10808782"/>
              <a:gd name="connsiteX1239" fmla="*/ 13070244 w 25004707"/>
              <a:gd name="connsiteY1239" fmla="*/ 7739850 h 10808782"/>
              <a:gd name="connsiteX1240" fmla="*/ 15397921 w 25004707"/>
              <a:gd name="connsiteY1240" fmla="*/ 8603409 h 10808782"/>
              <a:gd name="connsiteX1241" fmla="*/ 15213046 w 25004707"/>
              <a:gd name="connsiteY1241" fmla="*/ 8432244 h 10808782"/>
              <a:gd name="connsiteX1242" fmla="*/ 15397921 w 25004707"/>
              <a:gd name="connsiteY1242" fmla="*/ 8603409 h 10808782"/>
              <a:gd name="connsiteX1243" fmla="*/ 15487834 w 25004707"/>
              <a:gd name="connsiteY1243" fmla="*/ 8816336 h 10808782"/>
              <a:gd name="connsiteX1244" fmla="*/ 14214487 w 25004707"/>
              <a:gd name="connsiteY1244" fmla="*/ 8689086 h 10808782"/>
              <a:gd name="connsiteX1245" fmla="*/ 15397921 w 25004707"/>
              <a:gd name="connsiteY1245" fmla="*/ 8603409 h 10808782"/>
              <a:gd name="connsiteX1246" fmla="*/ 16902492 w 25004707"/>
              <a:gd name="connsiteY1246" fmla="*/ 8707695 h 10808782"/>
              <a:gd name="connsiteX1247" fmla="*/ 15410602 w 25004707"/>
              <a:gd name="connsiteY1247" fmla="*/ 10219528 h 10808782"/>
              <a:gd name="connsiteX1248" fmla="*/ 15442445 w 25004707"/>
              <a:gd name="connsiteY1248" fmla="*/ 9734623 h 10808782"/>
              <a:gd name="connsiteX1249" fmla="*/ 15442445 w 25004707"/>
              <a:gd name="connsiteY1249" fmla="*/ 9734623 h 10808782"/>
              <a:gd name="connsiteX1250" fmla="*/ 15474273 w 25004707"/>
              <a:gd name="connsiteY1250" fmla="*/ 9250206 h 10808782"/>
              <a:gd name="connsiteX1251" fmla="*/ 15474273 w 25004707"/>
              <a:gd name="connsiteY1251" fmla="*/ 9250206 h 10808782"/>
              <a:gd name="connsiteX1252" fmla="*/ 15487866 w 25004707"/>
              <a:gd name="connsiteY1252" fmla="*/ 8816336 h 10808782"/>
              <a:gd name="connsiteX1253" fmla="*/ 15888044 w 25004707"/>
              <a:gd name="connsiteY1253" fmla="*/ 2949333 h 10808782"/>
              <a:gd name="connsiteX1254" fmla="*/ 15856264 w 25004707"/>
              <a:gd name="connsiteY1254" fmla="*/ 3433766 h 10808782"/>
              <a:gd name="connsiteX1255" fmla="*/ 15856264 w 25004707"/>
              <a:gd name="connsiteY1255" fmla="*/ 3433766 h 10808782"/>
              <a:gd name="connsiteX1256" fmla="*/ 15812999 w 25004707"/>
              <a:gd name="connsiteY1256" fmla="*/ 3865671 h 10808782"/>
              <a:gd name="connsiteX1257" fmla="*/ 17124954 w 25004707"/>
              <a:gd name="connsiteY1257" fmla="*/ 3949352 h 10808782"/>
              <a:gd name="connsiteX1258" fmla="*/ 15919982 w 25004707"/>
              <a:gd name="connsiteY1258" fmla="*/ 2464396 h 10808782"/>
              <a:gd name="connsiteX1259" fmla="*/ 15888044 w 25004707"/>
              <a:gd name="connsiteY1259" fmla="*/ 2949301 h 10808782"/>
              <a:gd name="connsiteX1260" fmla="*/ 14603921 w 25004707"/>
              <a:gd name="connsiteY1260" fmla="*/ 2865118 h 10808782"/>
              <a:gd name="connsiteX1261" fmla="*/ 15919982 w 25004707"/>
              <a:gd name="connsiteY1261" fmla="*/ 2464396 h 10808782"/>
              <a:gd name="connsiteX1262" fmla="*/ 15951762 w 25004707"/>
              <a:gd name="connsiteY1262" fmla="*/ 1979523 h 10808782"/>
              <a:gd name="connsiteX1263" fmla="*/ 15919982 w 25004707"/>
              <a:gd name="connsiteY1263" fmla="*/ 2464396 h 10808782"/>
              <a:gd name="connsiteX1264" fmla="*/ 14635747 w 25004707"/>
              <a:gd name="connsiteY1264" fmla="*/ 2380244 h 10808782"/>
              <a:gd name="connsiteX1265" fmla="*/ 16015479 w 25004707"/>
              <a:gd name="connsiteY1265" fmla="*/ 1010175 h 10808782"/>
              <a:gd name="connsiteX1266" fmla="*/ 15983542 w 25004707"/>
              <a:gd name="connsiteY1266" fmla="*/ 1495075 h 10808782"/>
              <a:gd name="connsiteX1267" fmla="*/ 15951762 w 25004707"/>
              <a:gd name="connsiteY1267" fmla="*/ 1979523 h 10808782"/>
              <a:gd name="connsiteX1268" fmla="*/ 15983542 w 25004707"/>
              <a:gd name="connsiteY1268" fmla="*/ 1495086 h 10808782"/>
              <a:gd name="connsiteX1269" fmla="*/ 24431722 w 25004707"/>
              <a:gd name="connsiteY1269" fmla="*/ 10323878 h 10808782"/>
              <a:gd name="connsiteX1270" fmla="*/ 24442890 w 25004707"/>
              <a:gd name="connsiteY1270" fmla="*/ 10324617 h 10808782"/>
              <a:gd name="connsiteX1271" fmla="*/ 24474672 w 25004707"/>
              <a:gd name="connsiteY1271" fmla="*/ 9840199 h 10808782"/>
              <a:gd name="connsiteX1272" fmla="*/ 24463658 w 25004707"/>
              <a:gd name="connsiteY1272" fmla="*/ 9839460 h 10808782"/>
              <a:gd name="connsiteX1273" fmla="*/ 11684880 w 25004707"/>
              <a:gd name="connsiteY1273" fmla="*/ 8028300 h 10808782"/>
              <a:gd name="connsiteX1274" fmla="*/ 12879185 w 25004707"/>
              <a:gd name="connsiteY1274" fmla="*/ 8158364 h 10808782"/>
              <a:gd name="connsiteX1275" fmla="*/ 20674580 w 25004707"/>
              <a:gd name="connsiteY1275" fmla="*/ 8617586 h 10808782"/>
              <a:gd name="connsiteX1276" fmla="*/ 20341988 w 25004707"/>
              <a:gd name="connsiteY1276" fmla="*/ 8595770 h 10808782"/>
              <a:gd name="connsiteX1277" fmla="*/ 19488328 w 25004707"/>
              <a:gd name="connsiteY1277" fmla="*/ 8602418 h 10808782"/>
              <a:gd name="connsiteX1278" fmla="*/ 11646271 w 25004707"/>
              <a:gd name="connsiteY1278" fmla="*/ 7561376 h 10808782"/>
              <a:gd name="connsiteX1279" fmla="*/ 12545352 w 25004707"/>
              <a:gd name="connsiteY1279" fmla="*/ 7796293 h 10808782"/>
              <a:gd name="connsiteX1280" fmla="*/ 10432568 w 25004707"/>
              <a:gd name="connsiteY1280" fmla="*/ 7459228 h 10808782"/>
              <a:gd name="connsiteX1281" fmla="*/ 11645783 w 25004707"/>
              <a:gd name="connsiteY1281" fmla="*/ 7560874 h 10808782"/>
              <a:gd name="connsiteX1282" fmla="*/ 19877714 w 25004707"/>
              <a:gd name="connsiteY1282" fmla="*/ 8295736 h 10808782"/>
              <a:gd name="connsiteX1283" fmla="*/ 18710818 w 25004707"/>
              <a:gd name="connsiteY1283" fmla="*/ 8471900 h 10808782"/>
              <a:gd name="connsiteX1284" fmla="*/ 12545414 w 25004707"/>
              <a:gd name="connsiteY1284" fmla="*/ 7795821 h 10808782"/>
              <a:gd name="connsiteX1285" fmla="*/ 13647621 w 25004707"/>
              <a:gd name="connsiteY1285" fmla="*/ 8118850 h 10808782"/>
              <a:gd name="connsiteX1286" fmla="*/ 18710188 w 25004707"/>
              <a:gd name="connsiteY1286" fmla="*/ 8471883 h 10808782"/>
              <a:gd name="connsiteX1287" fmla="*/ 17080274 w 25004707"/>
              <a:gd name="connsiteY1287" fmla="*/ 8564539 h 10808782"/>
              <a:gd name="connsiteX1288" fmla="*/ 20800442 w 25004707"/>
              <a:gd name="connsiteY1288" fmla="*/ 8170357 h 10808782"/>
              <a:gd name="connsiteX1289" fmla="*/ 19877714 w 25004707"/>
              <a:gd name="connsiteY1289" fmla="*/ 8295264 h 10808782"/>
              <a:gd name="connsiteX1290" fmla="*/ 13647557 w 25004707"/>
              <a:gd name="connsiteY1290" fmla="*/ 8119337 h 10808782"/>
              <a:gd name="connsiteX1291" fmla="*/ 15213031 w 25004707"/>
              <a:gd name="connsiteY1291" fmla="*/ 8432275 h 10808782"/>
              <a:gd name="connsiteX1292" fmla="*/ 24570168 w 25004707"/>
              <a:gd name="connsiteY1292" fmla="*/ 8385956 h 10808782"/>
              <a:gd name="connsiteX1293" fmla="*/ 24558998 w 25004707"/>
              <a:gd name="connsiteY1293" fmla="*/ 8385217 h 10808782"/>
              <a:gd name="connsiteX1294" fmla="*/ 11191453 w 25004707"/>
              <a:gd name="connsiteY1294" fmla="*/ 6598058 h 10808782"/>
              <a:gd name="connsiteX1295" fmla="*/ 11661705 w 25004707"/>
              <a:gd name="connsiteY1295" fmla="*/ 6773325 h 10808782"/>
              <a:gd name="connsiteX1296" fmla="*/ 11661752 w 25004707"/>
              <a:gd name="connsiteY1296" fmla="*/ 6773797 h 10808782"/>
              <a:gd name="connsiteX1297" fmla="*/ 12360192 w 25004707"/>
              <a:gd name="connsiteY1297" fmla="*/ 7093886 h 10808782"/>
              <a:gd name="connsiteX1298" fmla="*/ 21415434 w 25004707"/>
              <a:gd name="connsiteY1298" fmla="*/ 7277170 h 10808782"/>
              <a:gd name="connsiteX1299" fmla="*/ 20922056 w 25004707"/>
              <a:gd name="connsiteY1299" fmla="*/ 7397268 h 10808782"/>
              <a:gd name="connsiteX1300" fmla="*/ 20922686 w 25004707"/>
              <a:gd name="connsiteY1300" fmla="*/ 7397316 h 10808782"/>
              <a:gd name="connsiteX1301" fmla="*/ 20142814 w 25004707"/>
              <a:gd name="connsiteY1301" fmla="*/ 7635564 h 10808782"/>
              <a:gd name="connsiteX1302" fmla="*/ 24622718 w 25004707"/>
              <a:gd name="connsiteY1302" fmla="*/ 7415894 h 10808782"/>
              <a:gd name="connsiteX1303" fmla="*/ 24633886 w 25004707"/>
              <a:gd name="connsiteY1303" fmla="*/ 7416633 h 10808782"/>
              <a:gd name="connsiteX1304" fmla="*/ 20142814 w 25004707"/>
              <a:gd name="connsiteY1304" fmla="*/ 7635108 h 10808782"/>
              <a:gd name="connsiteX1305" fmla="*/ 18066244 w 25004707"/>
              <a:gd name="connsiteY1305" fmla="*/ 7988802 h 10808782"/>
              <a:gd name="connsiteX1306" fmla="*/ 24665668 w 25004707"/>
              <a:gd name="connsiteY1306" fmla="*/ 6931728 h 10808782"/>
              <a:gd name="connsiteX1307" fmla="*/ 24654654 w 25004707"/>
              <a:gd name="connsiteY1307" fmla="*/ 6931005 h 10808782"/>
              <a:gd name="connsiteX1308" fmla="*/ 18998254 w 25004707"/>
              <a:gd name="connsiteY1308" fmla="*/ 6560194 h 10808782"/>
              <a:gd name="connsiteX1309" fmla="*/ 13443409 w 25004707"/>
              <a:gd name="connsiteY1309" fmla="*/ 6196079 h 10808782"/>
              <a:gd name="connsiteX1310" fmla="*/ 9275737 w 25004707"/>
              <a:gd name="connsiteY1310" fmla="*/ 5436398 h 10808782"/>
              <a:gd name="connsiteX1311" fmla="*/ 10227192 w 25004707"/>
              <a:gd name="connsiteY1311" fmla="*/ 5498766 h 10808782"/>
              <a:gd name="connsiteX1312" fmla="*/ 10555661 w 25004707"/>
              <a:gd name="connsiteY1312" fmla="*/ 5520299 h 10808782"/>
              <a:gd name="connsiteX1313" fmla="*/ 10555676 w 25004707"/>
              <a:gd name="connsiteY1313" fmla="*/ 5519796 h 10808782"/>
              <a:gd name="connsiteX1314" fmla="*/ 11263383 w 25004707"/>
              <a:gd name="connsiteY1314" fmla="*/ 5504063 h 10808782"/>
              <a:gd name="connsiteX1315" fmla="*/ 24761164 w 25004707"/>
              <a:gd name="connsiteY1315" fmla="*/ 5477971 h 10808782"/>
              <a:gd name="connsiteX1316" fmla="*/ 24749994 w 25004707"/>
              <a:gd name="connsiteY1316" fmla="*/ 5477249 h 10808782"/>
              <a:gd name="connsiteX1317" fmla="*/ 15489769 w 25004707"/>
              <a:gd name="connsiteY1317" fmla="*/ 4210548 h 10808782"/>
              <a:gd name="connsiteX1318" fmla="*/ 13896795 w 25004707"/>
              <a:gd name="connsiteY1318" fmla="*/ 4316454 h 10808782"/>
              <a:gd name="connsiteX1319" fmla="*/ 11840225 w 25004707"/>
              <a:gd name="connsiteY1319" fmla="*/ 4608393 h 10808782"/>
              <a:gd name="connsiteX1320" fmla="*/ 11564650 w 25004707"/>
              <a:gd name="connsiteY1320" fmla="*/ 4609163 h 10808782"/>
              <a:gd name="connsiteX1321" fmla="*/ 10623579 w 25004707"/>
              <a:gd name="connsiteY1321" fmla="*/ 4550772 h 10808782"/>
              <a:gd name="connsiteX1322" fmla="*/ 17200786 w 25004707"/>
              <a:gd name="connsiteY1322" fmla="*/ 4157957 h 10808782"/>
              <a:gd name="connsiteX1323" fmla="*/ 15695475 w 25004707"/>
              <a:gd name="connsiteY1323" fmla="*/ 4064971 h 10808782"/>
              <a:gd name="connsiteX1324" fmla="*/ 24792944 w 25004707"/>
              <a:gd name="connsiteY1324" fmla="*/ 4993051 h 10808782"/>
              <a:gd name="connsiteX1325" fmla="*/ 24781932 w 25004707"/>
              <a:gd name="connsiteY1325" fmla="*/ 4992328 h 10808782"/>
              <a:gd name="connsiteX1326" fmla="*/ 14311291 w 25004707"/>
              <a:gd name="connsiteY1326" fmla="*/ 4099408 h 10808782"/>
              <a:gd name="connsiteX1327" fmla="*/ 13140600 w 25004707"/>
              <a:gd name="connsiteY1327" fmla="*/ 4177934 h 10808782"/>
              <a:gd name="connsiteX1328" fmla="*/ 5533323 w 25004707"/>
              <a:gd name="connsiteY1328" fmla="*/ 3742335 h 10808782"/>
              <a:gd name="connsiteX1329" fmla="*/ 5816937 w 25004707"/>
              <a:gd name="connsiteY1329" fmla="*/ 3749157 h 10808782"/>
              <a:gd name="connsiteX1330" fmla="*/ 6803413 w 25004707"/>
              <a:gd name="connsiteY1330" fmla="*/ 3813819 h 10808782"/>
              <a:gd name="connsiteX1331" fmla="*/ 17402166 w 25004707"/>
              <a:gd name="connsiteY1331" fmla="*/ 8385657 h 10808782"/>
              <a:gd name="connsiteX1332" fmla="*/ 14871708 w 25004707"/>
              <a:gd name="connsiteY1332" fmla="*/ 8200471 h 10808782"/>
              <a:gd name="connsiteX1333" fmla="*/ 21113996 w 25004707"/>
              <a:gd name="connsiteY1333" fmla="*/ 7756165 h 10808782"/>
              <a:gd name="connsiteX1334" fmla="*/ 20402560 w 25004707"/>
              <a:gd name="connsiteY1334" fmla="*/ 7924564 h 10808782"/>
              <a:gd name="connsiteX1335" fmla="*/ 24729384 w 25004707"/>
              <a:gd name="connsiteY1335" fmla="*/ 5962405 h 10808782"/>
              <a:gd name="connsiteX1336" fmla="*/ 24718214 w 25004707"/>
              <a:gd name="connsiteY1336" fmla="*/ 5961666 h 10808782"/>
              <a:gd name="connsiteX1337" fmla="*/ 12251605 w 25004707"/>
              <a:gd name="connsiteY1337" fmla="*/ 4868284 h 10808782"/>
              <a:gd name="connsiteX1338" fmla="*/ 11549373 w 25004707"/>
              <a:gd name="connsiteY1338" fmla="*/ 5027865 h 10808782"/>
              <a:gd name="connsiteX1339" fmla="*/ 4229596 w 25004707"/>
              <a:gd name="connsiteY1339" fmla="*/ 3720409 h 10808782"/>
              <a:gd name="connsiteX1340" fmla="*/ 5592446 w 25004707"/>
              <a:gd name="connsiteY1340" fmla="*/ 3263937 h 10808782"/>
              <a:gd name="connsiteX1341" fmla="*/ 1697927 w 25004707"/>
              <a:gd name="connsiteY1341" fmla="*/ 2992635 h 10808782"/>
              <a:gd name="connsiteX1342" fmla="*/ 2684403 w 25004707"/>
              <a:gd name="connsiteY1342" fmla="*/ 3057297 h 10808782"/>
              <a:gd name="connsiteX1343" fmla="*/ 2938046 w 25004707"/>
              <a:gd name="connsiteY1343" fmla="*/ 3090399 h 10808782"/>
              <a:gd name="connsiteX1344" fmla="*/ 24824882 w 25004707"/>
              <a:gd name="connsiteY1344" fmla="*/ 4508602 h 10808782"/>
              <a:gd name="connsiteX1345" fmla="*/ 24813712 w 25004707"/>
              <a:gd name="connsiteY1345" fmla="*/ 4507879 h 10808782"/>
              <a:gd name="connsiteX1346" fmla="*/ 24888442 w 25004707"/>
              <a:gd name="connsiteY1346" fmla="*/ 3539279 h 10808782"/>
              <a:gd name="connsiteX1347" fmla="*/ 24877430 w 25004707"/>
              <a:gd name="connsiteY1347" fmla="*/ 3538556 h 10808782"/>
              <a:gd name="connsiteX1348" fmla="*/ 24920380 w 25004707"/>
              <a:gd name="connsiteY1348" fmla="*/ 3054405 h 10808782"/>
              <a:gd name="connsiteX1349" fmla="*/ 24909210 w 25004707"/>
              <a:gd name="connsiteY1349" fmla="*/ 3053682 h 10808782"/>
              <a:gd name="connsiteX1350" fmla="*/ 24984098 w 25004707"/>
              <a:gd name="connsiteY1350" fmla="*/ 2085067 h 10808782"/>
              <a:gd name="connsiteX1351" fmla="*/ 24972926 w 25004707"/>
              <a:gd name="connsiteY1351" fmla="*/ 2084328 h 10808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</a:cxnLst>
            <a:rect l="l" t="t" r="r" b="b"/>
            <a:pathLst>
              <a:path w="25004707" h="10808782">
                <a:moveTo>
                  <a:pt x="24781932" y="4992328"/>
                </a:moveTo>
                <a:lnTo>
                  <a:pt x="24813712" y="4507894"/>
                </a:lnTo>
                <a:moveTo>
                  <a:pt x="24781932" y="4992328"/>
                </a:moveTo>
                <a:lnTo>
                  <a:pt x="24749994" y="5477249"/>
                </a:lnTo>
                <a:moveTo>
                  <a:pt x="24781932" y="4992328"/>
                </a:moveTo>
                <a:lnTo>
                  <a:pt x="23497668" y="4908160"/>
                </a:lnTo>
                <a:lnTo>
                  <a:pt x="23465886" y="5393065"/>
                </a:lnTo>
                <a:moveTo>
                  <a:pt x="24813712" y="4507894"/>
                </a:moveTo>
                <a:lnTo>
                  <a:pt x="24845492" y="4022989"/>
                </a:lnTo>
                <a:moveTo>
                  <a:pt x="24813712" y="4507894"/>
                </a:moveTo>
                <a:lnTo>
                  <a:pt x="23529446" y="4423711"/>
                </a:lnTo>
                <a:moveTo>
                  <a:pt x="24718214" y="5961666"/>
                </a:moveTo>
                <a:lnTo>
                  <a:pt x="24686276" y="6446571"/>
                </a:lnTo>
                <a:lnTo>
                  <a:pt x="23402168" y="6362388"/>
                </a:lnTo>
                <a:moveTo>
                  <a:pt x="24718214" y="5961666"/>
                </a:moveTo>
                <a:lnTo>
                  <a:pt x="24749994" y="5477249"/>
                </a:lnTo>
                <a:moveTo>
                  <a:pt x="24718214" y="5961666"/>
                </a:moveTo>
                <a:lnTo>
                  <a:pt x="23433948" y="5877498"/>
                </a:lnTo>
                <a:moveTo>
                  <a:pt x="24749994" y="5477249"/>
                </a:moveTo>
                <a:lnTo>
                  <a:pt x="23465886" y="5393065"/>
                </a:lnTo>
                <a:moveTo>
                  <a:pt x="24940990" y="2568777"/>
                </a:moveTo>
                <a:lnTo>
                  <a:pt x="24909210" y="3053682"/>
                </a:lnTo>
                <a:lnTo>
                  <a:pt x="23624944" y="2969499"/>
                </a:lnTo>
                <a:moveTo>
                  <a:pt x="24877430" y="3538571"/>
                </a:moveTo>
                <a:lnTo>
                  <a:pt x="24845492" y="4023005"/>
                </a:lnTo>
                <a:moveTo>
                  <a:pt x="24845492" y="4023005"/>
                </a:moveTo>
                <a:lnTo>
                  <a:pt x="24856664" y="4023744"/>
                </a:lnTo>
                <a:moveTo>
                  <a:pt x="24845492" y="4023005"/>
                </a:moveTo>
                <a:lnTo>
                  <a:pt x="23561384" y="3938837"/>
                </a:lnTo>
                <a:moveTo>
                  <a:pt x="24940990" y="2568777"/>
                </a:moveTo>
                <a:lnTo>
                  <a:pt x="23656882" y="2484594"/>
                </a:lnTo>
                <a:lnTo>
                  <a:pt x="23624944" y="2969499"/>
                </a:lnTo>
                <a:moveTo>
                  <a:pt x="24940990" y="2568777"/>
                </a:moveTo>
                <a:lnTo>
                  <a:pt x="24952160" y="2569500"/>
                </a:lnTo>
                <a:moveTo>
                  <a:pt x="24940990" y="2568777"/>
                </a:moveTo>
                <a:lnTo>
                  <a:pt x="25004708" y="1599423"/>
                </a:lnTo>
                <a:lnTo>
                  <a:pt x="5763304" y="338142"/>
                </a:lnTo>
                <a:cubicBezTo>
                  <a:pt x="5433766" y="316539"/>
                  <a:pt x="631905" y="1774"/>
                  <a:pt x="631905" y="1774"/>
                </a:cubicBezTo>
                <a:lnTo>
                  <a:pt x="604841" y="0"/>
                </a:lnTo>
                <a:lnTo>
                  <a:pt x="0" y="9209356"/>
                </a:lnTo>
                <a:lnTo>
                  <a:pt x="1284177" y="9293539"/>
                </a:lnTo>
                <a:moveTo>
                  <a:pt x="24909210" y="3053651"/>
                </a:moveTo>
                <a:lnTo>
                  <a:pt x="24877430" y="3538556"/>
                </a:lnTo>
                <a:lnTo>
                  <a:pt x="23593164" y="3454388"/>
                </a:lnTo>
                <a:moveTo>
                  <a:pt x="24590780" y="7900799"/>
                </a:moveTo>
                <a:lnTo>
                  <a:pt x="24622718" y="7415910"/>
                </a:lnTo>
                <a:moveTo>
                  <a:pt x="24590780" y="7900799"/>
                </a:moveTo>
                <a:lnTo>
                  <a:pt x="23306672" y="7816615"/>
                </a:lnTo>
                <a:lnTo>
                  <a:pt x="23274890" y="8301049"/>
                </a:lnTo>
                <a:lnTo>
                  <a:pt x="21990782" y="8216849"/>
                </a:lnTo>
                <a:cubicBezTo>
                  <a:pt x="21990782" y="8216849"/>
                  <a:pt x="21573078" y="8189485"/>
                  <a:pt x="21466882" y="8182522"/>
                </a:cubicBezTo>
                <a:cubicBezTo>
                  <a:pt x="21222396" y="8166490"/>
                  <a:pt x="20955724" y="8169257"/>
                  <a:pt x="20799970" y="8169870"/>
                </a:cubicBezTo>
                <a:moveTo>
                  <a:pt x="24590780" y="7900799"/>
                </a:moveTo>
                <a:lnTo>
                  <a:pt x="24601948" y="7901538"/>
                </a:lnTo>
                <a:moveTo>
                  <a:pt x="24622718" y="7415910"/>
                </a:moveTo>
                <a:lnTo>
                  <a:pt x="24654496" y="6931005"/>
                </a:lnTo>
                <a:moveTo>
                  <a:pt x="24622718" y="7415910"/>
                </a:moveTo>
                <a:lnTo>
                  <a:pt x="23338452" y="7331710"/>
                </a:lnTo>
                <a:moveTo>
                  <a:pt x="24558998" y="8385232"/>
                </a:moveTo>
                <a:lnTo>
                  <a:pt x="24527218" y="8870137"/>
                </a:lnTo>
                <a:lnTo>
                  <a:pt x="23242952" y="8785953"/>
                </a:lnTo>
                <a:moveTo>
                  <a:pt x="24558998" y="8385232"/>
                </a:moveTo>
                <a:lnTo>
                  <a:pt x="24590780" y="7900799"/>
                </a:lnTo>
                <a:moveTo>
                  <a:pt x="24558998" y="8385232"/>
                </a:moveTo>
                <a:lnTo>
                  <a:pt x="23274890" y="8301049"/>
                </a:lnTo>
                <a:lnTo>
                  <a:pt x="23242952" y="8785953"/>
                </a:lnTo>
                <a:moveTo>
                  <a:pt x="24654496" y="6931005"/>
                </a:moveTo>
                <a:lnTo>
                  <a:pt x="24686434" y="6446571"/>
                </a:lnTo>
                <a:lnTo>
                  <a:pt x="24697448" y="6447294"/>
                </a:lnTo>
                <a:moveTo>
                  <a:pt x="24654496" y="6931005"/>
                </a:moveTo>
                <a:lnTo>
                  <a:pt x="23370388" y="6846837"/>
                </a:lnTo>
                <a:moveTo>
                  <a:pt x="24463500" y="9839444"/>
                </a:moveTo>
                <a:lnTo>
                  <a:pt x="24431722" y="10323878"/>
                </a:lnTo>
                <a:lnTo>
                  <a:pt x="23147614" y="10239694"/>
                </a:lnTo>
                <a:moveTo>
                  <a:pt x="23338608" y="7331726"/>
                </a:moveTo>
                <a:lnTo>
                  <a:pt x="23306672" y="7816631"/>
                </a:lnTo>
                <a:lnTo>
                  <a:pt x="22022564" y="7732447"/>
                </a:lnTo>
                <a:moveTo>
                  <a:pt x="23242952" y="8785953"/>
                </a:moveTo>
                <a:lnTo>
                  <a:pt x="23211172" y="9270371"/>
                </a:lnTo>
                <a:moveTo>
                  <a:pt x="23242952" y="8785953"/>
                </a:moveTo>
                <a:lnTo>
                  <a:pt x="21958844" y="8701770"/>
                </a:lnTo>
                <a:moveTo>
                  <a:pt x="23433948" y="5877498"/>
                </a:moveTo>
                <a:lnTo>
                  <a:pt x="23465886" y="5393065"/>
                </a:lnTo>
                <a:moveTo>
                  <a:pt x="23433948" y="5877498"/>
                </a:moveTo>
                <a:lnTo>
                  <a:pt x="22149840" y="5793299"/>
                </a:lnTo>
                <a:cubicBezTo>
                  <a:pt x="22139300" y="5953996"/>
                  <a:pt x="22133164" y="6038761"/>
                  <a:pt x="22138828" y="6277685"/>
                </a:cubicBezTo>
                <a:moveTo>
                  <a:pt x="23465886" y="5393065"/>
                </a:moveTo>
                <a:lnTo>
                  <a:pt x="22181622" y="5308881"/>
                </a:lnTo>
                <a:moveTo>
                  <a:pt x="23115676" y="10724599"/>
                </a:moveTo>
                <a:lnTo>
                  <a:pt x="23147614" y="10239709"/>
                </a:lnTo>
                <a:moveTo>
                  <a:pt x="23115676" y="10724599"/>
                </a:moveTo>
                <a:lnTo>
                  <a:pt x="24399940" y="10808782"/>
                </a:lnTo>
                <a:lnTo>
                  <a:pt x="24431722" y="10323878"/>
                </a:lnTo>
                <a:moveTo>
                  <a:pt x="23115676" y="10724599"/>
                </a:moveTo>
                <a:lnTo>
                  <a:pt x="21831568" y="10640431"/>
                </a:lnTo>
                <a:moveTo>
                  <a:pt x="23147614" y="10239709"/>
                </a:moveTo>
                <a:lnTo>
                  <a:pt x="23179392" y="9755261"/>
                </a:lnTo>
                <a:moveTo>
                  <a:pt x="23147614" y="10239709"/>
                </a:moveTo>
                <a:lnTo>
                  <a:pt x="21863348" y="10155526"/>
                </a:lnTo>
                <a:moveTo>
                  <a:pt x="23720600" y="1515244"/>
                </a:moveTo>
                <a:lnTo>
                  <a:pt x="23688662" y="2000144"/>
                </a:lnTo>
                <a:moveTo>
                  <a:pt x="23688662" y="2000144"/>
                </a:moveTo>
                <a:lnTo>
                  <a:pt x="24972772" y="2084312"/>
                </a:lnTo>
                <a:moveTo>
                  <a:pt x="23688662" y="2000144"/>
                </a:moveTo>
                <a:lnTo>
                  <a:pt x="22404554" y="1915976"/>
                </a:lnTo>
                <a:moveTo>
                  <a:pt x="23179392" y="9755261"/>
                </a:moveTo>
                <a:lnTo>
                  <a:pt x="23211172" y="9270387"/>
                </a:lnTo>
                <a:moveTo>
                  <a:pt x="23179392" y="9755261"/>
                </a:moveTo>
                <a:lnTo>
                  <a:pt x="21895126" y="9671092"/>
                </a:lnTo>
                <a:lnTo>
                  <a:pt x="21863348" y="10155526"/>
                </a:lnTo>
                <a:moveTo>
                  <a:pt x="23179392" y="9755261"/>
                </a:moveTo>
                <a:lnTo>
                  <a:pt x="24463500" y="9839460"/>
                </a:lnTo>
                <a:lnTo>
                  <a:pt x="24495438" y="9354555"/>
                </a:lnTo>
                <a:lnTo>
                  <a:pt x="24506452" y="9355294"/>
                </a:lnTo>
                <a:moveTo>
                  <a:pt x="23593164" y="3454388"/>
                </a:moveTo>
                <a:lnTo>
                  <a:pt x="23625102" y="2969483"/>
                </a:lnTo>
                <a:moveTo>
                  <a:pt x="23593164" y="3454388"/>
                </a:moveTo>
                <a:lnTo>
                  <a:pt x="22309056" y="3370204"/>
                </a:lnTo>
                <a:moveTo>
                  <a:pt x="23624944" y="2969499"/>
                </a:moveTo>
                <a:lnTo>
                  <a:pt x="22340836" y="2885315"/>
                </a:lnTo>
                <a:moveTo>
                  <a:pt x="23593164" y="3454388"/>
                </a:moveTo>
                <a:lnTo>
                  <a:pt x="23561384" y="3938821"/>
                </a:lnTo>
                <a:lnTo>
                  <a:pt x="22277118" y="3854653"/>
                </a:lnTo>
                <a:moveTo>
                  <a:pt x="23434106" y="5877482"/>
                </a:moveTo>
                <a:lnTo>
                  <a:pt x="23402168" y="6362388"/>
                </a:lnTo>
                <a:lnTo>
                  <a:pt x="22450808" y="6300020"/>
                </a:lnTo>
                <a:cubicBezTo>
                  <a:pt x="22261858" y="6287634"/>
                  <a:pt x="22138828" y="6277685"/>
                  <a:pt x="22138828" y="6277685"/>
                </a:cubicBezTo>
                <a:moveTo>
                  <a:pt x="23370388" y="6846837"/>
                </a:moveTo>
                <a:lnTo>
                  <a:pt x="23402168" y="6362404"/>
                </a:lnTo>
                <a:moveTo>
                  <a:pt x="23370388" y="6846837"/>
                </a:moveTo>
                <a:lnTo>
                  <a:pt x="23338452" y="7331710"/>
                </a:lnTo>
                <a:moveTo>
                  <a:pt x="23370388" y="6846837"/>
                </a:moveTo>
                <a:lnTo>
                  <a:pt x="22133950" y="6765781"/>
                </a:lnTo>
                <a:moveTo>
                  <a:pt x="23529604" y="4423711"/>
                </a:moveTo>
                <a:lnTo>
                  <a:pt x="23561384" y="3938806"/>
                </a:lnTo>
                <a:moveTo>
                  <a:pt x="23529604" y="4423711"/>
                </a:moveTo>
                <a:lnTo>
                  <a:pt x="23497668" y="4908160"/>
                </a:lnTo>
                <a:lnTo>
                  <a:pt x="22213560" y="4823976"/>
                </a:lnTo>
                <a:moveTo>
                  <a:pt x="23529604" y="4423711"/>
                </a:moveTo>
                <a:lnTo>
                  <a:pt x="22245338" y="4339527"/>
                </a:lnTo>
                <a:moveTo>
                  <a:pt x="23338452" y="7331710"/>
                </a:moveTo>
                <a:lnTo>
                  <a:pt x="22387090" y="7269358"/>
                </a:lnTo>
                <a:cubicBezTo>
                  <a:pt x="22198140" y="7256973"/>
                  <a:pt x="22074952" y="7250780"/>
                  <a:pt x="22074952" y="7250780"/>
                </a:cubicBezTo>
                <a:moveTo>
                  <a:pt x="23688662" y="2000160"/>
                </a:moveTo>
                <a:lnTo>
                  <a:pt x="23656882" y="2484594"/>
                </a:lnTo>
                <a:lnTo>
                  <a:pt x="22372618" y="2400410"/>
                </a:lnTo>
                <a:moveTo>
                  <a:pt x="23211172" y="9270371"/>
                </a:moveTo>
                <a:lnTo>
                  <a:pt x="24495438" y="9354555"/>
                </a:lnTo>
                <a:lnTo>
                  <a:pt x="24527218" y="8870122"/>
                </a:lnTo>
                <a:lnTo>
                  <a:pt x="24538388" y="8870860"/>
                </a:lnTo>
                <a:moveTo>
                  <a:pt x="23211172" y="9270371"/>
                </a:moveTo>
                <a:lnTo>
                  <a:pt x="21927064" y="9186203"/>
                </a:lnTo>
                <a:moveTo>
                  <a:pt x="21831568" y="10640431"/>
                </a:moveTo>
                <a:lnTo>
                  <a:pt x="21863348" y="10155526"/>
                </a:lnTo>
                <a:moveTo>
                  <a:pt x="21831568" y="10640431"/>
                </a:moveTo>
                <a:lnTo>
                  <a:pt x="20547302" y="10556248"/>
                </a:lnTo>
                <a:moveTo>
                  <a:pt x="21863348" y="10155526"/>
                </a:moveTo>
                <a:lnTo>
                  <a:pt x="20579240" y="10071342"/>
                </a:lnTo>
                <a:moveTo>
                  <a:pt x="22340836" y="2885299"/>
                </a:moveTo>
                <a:lnTo>
                  <a:pt x="22308898" y="3370204"/>
                </a:lnTo>
                <a:lnTo>
                  <a:pt x="21024790" y="3286020"/>
                </a:lnTo>
                <a:moveTo>
                  <a:pt x="22277118" y="3854653"/>
                </a:moveTo>
                <a:lnTo>
                  <a:pt x="22308898" y="3370220"/>
                </a:lnTo>
                <a:moveTo>
                  <a:pt x="22277118" y="3854653"/>
                </a:moveTo>
                <a:lnTo>
                  <a:pt x="20993010" y="3770469"/>
                </a:lnTo>
                <a:moveTo>
                  <a:pt x="21927064" y="9186203"/>
                </a:moveTo>
                <a:lnTo>
                  <a:pt x="21895126" y="9671109"/>
                </a:lnTo>
                <a:lnTo>
                  <a:pt x="20611018" y="9586925"/>
                </a:lnTo>
                <a:moveTo>
                  <a:pt x="21927064" y="9186203"/>
                </a:moveTo>
                <a:lnTo>
                  <a:pt x="21958844" y="8701770"/>
                </a:lnTo>
                <a:moveTo>
                  <a:pt x="21927064" y="9186203"/>
                </a:moveTo>
                <a:lnTo>
                  <a:pt x="20642800" y="9102019"/>
                </a:lnTo>
                <a:moveTo>
                  <a:pt x="22436334" y="1431070"/>
                </a:moveTo>
                <a:lnTo>
                  <a:pt x="22404554" y="1915976"/>
                </a:lnTo>
                <a:moveTo>
                  <a:pt x="22404554" y="1915976"/>
                </a:moveTo>
                <a:lnTo>
                  <a:pt x="21120288" y="1831793"/>
                </a:lnTo>
                <a:moveTo>
                  <a:pt x="22022564" y="7732431"/>
                </a:moveTo>
                <a:lnTo>
                  <a:pt x="22074952" y="7250780"/>
                </a:lnTo>
                <a:moveTo>
                  <a:pt x="22022564" y="7732431"/>
                </a:moveTo>
                <a:cubicBezTo>
                  <a:pt x="21593216" y="7704297"/>
                  <a:pt x="21304678" y="7722561"/>
                  <a:pt x="21113838" y="7756637"/>
                </a:cubicBezTo>
                <a:moveTo>
                  <a:pt x="22022564" y="7732431"/>
                </a:moveTo>
                <a:lnTo>
                  <a:pt x="21958844" y="8701770"/>
                </a:lnTo>
                <a:moveTo>
                  <a:pt x="22181622" y="5308897"/>
                </a:moveTo>
                <a:lnTo>
                  <a:pt x="22149840" y="5793330"/>
                </a:lnTo>
                <a:cubicBezTo>
                  <a:pt x="21856424" y="5773620"/>
                  <a:pt x="21532644" y="5736873"/>
                  <a:pt x="21252128" y="5650708"/>
                </a:cubicBezTo>
                <a:cubicBezTo>
                  <a:pt x="21357540" y="5840185"/>
                  <a:pt x="21418582" y="5988638"/>
                  <a:pt x="21488592" y="6165430"/>
                </a:cubicBezTo>
                <a:cubicBezTo>
                  <a:pt x="21381138" y="6137688"/>
                  <a:pt x="21161352" y="6067761"/>
                  <a:pt x="21015036" y="5981942"/>
                </a:cubicBezTo>
                <a:moveTo>
                  <a:pt x="22074952" y="7250780"/>
                </a:moveTo>
                <a:cubicBezTo>
                  <a:pt x="22082190" y="7163280"/>
                  <a:pt x="22118848" y="6995808"/>
                  <a:pt x="22133950" y="6766253"/>
                </a:cubicBezTo>
                <a:moveTo>
                  <a:pt x="22138828" y="6277685"/>
                </a:moveTo>
                <a:cubicBezTo>
                  <a:pt x="22133478" y="6440143"/>
                  <a:pt x="22152202" y="6487956"/>
                  <a:pt x="22133950" y="6765781"/>
                </a:cubicBezTo>
                <a:lnTo>
                  <a:pt x="21562380" y="6728310"/>
                </a:lnTo>
                <a:moveTo>
                  <a:pt x="22138828" y="6277685"/>
                </a:moveTo>
                <a:cubicBezTo>
                  <a:pt x="21841164" y="6258180"/>
                  <a:pt x="21640728" y="6210209"/>
                  <a:pt x="21488592" y="6165414"/>
                </a:cubicBezTo>
                <a:moveTo>
                  <a:pt x="22245338" y="4339527"/>
                </a:moveTo>
                <a:lnTo>
                  <a:pt x="22277276" y="3854622"/>
                </a:lnTo>
                <a:moveTo>
                  <a:pt x="22245338" y="4339527"/>
                </a:moveTo>
                <a:lnTo>
                  <a:pt x="20961230" y="4255359"/>
                </a:lnTo>
                <a:moveTo>
                  <a:pt x="21958844" y="8701770"/>
                </a:moveTo>
                <a:lnTo>
                  <a:pt x="20674580" y="8617586"/>
                </a:lnTo>
                <a:lnTo>
                  <a:pt x="20642800" y="9102019"/>
                </a:lnTo>
                <a:moveTo>
                  <a:pt x="22181622" y="5308881"/>
                </a:moveTo>
                <a:lnTo>
                  <a:pt x="22213560" y="4823992"/>
                </a:lnTo>
                <a:moveTo>
                  <a:pt x="22181622" y="5308881"/>
                </a:moveTo>
                <a:lnTo>
                  <a:pt x="21849030" y="5287081"/>
                </a:lnTo>
                <a:cubicBezTo>
                  <a:pt x="21563480" y="5268361"/>
                  <a:pt x="21279506" y="5234222"/>
                  <a:pt x="20995686" y="5199596"/>
                </a:cubicBezTo>
                <a:cubicBezTo>
                  <a:pt x="21087250" y="5355233"/>
                  <a:pt x="21157262" y="5465209"/>
                  <a:pt x="21252128" y="5651180"/>
                </a:cubicBezTo>
                <a:cubicBezTo>
                  <a:pt x="21018026" y="5564309"/>
                  <a:pt x="20878162" y="5518916"/>
                  <a:pt x="20568856" y="5391367"/>
                </a:cubicBezTo>
                <a:cubicBezTo>
                  <a:pt x="20753400" y="5568599"/>
                  <a:pt x="20900344" y="5766437"/>
                  <a:pt x="21015666" y="5981974"/>
                </a:cubicBezTo>
                <a:moveTo>
                  <a:pt x="22245338" y="4339543"/>
                </a:moveTo>
                <a:lnTo>
                  <a:pt x="22213560" y="4823976"/>
                </a:lnTo>
                <a:lnTo>
                  <a:pt x="20929452" y="4739792"/>
                </a:lnTo>
                <a:moveTo>
                  <a:pt x="22372774" y="2400425"/>
                </a:moveTo>
                <a:lnTo>
                  <a:pt x="22340836" y="2885315"/>
                </a:lnTo>
                <a:moveTo>
                  <a:pt x="22340836" y="2885315"/>
                </a:moveTo>
                <a:lnTo>
                  <a:pt x="21056728" y="2801147"/>
                </a:lnTo>
                <a:moveTo>
                  <a:pt x="22404398" y="1915976"/>
                </a:moveTo>
                <a:lnTo>
                  <a:pt x="22372618" y="2400410"/>
                </a:lnTo>
                <a:moveTo>
                  <a:pt x="22372618" y="2400410"/>
                </a:moveTo>
                <a:lnTo>
                  <a:pt x="21088510" y="2316226"/>
                </a:lnTo>
                <a:moveTo>
                  <a:pt x="20579240" y="10071342"/>
                </a:moveTo>
                <a:lnTo>
                  <a:pt x="20611018" y="9586909"/>
                </a:lnTo>
                <a:moveTo>
                  <a:pt x="20579240" y="10071342"/>
                </a:moveTo>
                <a:lnTo>
                  <a:pt x="19294974" y="9987158"/>
                </a:lnTo>
                <a:moveTo>
                  <a:pt x="21562380" y="6728766"/>
                </a:moveTo>
                <a:cubicBezTo>
                  <a:pt x="21551366" y="6897903"/>
                  <a:pt x="21513608" y="7106696"/>
                  <a:pt x="21415592" y="7277186"/>
                </a:cubicBezTo>
                <a:cubicBezTo>
                  <a:pt x="21613040" y="7231777"/>
                  <a:pt x="21816462" y="7233821"/>
                  <a:pt x="22074952" y="7250749"/>
                </a:cubicBezTo>
                <a:moveTo>
                  <a:pt x="20993010" y="3770469"/>
                </a:moveTo>
                <a:lnTo>
                  <a:pt x="21024790" y="3286052"/>
                </a:lnTo>
                <a:moveTo>
                  <a:pt x="20993010" y="3770469"/>
                </a:moveTo>
                <a:lnTo>
                  <a:pt x="19708746" y="3686286"/>
                </a:lnTo>
                <a:moveTo>
                  <a:pt x="20929294" y="4739792"/>
                </a:moveTo>
                <a:cubicBezTo>
                  <a:pt x="20917964" y="4912199"/>
                  <a:pt x="20908998" y="5049006"/>
                  <a:pt x="20995528" y="5199596"/>
                </a:cubicBezTo>
                <a:cubicBezTo>
                  <a:pt x="20674894" y="5140467"/>
                  <a:pt x="20423800" y="5069423"/>
                  <a:pt x="20097030" y="4955313"/>
                </a:cubicBezTo>
                <a:moveTo>
                  <a:pt x="20642800" y="9102019"/>
                </a:moveTo>
                <a:lnTo>
                  <a:pt x="20611018" y="9586925"/>
                </a:lnTo>
                <a:lnTo>
                  <a:pt x="19326754" y="9502741"/>
                </a:lnTo>
                <a:moveTo>
                  <a:pt x="20642800" y="9102019"/>
                </a:moveTo>
                <a:lnTo>
                  <a:pt x="19358692" y="9017836"/>
                </a:lnTo>
                <a:moveTo>
                  <a:pt x="20961230" y="4255359"/>
                </a:moveTo>
                <a:lnTo>
                  <a:pt x="20929294" y="4739792"/>
                </a:lnTo>
                <a:cubicBezTo>
                  <a:pt x="20497428" y="4711469"/>
                  <a:pt x="19951818" y="4635710"/>
                  <a:pt x="19750594" y="4599921"/>
                </a:cubicBezTo>
                <a:moveTo>
                  <a:pt x="20961230" y="4255359"/>
                </a:moveTo>
                <a:lnTo>
                  <a:pt x="20993010" y="3770454"/>
                </a:lnTo>
                <a:moveTo>
                  <a:pt x="20961230" y="4255359"/>
                </a:moveTo>
                <a:lnTo>
                  <a:pt x="19676964" y="4171175"/>
                </a:lnTo>
                <a:moveTo>
                  <a:pt x="21120288" y="1831808"/>
                </a:moveTo>
                <a:lnTo>
                  <a:pt x="21088510" y="2316226"/>
                </a:lnTo>
                <a:moveTo>
                  <a:pt x="21088510" y="2316226"/>
                </a:moveTo>
                <a:lnTo>
                  <a:pt x="21056728" y="2801131"/>
                </a:lnTo>
                <a:moveTo>
                  <a:pt x="21088510" y="2316226"/>
                </a:moveTo>
                <a:lnTo>
                  <a:pt x="19804244" y="2232058"/>
                </a:lnTo>
                <a:moveTo>
                  <a:pt x="21152226" y="1346888"/>
                </a:moveTo>
                <a:lnTo>
                  <a:pt x="21120288" y="1831793"/>
                </a:lnTo>
                <a:moveTo>
                  <a:pt x="21120288" y="1831793"/>
                </a:moveTo>
                <a:lnTo>
                  <a:pt x="19836180" y="1747609"/>
                </a:lnTo>
                <a:moveTo>
                  <a:pt x="21056728" y="2801131"/>
                </a:moveTo>
                <a:lnTo>
                  <a:pt x="21024790" y="3286020"/>
                </a:lnTo>
                <a:moveTo>
                  <a:pt x="21056728" y="2801131"/>
                </a:moveTo>
                <a:lnTo>
                  <a:pt x="19772464" y="2716963"/>
                </a:lnTo>
                <a:moveTo>
                  <a:pt x="21024790" y="3286020"/>
                </a:moveTo>
                <a:lnTo>
                  <a:pt x="19740684" y="3201853"/>
                </a:lnTo>
                <a:moveTo>
                  <a:pt x="21488592" y="6165430"/>
                </a:moveTo>
                <a:cubicBezTo>
                  <a:pt x="21553254" y="6373877"/>
                  <a:pt x="21574808" y="6539981"/>
                  <a:pt x="21562380" y="6728310"/>
                </a:cubicBezTo>
                <a:lnTo>
                  <a:pt x="21184006" y="6703508"/>
                </a:lnTo>
                <a:moveTo>
                  <a:pt x="20674736" y="8617602"/>
                </a:moveTo>
                <a:lnTo>
                  <a:pt x="20690628" y="8375378"/>
                </a:lnTo>
                <a:cubicBezTo>
                  <a:pt x="20698494" y="8254037"/>
                  <a:pt x="20800442" y="8170860"/>
                  <a:pt x="20800442" y="8170860"/>
                </a:cubicBezTo>
                <a:moveTo>
                  <a:pt x="21113838" y="7756165"/>
                </a:moveTo>
                <a:cubicBezTo>
                  <a:pt x="21242846" y="7593346"/>
                  <a:pt x="21324500" y="7452846"/>
                  <a:pt x="21415434" y="7276714"/>
                </a:cubicBezTo>
                <a:moveTo>
                  <a:pt x="20579240" y="10071342"/>
                </a:moveTo>
                <a:lnTo>
                  <a:pt x="20547302" y="10556248"/>
                </a:lnTo>
                <a:lnTo>
                  <a:pt x="19263194" y="10472064"/>
                </a:lnTo>
                <a:moveTo>
                  <a:pt x="20800442" y="8170372"/>
                </a:moveTo>
                <a:cubicBezTo>
                  <a:pt x="20889804" y="8068003"/>
                  <a:pt x="20956826" y="7973588"/>
                  <a:pt x="21113838" y="7756149"/>
                </a:cubicBezTo>
                <a:moveTo>
                  <a:pt x="20096558" y="4954825"/>
                </a:moveTo>
                <a:cubicBezTo>
                  <a:pt x="20285824" y="5109314"/>
                  <a:pt x="20403504" y="5216320"/>
                  <a:pt x="20568856" y="5391367"/>
                </a:cubicBezTo>
                <a:cubicBezTo>
                  <a:pt x="20241144" y="5252722"/>
                  <a:pt x="19875826" y="5134682"/>
                  <a:pt x="19539460" y="4997829"/>
                </a:cubicBezTo>
                <a:moveTo>
                  <a:pt x="19676964" y="4170719"/>
                </a:moveTo>
                <a:cubicBezTo>
                  <a:pt x="19667526" y="4307494"/>
                  <a:pt x="19655726" y="4494000"/>
                  <a:pt x="19750594" y="4599953"/>
                </a:cubicBezTo>
                <a:cubicBezTo>
                  <a:pt x="19382132" y="4537695"/>
                  <a:pt x="18960654" y="4463020"/>
                  <a:pt x="18586528" y="4366498"/>
                </a:cubicBezTo>
                <a:moveTo>
                  <a:pt x="20097188" y="4954857"/>
                </a:moveTo>
                <a:cubicBezTo>
                  <a:pt x="19977620" y="4860912"/>
                  <a:pt x="19850498" y="4709552"/>
                  <a:pt x="19751068" y="4599984"/>
                </a:cubicBezTo>
                <a:moveTo>
                  <a:pt x="19772464" y="2716947"/>
                </a:moveTo>
                <a:lnTo>
                  <a:pt x="19740684" y="3201853"/>
                </a:lnTo>
                <a:lnTo>
                  <a:pt x="18456576" y="3117669"/>
                </a:lnTo>
                <a:moveTo>
                  <a:pt x="20922686" y="7397316"/>
                </a:moveTo>
                <a:cubicBezTo>
                  <a:pt x="21042884" y="7204287"/>
                  <a:pt x="21160722" y="7057673"/>
                  <a:pt x="21184006" y="6703963"/>
                </a:cubicBezTo>
                <a:moveTo>
                  <a:pt x="19877714" y="8295752"/>
                </a:moveTo>
                <a:cubicBezTo>
                  <a:pt x="20050460" y="8157924"/>
                  <a:pt x="20215812" y="8074651"/>
                  <a:pt x="20403032" y="7924611"/>
                </a:cubicBezTo>
                <a:moveTo>
                  <a:pt x="19740684" y="3201853"/>
                </a:moveTo>
                <a:lnTo>
                  <a:pt x="19708746" y="3686286"/>
                </a:lnTo>
                <a:moveTo>
                  <a:pt x="19708746" y="3686286"/>
                </a:moveTo>
                <a:lnTo>
                  <a:pt x="18424638" y="3602118"/>
                </a:lnTo>
                <a:moveTo>
                  <a:pt x="19804244" y="2232042"/>
                </a:moveTo>
                <a:lnTo>
                  <a:pt x="19772464" y="2716947"/>
                </a:lnTo>
                <a:lnTo>
                  <a:pt x="18488356" y="2632764"/>
                </a:lnTo>
                <a:moveTo>
                  <a:pt x="19804244" y="2232042"/>
                </a:moveTo>
                <a:lnTo>
                  <a:pt x="19836180" y="1747625"/>
                </a:lnTo>
                <a:moveTo>
                  <a:pt x="19804244" y="2232042"/>
                </a:moveTo>
                <a:lnTo>
                  <a:pt x="18520136" y="2147874"/>
                </a:lnTo>
                <a:moveTo>
                  <a:pt x="19676964" y="4171175"/>
                </a:moveTo>
                <a:cubicBezTo>
                  <a:pt x="19687664" y="4009535"/>
                  <a:pt x="19698206" y="3847910"/>
                  <a:pt x="19708902" y="3686270"/>
                </a:cubicBezTo>
                <a:moveTo>
                  <a:pt x="19676964" y="4171175"/>
                </a:moveTo>
                <a:lnTo>
                  <a:pt x="19344218" y="4149359"/>
                </a:lnTo>
                <a:cubicBezTo>
                  <a:pt x="19030190" y="4128769"/>
                  <a:pt x="18716954" y="4102584"/>
                  <a:pt x="18402454" y="4077278"/>
                </a:cubicBezTo>
                <a:moveTo>
                  <a:pt x="19326754" y="9502725"/>
                </a:moveTo>
                <a:lnTo>
                  <a:pt x="19294974" y="9987158"/>
                </a:lnTo>
                <a:lnTo>
                  <a:pt x="18010866" y="9902991"/>
                </a:lnTo>
                <a:moveTo>
                  <a:pt x="19263194" y="10472064"/>
                </a:moveTo>
                <a:lnTo>
                  <a:pt x="19294974" y="9987175"/>
                </a:lnTo>
                <a:moveTo>
                  <a:pt x="19263194" y="10472064"/>
                </a:moveTo>
                <a:lnTo>
                  <a:pt x="17978928" y="10387896"/>
                </a:lnTo>
                <a:moveTo>
                  <a:pt x="19326754" y="9502741"/>
                </a:moveTo>
                <a:lnTo>
                  <a:pt x="19358692" y="9017852"/>
                </a:lnTo>
                <a:moveTo>
                  <a:pt x="19326754" y="9502741"/>
                </a:moveTo>
                <a:lnTo>
                  <a:pt x="18042646" y="9418573"/>
                </a:lnTo>
                <a:moveTo>
                  <a:pt x="19358692" y="9017852"/>
                </a:moveTo>
                <a:cubicBezTo>
                  <a:pt x="19367502" y="8882444"/>
                  <a:pt x="19337452" y="8684260"/>
                  <a:pt x="19487700" y="8601900"/>
                </a:cubicBezTo>
                <a:moveTo>
                  <a:pt x="19358692" y="9017852"/>
                </a:moveTo>
                <a:lnTo>
                  <a:pt x="18082764" y="8945975"/>
                </a:lnTo>
                <a:moveTo>
                  <a:pt x="21015666" y="5981974"/>
                </a:moveTo>
                <a:cubicBezTo>
                  <a:pt x="21113838" y="6157335"/>
                  <a:pt x="21203358" y="6410232"/>
                  <a:pt x="21184006" y="6703508"/>
                </a:cubicBezTo>
                <a:moveTo>
                  <a:pt x="21015666" y="5981974"/>
                </a:moveTo>
                <a:cubicBezTo>
                  <a:pt x="20703056" y="5825033"/>
                  <a:pt x="20571532" y="5764661"/>
                  <a:pt x="20273552" y="5643966"/>
                </a:cubicBezTo>
                <a:moveTo>
                  <a:pt x="21184006" y="6703508"/>
                </a:moveTo>
                <a:lnTo>
                  <a:pt x="20666240" y="6669558"/>
                </a:lnTo>
                <a:moveTo>
                  <a:pt x="19487700" y="8602388"/>
                </a:moveTo>
                <a:cubicBezTo>
                  <a:pt x="19601290" y="8504435"/>
                  <a:pt x="19769788" y="8374308"/>
                  <a:pt x="19877244" y="8295720"/>
                </a:cubicBezTo>
                <a:moveTo>
                  <a:pt x="20922686" y="7397331"/>
                </a:moveTo>
                <a:cubicBezTo>
                  <a:pt x="20780304" y="7593613"/>
                  <a:pt x="20608818" y="7770578"/>
                  <a:pt x="20402560" y="7924564"/>
                </a:cubicBezTo>
                <a:cubicBezTo>
                  <a:pt x="20069340" y="8014705"/>
                  <a:pt x="19734546" y="8098637"/>
                  <a:pt x="19330530" y="8180368"/>
                </a:cubicBezTo>
                <a:moveTo>
                  <a:pt x="19867960" y="1262715"/>
                </a:moveTo>
                <a:lnTo>
                  <a:pt x="19836024" y="1747609"/>
                </a:lnTo>
                <a:lnTo>
                  <a:pt x="18551914" y="1663441"/>
                </a:lnTo>
                <a:moveTo>
                  <a:pt x="18583852" y="1178533"/>
                </a:moveTo>
                <a:lnTo>
                  <a:pt x="18551914" y="1663425"/>
                </a:lnTo>
                <a:moveTo>
                  <a:pt x="18551914" y="1663425"/>
                </a:moveTo>
                <a:lnTo>
                  <a:pt x="18520136" y="2147874"/>
                </a:lnTo>
                <a:moveTo>
                  <a:pt x="18551914" y="1663425"/>
                </a:moveTo>
                <a:lnTo>
                  <a:pt x="17267806" y="1579257"/>
                </a:lnTo>
                <a:moveTo>
                  <a:pt x="18586528" y="4366498"/>
                </a:moveTo>
                <a:cubicBezTo>
                  <a:pt x="18501886" y="4301647"/>
                  <a:pt x="18395532" y="4183639"/>
                  <a:pt x="18402610" y="4076822"/>
                </a:cubicBezTo>
                <a:moveTo>
                  <a:pt x="18586528" y="4366498"/>
                </a:moveTo>
                <a:cubicBezTo>
                  <a:pt x="18696814" y="4464058"/>
                  <a:pt x="18814652" y="4528233"/>
                  <a:pt x="18962698" y="4627804"/>
                </a:cubicBezTo>
                <a:moveTo>
                  <a:pt x="18586528" y="4366498"/>
                </a:moveTo>
                <a:cubicBezTo>
                  <a:pt x="18174328" y="4266063"/>
                  <a:pt x="17576012" y="4182618"/>
                  <a:pt x="17200786" y="4158019"/>
                </a:cubicBezTo>
                <a:moveTo>
                  <a:pt x="18488356" y="2632764"/>
                </a:moveTo>
                <a:lnTo>
                  <a:pt x="18456418" y="3117653"/>
                </a:lnTo>
                <a:lnTo>
                  <a:pt x="17172310" y="3033485"/>
                </a:lnTo>
                <a:moveTo>
                  <a:pt x="18488356" y="2632764"/>
                </a:moveTo>
                <a:lnTo>
                  <a:pt x="18520136" y="2147874"/>
                </a:lnTo>
                <a:moveTo>
                  <a:pt x="18488356" y="2632764"/>
                </a:moveTo>
                <a:lnTo>
                  <a:pt x="17204090" y="2548596"/>
                </a:lnTo>
                <a:moveTo>
                  <a:pt x="18424638" y="3602118"/>
                </a:moveTo>
                <a:cubicBezTo>
                  <a:pt x="18414252" y="3760002"/>
                  <a:pt x="18400566" y="3919096"/>
                  <a:pt x="18402454" y="4077310"/>
                </a:cubicBezTo>
                <a:cubicBezTo>
                  <a:pt x="18142862" y="4060303"/>
                  <a:pt x="17820972" y="3995420"/>
                  <a:pt x="17125426" y="3949824"/>
                </a:cubicBezTo>
                <a:moveTo>
                  <a:pt x="18424638" y="3602118"/>
                </a:moveTo>
                <a:lnTo>
                  <a:pt x="18456418" y="3117684"/>
                </a:lnTo>
                <a:moveTo>
                  <a:pt x="18424638" y="3602118"/>
                </a:moveTo>
                <a:lnTo>
                  <a:pt x="17140372" y="3517934"/>
                </a:lnTo>
                <a:moveTo>
                  <a:pt x="18520136" y="2147874"/>
                </a:moveTo>
                <a:lnTo>
                  <a:pt x="17236028" y="2063691"/>
                </a:lnTo>
                <a:moveTo>
                  <a:pt x="18962698" y="4627804"/>
                </a:moveTo>
                <a:cubicBezTo>
                  <a:pt x="18452484" y="4476271"/>
                  <a:pt x="17899478" y="4393438"/>
                  <a:pt x="17358900" y="4323180"/>
                </a:cubicBezTo>
                <a:moveTo>
                  <a:pt x="18962698" y="4627804"/>
                </a:moveTo>
                <a:cubicBezTo>
                  <a:pt x="19316844" y="4721607"/>
                  <a:pt x="19735176" y="4843136"/>
                  <a:pt x="20096558" y="4954825"/>
                </a:cubicBezTo>
                <a:moveTo>
                  <a:pt x="20273552" y="5643966"/>
                </a:moveTo>
                <a:cubicBezTo>
                  <a:pt x="20016636" y="5426213"/>
                  <a:pt x="19872838" y="5181521"/>
                  <a:pt x="19539618" y="4997813"/>
                </a:cubicBezTo>
                <a:moveTo>
                  <a:pt x="20273552" y="5643966"/>
                </a:moveTo>
                <a:cubicBezTo>
                  <a:pt x="20516466" y="5929492"/>
                  <a:pt x="20651138" y="6314747"/>
                  <a:pt x="20666240" y="6669558"/>
                </a:cubicBezTo>
                <a:moveTo>
                  <a:pt x="20273552" y="5643966"/>
                </a:moveTo>
                <a:cubicBezTo>
                  <a:pt x="19906822" y="5476415"/>
                  <a:pt x="18967574" y="5169246"/>
                  <a:pt x="18261016" y="5022238"/>
                </a:cubicBezTo>
                <a:moveTo>
                  <a:pt x="18710344" y="8471883"/>
                </a:moveTo>
                <a:cubicBezTo>
                  <a:pt x="18556478" y="8541324"/>
                  <a:pt x="18429358" y="8603095"/>
                  <a:pt x="18303180" y="8681872"/>
                </a:cubicBezTo>
                <a:cubicBezTo>
                  <a:pt x="18818744" y="8637092"/>
                  <a:pt x="19114518" y="8613672"/>
                  <a:pt x="19487858" y="8602371"/>
                </a:cubicBezTo>
                <a:moveTo>
                  <a:pt x="20666084" y="6669542"/>
                </a:moveTo>
                <a:cubicBezTo>
                  <a:pt x="20601894" y="7064322"/>
                  <a:pt x="20421124" y="7381850"/>
                  <a:pt x="20142814" y="7635092"/>
                </a:cubicBezTo>
                <a:cubicBezTo>
                  <a:pt x="19912798" y="7819036"/>
                  <a:pt x="19631970" y="8035893"/>
                  <a:pt x="19330530" y="8179866"/>
                </a:cubicBezTo>
                <a:moveTo>
                  <a:pt x="18710188" y="8471868"/>
                </a:moveTo>
                <a:cubicBezTo>
                  <a:pt x="18917546" y="8365491"/>
                  <a:pt x="19136072" y="8285692"/>
                  <a:pt x="19330530" y="8179881"/>
                </a:cubicBezTo>
                <a:cubicBezTo>
                  <a:pt x="18705310" y="8351566"/>
                  <a:pt x="18042646" y="8354253"/>
                  <a:pt x="17402166" y="8385201"/>
                </a:cubicBezTo>
                <a:moveTo>
                  <a:pt x="18082764" y="8945975"/>
                </a:moveTo>
                <a:cubicBezTo>
                  <a:pt x="18090788" y="8781819"/>
                  <a:pt x="18303180" y="8681400"/>
                  <a:pt x="18303180" y="8681400"/>
                </a:cubicBezTo>
                <a:moveTo>
                  <a:pt x="18082764" y="8945975"/>
                </a:moveTo>
                <a:cubicBezTo>
                  <a:pt x="18062312" y="9102727"/>
                  <a:pt x="18053030" y="9261161"/>
                  <a:pt x="18042646" y="9418573"/>
                </a:cubicBezTo>
                <a:moveTo>
                  <a:pt x="18082764" y="8945975"/>
                </a:moveTo>
                <a:lnTo>
                  <a:pt x="16799444" y="8904669"/>
                </a:lnTo>
                <a:moveTo>
                  <a:pt x="17978928" y="10387896"/>
                </a:moveTo>
                <a:lnTo>
                  <a:pt x="18010866" y="9902991"/>
                </a:lnTo>
                <a:moveTo>
                  <a:pt x="17978928" y="10387896"/>
                </a:moveTo>
                <a:lnTo>
                  <a:pt x="16694821" y="10303712"/>
                </a:lnTo>
                <a:moveTo>
                  <a:pt x="18010866" y="9902991"/>
                </a:moveTo>
                <a:lnTo>
                  <a:pt x="18042646" y="9418558"/>
                </a:lnTo>
                <a:lnTo>
                  <a:pt x="16758537" y="9334389"/>
                </a:lnTo>
                <a:moveTo>
                  <a:pt x="18010866" y="9902991"/>
                </a:moveTo>
                <a:lnTo>
                  <a:pt x="16726601" y="9818807"/>
                </a:lnTo>
                <a:moveTo>
                  <a:pt x="20666240" y="6669558"/>
                </a:moveTo>
                <a:lnTo>
                  <a:pt x="18998410" y="6560226"/>
                </a:lnTo>
                <a:cubicBezTo>
                  <a:pt x="19071410" y="6022981"/>
                  <a:pt x="18680766" y="5479810"/>
                  <a:pt x="18261646" y="5022270"/>
                </a:cubicBezTo>
                <a:cubicBezTo>
                  <a:pt x="17022690" y="4759439"/>
                  <a:pt x="15696104" y="4672474"/>
                  <a:pt x="14385738" y="4808195"/>
                </a:cubicBezTo>
                <a:cubicBezTo>
                  <a:pt x="13764185" y="4875200"/>
                  <a:pt x="13115098" y="5020855"/>
                  <a:pt x="12486354" y="5165033"/>
                </a:cubicBezTo>
                <a:moveTo>
                  <a:pt x="18962698" y="4628276"/>
                </a:moveTo>
                <a:cubicBezTo>
                  <a:pt x="19153850" y="4751848"/>
                  <a:pt x="19357590" y="4863537"/>
                  <a:pt x="19539460" y="4998269"/>
                </a:cubicBezTo>
                <a:cubicBezTo>
                  <a:pt x="18914556" y="4832621"/>
                  <a:pt x="18305540" y="4612024"/>
                  <a:pt x="17654520" y="4542992"/>
                </a:cubicBezTo>
                <a:moveTo>
                  <a:pt x="16758537" y="9334389"/>
                </a:moveTo>
                <a:cubicBezTo>
                  <a:pt x="16767978" y="9190557"/>
                  <a:pt x="16773642" y="9046490"/>
                  <a:pt x="16800072" y="8904700"/>
                </a:cubicBezTo>
                <a:moveTo>
                  <a:pt x="16758537" y="9334389"/>
                </a:moveTo>
                <a:lnTo>
                  <a:pt x="16726601" y="9818807"/>
                </a:lnTo>
                <a:moveTo>
                  <a:pt x="16758537" y="9334389"/>
                </a:moveTo>
                <a:lnTo>
                  <a:pt x="15474273" y="9250206"/>
                </a:lnTo>
                <a:moveTo>
                  <a:pt x="16726601" y="9818807"/>
                </a:moveTo>
                <a:lnTo>
                  <a:pt x="16694821" y="10303712"/>
                </a:lnTo>
                <a:lnTo>
                  <a:pt x="15410602" y="10219528"/>
                </a:lnTo>
                <a:moveTo>
                  <a:pt x="17267806" y="1579257"/>
                </a:moveTo>
                <a:lnTo>
                  <a:pt x="17236028" y="2063691"/>
                </a:lnTo>
                <a:moveTo>
                  <a:pt x="17267806" y="1579257"/>
                </a:moveTo>
                <a:lnTo>
                  <a:pt x="17299588" y="1094351"/>
                </a:lnTo>
                <a:moveTo>
                  <a:pt x="17267806" y="1579257"/>
                </a:moveTo>
                <a:lnTo>
                  <a:pt x="15983542" y="1495075"/>
                </a:lnTo>
                <a:moveTo>
                  <a:pt x="17236028" y="2063691"/>
                </a:moveTo>
                <a:lnTo>
                  <a:pt x="17204090" y="2548596"/>
                </a:lnTo>
                <a:moveTo>
                  <a:pt x="17236028" y="2063691"/>
                </a:moveTo>
                <a:lnTo>
                  <a:pt x="15951762" y="1979523"/>
                </a:lnTo>
                <a:moveTo>
                  <a:pt x="16799444" y="8904669"/>
                </a:moveTo>
                <a:cubicBezTo>
                  <a:pt x="16806208" y="8803479"/>
                  <a:pt x="16902020" y="8707648"/>
                  <a:pt x="16902020" y="8707648"/>
                </a:cubicBezTo>
                <a:cubicBezTo>
                  <a:pt x="17401064" y="8736600"/>
                  <a:pt x="17938966" y="8716811"/>
                  <a:pt x="18303180" y="8681872"/>
                </a:cubicBezTo>
                <a:moveTo>
                  <a:pt x="16799444" y="8904669"/>
                </a:moveTo>
                <a:lnTo>
                  <a:pt x="15487866" y="8816367"/>
                </a:lnTo>
                <a:moveTo>
                  <a:pt x="17204090" y="2548596"/>
                </a:moveTo>
                <a:lnTo>
                  <a:pt x="15919982" y="2464396"/>
                </a:lnTo>
                <a:moveTo>
                  <a:pt x="17172310" y="3033501"/>
                </a:moveTo>
                <a:lnTo>
                  <a:pt x="17140372" y="3517934"/>
                </a:lnTo>
                <a:moveTo>
                  <a:pt x="17140372" y="3517934"/>
                </a:moveTo>
                <a:lnTo>
                  <a:pt x="15856264" y="3433766"/>
                </a:lnTo>
                <a:moveTo>
                  <a:pt x="16726601" y="9818807"/>
                </a:moveTo>
                <a:lnTo>
                  <a:pt x="15442492" y="9734623"/>
                </a:lnTo>
                <a:moveTo>
                  <a:pt x="17204090" y="2548580"/>
                </a:moveTo>
                <a:lnTo>
                  <a:pt x="17172310" y="3033485"/>
                </a:lnTo>
                <a:lnTo>
                  <a:pt x="15888202" y="2949301"/>
                </a:lnTo>
                <a:moveTo>
                  <a:pt x="17402166" y="8385673"/>
                </a:moveTo>
                <a:cubicBezTo>
                  <a:pt x="17653260" y="8263326"/>
                  <a:pt x="17771570" y="8190160"/>
                  <a:pt x="18066716" y="7989305"/>
                </a:cubicBezTo>
                <a:cubicBezTo>
                  <a:pt x="18542318" y="7588065"/>
                  <a:pt x="18944448" y="7143900"/>
                  <a:pt x="18998254" y="6560697"/>
                </a:cubicBezTo>
                <a:moveTo>
                  <a:pt x="16901864" y="8707648"/>
                </a:moveTo>
                <a:cubicBezTo>
                  <a:pt x="16967942" y="8634813"/>
                  <a:pt x="17080274" y="8564539"/>
                  <a:pt x="17080274" y="8564539"/>
                </a:cubicBezTo>
                <a:cubicBezTo>
                  <a:pt x="17222026" y="8475483"/>
                  <a:pt x="17402166" y="8385201"/>
                  <a:pt x="17402166" y="8385201"/>
                </a:cubicBezTo>
                <a:moveTo>
                  <a:pt x="17200630" y="4158019"/>
                </a:moveTo>
                <a:cubicBezTo>
                  <a:pt x="17171838" y="4110489"/>
                  <a:pt x="17138798" y="4037748"/>
                  <a:pt x="17124954" y="3949321"/>
                </a:cubicBezTo>
                <a:moveTo>
                  <a:pt x="17140530" y="3517934"/>
                </a:moveTo>
                <a:cubicBezTo>
                  <a:pt x="17131562" y="3614268"/>
                  <a:pt x="17115514" y="3840963"/>
                  <a:pt x="17125426" y="3949352"/>
                </a:cubicBezTo>
                <a:moveTo>
                  <a:pt x="17201730" y="4158098"/>
                </a:moveTo>
                <a:cubicBezTo>
                  <a:pt x="17261516" y="4239657"/>
                  <a:pt x="17302262" y="4282802"/>
                  <a:pt x="17358742" y="4323196"/>
                </a:cubicBezTo>
                <a:cubicBezTo>
                  <a:pt x="16736670" y="4270652"/>
                  <a:pt x="16113494" y="4230729"/>
                  <a:pt x="15489707" y="4211020"/>
                </a:cubicBezTo>
                <a:moveTo>
                  <a:pt x="17654676" y="4542552"/>
                </a:moveTo>
                <a:cubicBezTo>
                  <a:pt x="17526770" y="4444772"/>
                  <a:pt x="17463050" y="4407663"/>
                  <a:pt x="17359372" y="4322756"/>
                </a:cubicBezTo>
                <a:moveTo>
                  <a:pt x="18261488" y="5022254"/>
                </a:moveTo>
                <a:cubicBezTo>
                  <a:pt x="18060580" y="4859467"/>
                  <a:pt x="17900422" y="4703092"/>
                  <a:pt x="17654520" y="4542536"/>
                </a:cubicBezTo>
                <a:moveTo>
                  <a:pt x="10846386" y="1158336"/>
                </a:moveTo>
                <a:lnTo>
                  <a:pt x="10814575" y="1642772"/>
                </a:lnTo>
                <a:moveTo>
                  <a:pt x="10846386" y="1158336"/>
                </a:moveTo>
                <a:lnTo>
                  <a:pt x="10878229" y="673426"/>
                </a:lnTo>
                <a:moveTo>
                  <a:pt x="10846386" y="1158336"/>
                </a:moveTo>
                <a:lnTo>
                  <a:pt x="9562215" y="1074149"/>
                </a:lnTo>
                <a:moveTo>
                  <a:pt x="10846386" y="1158336"/>
                </a:moveTo>
                <a:lnTo>
                  <a:pt x="12130541" y="1242500"/>
                </a:lnTo>
                <a:moveTo>
                  <a:pt x="10814575" y="1642772"/>
                </a:moveTo>
                <a:lnTo>
                  <a:pt x="10782701" y="2127677"/>
                </a:lnTo>
                <a:moveTo>
                  <a:pt x="10814575" y="1642772"/>
                </a:moveTo>
                <a:lnTo>
                  <a:pt x="12098730" y="1726956"/>
                </a:lnTo>
                <a:moveTo>
                  <a:pt x="10814575" y="1642772"/>
                </a:moveTo>
                <a:lnTo>
                  <a:pt x="9530388" y="1558589"/>
                </a:lnTo>
                <a:moveTo>
                  <a:pt x="10305289" y="9397889"/>
                </a:moveTo>
                <a:lnTo>
                  <a:pt x="10273446" y="9882778"/>
                </a:lnTo>
                <a:lnTo>
                  <a:pt x="8989260" y="9798610"/>
                </a:lnTo>
                <a:moveTo>
                  <a:pt x="10555692" y="5519827"/>
                </a:moveTo>
                <a:cubicBezTo>
                  <a:pt x="10544160" y="5695519"/>
                  <a:pt x="10517886" y="5844350"/>
                  <a:pt x="10507424" y="6003648"/>
                </a:cubicBezTo>
                <a:moveTo>
                  <a:pt x="10555614" y="5519341"/>
                </a:moveTo>
                <a:cubicBezTo>
                  <a:pt x="10555614" y="5519341"/>
                  <a:pt x="10567822" y="5399226"/>
                  <a:pt x="10575783" y="5277870"/>
                </a:cubicBezTo>
                <a:lnTo>
                  <a:pt x="10591688" y="5035661"/>
                </a:lnTo>
                <a:cubicBezTo>
                  <a:pt x="10832070" y="5051426"/>
                  <a:pt x="11198942" y="5080645"/>
                  <a:pt x="11548855" y="5027347"/>
                </a:cubicBezTo>
                <a:moveTo>
                  <a:pt x="10337085" y="8913455"/>
                </a:moveTo>
                <a:lnTo>
                  <a:pt x="10305258" y="9397889"/>
                </a:lnTo>
                <a:lnTo>
                  <a:pt x="9021087" y="9313705"/>
                </a:lnTo>
                <a:moveTo>
                  <a:pt x="10337085" y="8913455"/>
                </a:moveTo>
                <a:lnTo>
                  <a:pt x="10368913" y="8428566"/>
                </a:lnTo>
                <a:moveTo>
                  <a:pt x="10337085" y="8913455"/>
                </a:moveTo>
                <a:lnTo>
                  <a:pt x="9052883" y="8829287"/>
                </a:lnTo>
                <a:moveTo>
                  <a:pt x="10464347" y="6974794"/>
                </a:moveTo>
                <a:lnTo>
                  <a:pt x="10432536" y="7459228"/>
                </a:lnTo>
                <a:lnTo>
                  <a:pt x="9148365" y="7375059"/>
                </a:lnTo>
                <a:lnTo>
                  <a:pt x="9116522" y="7859965"/>
                </a:lnTo>
                <a:moveTo>
                  <a:pt x="10782731" y="2127662"/>
                </a:moveTo>
                <a:lnTo>
                  <a:pt x="10750888" y="2612551"/>
                </a:lnTo>
                <a:moveTo>
                  <a:pt x="10750888" y="2612551"/>
                </a:moveTo>
                <a:lnTo>
                  <a:pt x="12035043" y="2696735"/>
                </a:lnTo>
                <a:moveTo>
                  <a:pt x="10750888" y="2612551"/>
                </a:moveTo>
                <a:lnTo>
                  <a:pt x="9466717" y="2528383"/>
                </a:lnTo>
                <a:moveTo>
                  <a:pt x="10687250" y="3581905"/>
                </a:moveTo>
                <a:lnTo>
                  <a:pt x="10655422" y="4066339"/>
                </a:lnTo>
                <a:moveTo>
                  <a:pt x="10687250" y="3581905"/>
                </a:moveTo>
                <a:lnTo>
                  <a:pt x="10719077" y="3096984"/>
                </a:lnTo>
                <a:moveTo>
                  <a:pt x="10687250" y="3581905"/>
                </a:moveTo>
                <a:lnTo>
                  <a:pt x="9403063" y="3497721"/>
                </a:lnTo>
                <a:moveTo>
                  <a:pt x="10655422" y="4066339"/>
                </a:moveTo>
                <a:lnTo>
                  <a:pt x="9371251" y="3982155"/>
                </a:lnTo>
                <a:moveTo>
                  <a:pt x="10655422" y="4066339"/>
                </a:moveTo>
                <a:lnTo>
                  <a:pt x="11939593" y="4150506"/>
                </a:lnTo>
                <a:moveTo>
                  <a:pt x="10368881" y="8428566"/>
                </a:moveTo>
                <a:lnTo>
                  <a:pt x="10400693" y="7944132"/>
                </a:lnTo>
                <a:lnTo>
                  <a:pt x="11684864" y="8028316"/>
                </a:lnTo>
                <a:moveTo>
                  <a:pt x="10368881" y="8428566"/>
                </a:moveTo>
                <a:lnTo>
                  <a:pt x="11653068" y="8512733"/>
                </a:lnTo>
                <a:moveTo>
                  <a:pt x="10368881" y="8428566"/>
                </a:moveTo>
                <a:lnTo>
                  <a:pt x="9084726" y="8344382"/>
                </a:lnTo>
                <a:moveTo>
                  <a:pt x="10491817" y="6490549"/>
                </a:moveTo>
                <a:cubicBezTo>
                  <a:pt x="10491817" y="6490549"/>
                  <a:pt x="10488198" y="6611245"/>
                  <a:pt x="10480222" y="6732585"/>
                </a:cubicBezTo>
                <a:lnTo>
                  <a:pt x="10464317" y="6974794"/>
                </a:lnTo>
                <a:lnTo>
                  <a:pt x="9180145" y="6890626"/>
                </a:lnTo>
                <a:moveTo>
                  <a:pt x="10507361" y="6003632"/>
                </a:moveTo>
                <a:cubicBezTo>
                  <a:pt x="10493548" y="6213997"/>
                  <a:pt x="10503444" y="6314386"/>
                  <a:pt x="10491943" y="6489606"/>
                </a:cubicBezTo>
                <a:cubicBezTo>
                  <a:pt x="10491943" y="6489606"/>
                  <a:pt x="10353966" y="6480568"/>
                  <a:pt x="10163458" y="6468073"/>
                </a:cubicBezTo>
                <a:lnTo>
                  <a:pt x="9212005" y="6405705"/>
                </a:lnTo>
                <a:moveTo>
                  <a:pt x="10507361" y="6003632"/>
                </a:moveTo>
                <a:lnTo>
                  <a:pt x="9243879" y="5920832"/>
                </a:lnTo>
                <a:moveTo>
                  <a:pt x="10507361" y="6003632"/>
                </a:moveTo>
                <a:lnTo>
                  <a:pt x="11123456" y="6044043"/>
                </a:lnTo>
                <a:moveTo>
                  <a:pt x="10782701" y="2127677"/>
                </a:moveTo>
                <a:lnTo>
                  <a:pt x="12066887" y="2211845"/>
                </a:lnTo>
                <a:moveTo>
                  <a:pt x="10782701" y="2127677"/>
                </a:moveTo>
                <a:lnTo>
                  <a:pt x="9498529" y="2043493"/>
                </a:lnTo>
                <a:moveTo>
                  <a:pt x="10750841" y="2612582"/>
                </a:moveTo>
                <a:lnTo>
                  <a:pt x="10719029" y="3097016"/>
                </a:lnTo>
                <a:lnTo>
                  <a:pt x="9434859" y="3012832"/>
                </a:lnTo>
                <a:moveTo>
                  <a:pt x="10623563" y="4551244"/>
                </a:moveTo>
                <a:lnTo>
                  <a:pt x="10591752" y="5035661"/>
                </a:lnTo>
                <a:lnTo>
                  <a:pt x="9307550" y="4951493"/>
                </a:lnTo>
                <a:lnTo>
                  <a:pt x="9275706" y="5436398"/>
                </a:lnTo>
                <a:moveTo>
                  <a:pt x="10623563" y="4551244"/>
                </a:moveTo>
                <a:lnTo>
                  <a:pt x="10655390" y="4066339"/>
                </a:lnTo>
                <a:moveTo>
                  <a:pt x="10623563" y="4551244"/>
                </a:moveTo>
                <a:lnTo>
                  <a:pt x="9339392" y="4467060"/>
                </a:lnTo>
                <a:moveTo>
                  <a:pt x="10432504" y="7459228"/>
                </a:moveTo>
                <a:lnTo>
                  <a:pt x="10400662" y="7944132"/>
                </a:lnTo>
                <a:lnTo>
                  <a:pt x="9116475" y="7859949"/>
                </a:lnTo>
                <a:moveTo>
                  <a:pt x="5662142" y="1780254"/>
                </a:moveTo>
                <a:cubicBezTo>
                  <a:pt x="5661451" y="2001826"/>
                  <a:pt x="5657045" y="2068815"/>
                  <a:pt x="5658194" y="2262267"/>
                </a:cubicBezTo>
                <a:moveTo>
                  <a:pt x="5662142" y="1780254"/>
                </a:moveTo>
                <a:cubicBezTo>
                  <a:pt x="5366902" y="1715262"/>
                  <a:pt x="4894730" y="1114507"/>
                  <a:pt x="4402830" y="1082261"/>
                </a:cubicBezTo>
                <a:moveTo>
                  <a:pt x="5662142" y="1780254"/>
                </a:moveTo>
                <a:cubicBezTo>
                  <a:pt x="5753786" y="1805088"/>
                  <a:pt x="6336921" y="1836241"/>
                  <a:pt x="6479129" y="1845561"/>
                </a:cubicBezTo>
                <a:lnTo>
                  <a:pt x="6930187" y="1875142"/>
                </a:lnTo>
                <a:moveTo>
                  <a:pt x="5658194" y="2262267"/>
                </a:moveTo>
                <a:cubicBezTo>
                  <a:pt x="5209165" y="2055926"/>
                  <a:pt x="4912304" y="1707105"/>
                  <a:pt x="4366723" y="1631817"/>
                </a:cubicBezTo>
                <a:moveTo>
                  <a:pt x="5658194" y="2262267"/>
                </a:moveTo>
                <a:cubicBezTo>
                  <a:pt x="5740618" y="2281333"/>
                  <a:pt x="5827447" y="2289821"/>
                  <a:pt x="5911822" y="2295353"/>
                </a:cubicBezTo>
                <a:lnTo>
                  <a:pt x="6898297" y="2360015"/>
                </a:lnTo>
                <a:lnTo>
                  <a:pt x="6930156" y="1875126"/>
                </a:lnTo>
                <a:moveTo>
                  <a:pt x="5455005" y="4698958"/>
                </a:moveTo>
                <a:lnTo>
                  <a:pt x="5486817" y="4214524"/>
                </a:lnTo>
                <a:lnTo>
                  <a:pt x="6771003" y="4298708"/>
                </a:lnTo>
                <a:moveTo>
                  <a:pt x="5455005" y="4698958"/>
                </a:moveTo>
                <a:lnTo>
                  <a:pt x="6739176" y="4783142"/>
                </a:lnTo>
                <a:moveTo>
                  <a:pt x="5455005" y="4698958"/>
                </a:moveTo>
                <a:lnTo>
                  <a:pt x="5254428" y="4685802"/>
                </a:lnTo>
                <a:cubicBezTo>
                  <a:pt x="4865467" y="4660308"/>
                  <a:pt x="4587831" y="4887224"/>
                  <a:pt x="4154818" y="4858838"/>
                </a:cubicBezTo>
                <a:moveTo>
                  <a:pt x="5455005" y="4698958"/>
                </a:moveTo>
                <a:lnTo>
                  <a:pt x="5391335" y="5668281"/>
                </a:lnTo>
                <a:lnTo>
                  <a:pt x="4107179" y="5584097"/>
                </a:lnTo>
                <a:moveTo>
                  <a:pt x="5200355" y="8576736"/>
                </a:moveTo>
                <a:lnTo>
                  <a:pt x="5168543" y="9061169"/>
                </a:lnTo>
                <a:lnTo>
                  <a:pt x="3884356" y="8976986"/>
                </a:lnTo>
                <a:moveTo>
                  <a:pt x="5200355" y="8576736"/>
                </a:moveTo>
                <a:lnTo>
                  <a:pt x="5232197" y="8091847"/>
                </a:lnTo>
                <a:moveTo>
                  <a:pt x="5200355" y="8576736"/>
                </a:moveTo>
                <a:lnTo>
                  <a:pt x="3916184" y="8492568"/>
                </a:lnTo>
                <a:moveTo>
                  <a:pt x="5658225" y="2262283"/>
                </a:moveTo>
                <a:cubicBezTo>
                  <a:pt x="5658194" y="2449087"/>
                  <a:pt x="5652908" y="2602602"/>
                  <a:pt x="5637521" y="2763912"/>
                </a:cubicBezTo>
                <a:lnTo>
                  <a:pt x="6866517" y="2844465"/>
                </a:lnTo>
                <a:moveTo>
                  <a:pt x="5592415" y="3263937"/>
                </a:moveTo>
                <a:cubicBezTo>
                  <a:pt x="5613214" y="3060614"/>
                  <a:pt x="5631338" y="2930534"/>
                  <a:pt x="5637489" y="2763896"/>
                </a:cubicBezTo>
                <a:lnTo>
                  <a:pt x="4298128" y="2676113"/>
                </a:lnTo>
                <a:moveTo>
                  <a:pt x="5592415" y="3263937"/>
                </a:moveTo>
                <a:cubicBezTo>
                  <a:pt x="5579797" y="3456022"/>
                  <a:pt x="5550314" y="3580648"/>
                  <a:pt x="5533291" y="3742335"/>
                </a:cubicBezTo>
                <a:moveTo>
                  <a:pt x="5592415" y="3263937"/>
                </a:moveTo>
                <a:cubicBezTo>
                  <a:pt x="5662882" y="3261957"/>
                  <a:pt x="5679433" y="3253171"/>
                  <a:pt x="5848183" y="3264220"/>
                </a:cubicBezTo>
                <a:lnTo>
                  <a:pt x="6834674" y="3328898"/>
                </a:lnTo>
                <a:moveTo>
                  <a:pt x="5709640" y="821626"/>
                </a:moveTo>
                <a:lnTo>
                  <a:pt x="5677828" y="1306056"/>
                </a:lnTo>
                <a:lnTo>
                  <a:pt x="5622638" y="1302440"/>
                </a:lnTo>
                <a:cubicBezTo>
                  <a:pt x="5587616" y="1300143"/>
                  <a:pt x="5549244" y="1283984"/>
                  <a:pt x="5501527" y="1263917"/>
                </a:cubicBezTo>
                <a:cubicBezTo>
                  <a:pt x="5167678" y="1064647"/>
                  <a:pt x="4864665" y="809525"/>
                  <a:pt x="4424446" y="752908"/>
                </a:cubicBezTo>
                <a:moveTo>
                  <a:pt x="5709640" y="821626"/>
                </a:moveTo>
                <a:lnTo>
                  <a:pt x="5741483" y="336712"/>
                </a:lnTo>
                <a:moveTo>
                  <a:pt x="5709640" y="821626"/>
                </a:moveTo>
                <a:lnTo>
                  <a:pt x="5509063" y="808462"/>
                </a:lnTo>
                <a:cubicBezTo>
                  <a:pt x="5146092" y="784671"/>
                  <a:pt x="4841081" y="519528"/>
                  <a:pt x="4441500" y="493335"/>
                </a:cubicBezTo>
                <a:moveTo>
                  <a:pt x="5136715" y="9546074"/>
                </a:moveTo>
                <a:lnTo>
                  <a:pt x="5168575" y="9061169"/>
                </a:lnTo>
                <a:moveTo>
                  <a:pt x="5136715" y="9546074"/>
                </a:moveTo>
                <a:lnTo>
                  <a:pt x="6420871" y="9630242"/>
                </a:lnTo>
                <a:lnTo>
                  <a:pt x="6452730" y="9145353"/>
                </a:lnTo>
                <a:lnTo>
                  <a:pt x="7736885" y="9229521"/>
                </a:lnTo>
                <a:moveTo>
                  <a:pt x="5136715" y="9546074"/>
                </a:moveTo>
                <a:lnTo>
                  <a:pt x="3852544" y="9461890"/>
                </a:lnTo>
                <a:moveTo>
                  <a:pt x="5486801" y="4214981"/>
                </a:moveTo>
                <a:lnTo>
                  <a:pt x="5491773" y="4139080"/>
                </a:lnTo>
                <a:cubicBezTo>
                  <a:pt x="5493283" y="4116132"/>
                  <a:pt x="5495548" y="4089931"/>
                  <a:pt x="5497892" y="4062315"/>
                </a:cubicBezTo>
                <a:cubicBezTo>
                  <a:pt x="5510605" y="3957761"/>
                  <a:pt x="5519840" y="3817198"/>
                  <a:pt x="5533276" y="3742335"/>
                </a:cubicBezTo>
                <a:cubicBezTo>
                  <a:pt x="5084168" y="3869569"/>
                  <a:pt x="4743051" y="4283855"/>
                  <a:pt x="4193442" y="4269945"/>
                </a:cubicBezTo>
                <a:moveTo>
                  <a:pt x="5327633" y="6638091"/>
                </a:moveTo>
                <a:lnTo>
                  <a:pt x="5359476" y="6153186"/>
                </a:lnTo>
                <a:lnTo>
                  <a:pt x="6643678" y="6237369"/>
                </a:lnTo>
                <a:moveTo>
                  <a:pt x="5327633" y="6638091"/>
                </a:moveTo>
                <a:lnTo>
                  <a:pt x="5295821" y="7122508"/>
                </a:lnTo>
                <a:moveTo>
                  <a:pt x="5327633" y="6638091"/>
                </a:moveTo>
                <a:lnTo>
                  <a:pt x="6611819" y="6722259"/>
                </a:lnTo>
                <a:moveTo>
                  <a:pt x="5327633" y="6638091"/>
                </a:moveTo>
                <a:lnTo>
                  <a:pt x="4043446" y="6553891"/>
                </a:lnTo>
                <a:moveTo>
                  <a:pt x="5295821" y="7122508"/>
                </a:moveTo>
                <a:lnTo>
                  <a:pt x="4011634" y="7038325"/>
                </a:lnTo>
                <a:moveTo>
                  <a:pt x="5295821" y="7122508"/>
                </a:moveTo>
                <a:lnTo>
                  <a:pt x="6579992" y="7206692"/>
                </a:lnTo>
                <a:moveTo>
                  <a:pt x="5391303" y="5668281"/>
                </a:moveTo>
                <a:lnTo>
                  <a:pt x="5359460" y="6153186"/>
                </a:lnTo>
                <a:lnTo>
                  <a:pt x="4075304" y="6069002"/>
                </a:lnTo>
                <a:moveTo>
                  <a:pt x="5676774" y="1305997"/>
                </a:moveTo>
                <a:cubicBezTo>
                  <a:pt x="5669647" y="1463154"/>
                  <a:pt x="5653285" y="1622999"/>
                  <a:pt x="5661592" y="1780223"/>
                </a:cubicBezTo>
                <a:moveTo>
                  <a:pt x="5295774" y="7122508"/>
                </a:moveTo>
                <a:lnTo>
                  <a:pt x="5263931" y="7607414"/>
                </a:lnTo>
                <a:lnTo>
                  <a:pt x="3979775" y="7523230"/>
                </a:lnTo>
                <a:moveTo>
                  <a:pt x="1666131" y="3477068"/>
                </a:moveTo>
                <a:lnTo>
                  <a:pt x="1697943" y="2992651"/>
                </a:lnTo>
                <a:moveTo>
                  <a:pt x="1666131" y="3477068"/>
                </a:moveTo>
                <a:lnTo>
                  <a:pt x="1634272" y="3961989"/>
                </a:lnTo>
                <a:moveTo>
                  <a:pt x="1666131" y="3477068"/>
                </a:moveTo>
                <a:lnTo>
                  <a:pt x="381954" y="3392900"/>
                </a:lnTo>
                <a:moveTo>
                  <a:pt x="1666131" y="3477068"/>
                </a:moveTo>
                <a:lnTo>
                  <a:pt x="2652607" y="3541731"/>
                </a:lnTo>
                <a:cubicBezTo>
                  <a:pt x="2687093" y="3543994"/>
                  <a:pt x="2872724" y="3549574"/>
                  <a:pt x="2934679" y="3571987"/>
                </a:cubicBezTo>
                <a:moveTo>
                  <a:pt x="1697943" y="2992651"/>
                </a:moveTo>
                <a:lnTo>
                  <a:pt x="1729801" y="2507730"/>
                </a:lnTo>
                <a:moveTo>
                  <a:pt x="1697943" y="2992651"/>
                </a:moveTo>
                <a:lnTo>
                  <a:pt x="403160" y="2907760"/>
                </a:lnTo>
                <a:moveTo>
                  <a:pt x="1602492" y="4446422"/>
                </a:moveTo>
                <a:lnTo>
                  <a:pt x="1634304" y="3961989"/>
                </a:lnTo>
                <a:moveTo>
                  <a:pt x="1602492" y="4446422"/>
                </a:moveTo>
                <a:lnTo>
                  <a:pt x="2886663" y="4530606"/>
                </a:lnTo>
                <a:moveTo>
                  <a:pt x="1602492" y="4446422"/>
                </a:moveTo>
                <a:lnTo>
                  <a:pt x="318315" y="4362239"/>
                </a:lnTo>
                <a:moveTo>
                  <a:pt x="1347818" y="8324201"/>
                </a:moveTo>
                <a:lnTo>
                  <a:pt x="1379664" y="7839312"/>
                </a:lnTo>
                <a:moveTo>
                  <a:pt x="1347818" y="8324201"/>
                </a:moveTo>
                <a:lnTo>
                  <a:pt x="2631997" y="8408384"/>
                </a:lnTo>
                <a:lnTo>
                  <a:pt x="2663840" y="7923495"/>
                </a:lnTo>
                <a:moveTo>
                  <a:pt x="1347818" y="8324201"/>
                </a:moveTo>
                <a:lnTo>
                  <a:pt x="63640" y="8240033"/>
                </a:lnTo>
                <a:moveTo>
                  <a:pt x="1411411" y="7354878"/>
                </a:moveTo>
                <a:lnTo>
                  <a:pt x="1443258" y="6869973"/>
                </a:lnTo>
                <a:lnTo>
                  <a:pt x="2727447" y="6954157"/>
                </a:lnTo>
                <a:moveTo>
                  <a:pt x="1411411" y="7354878"/>
                </a:moveTo>
                <a:lnTo>
                  <a:pt x="1379615" y="7839312"/>
                </a:lnTo>
                <a:moveTo>
                  <a:pt x="1411411" y="7354878"/>
                </a:moveTo>
                <a:lnTo>
                  <a:pt x="127234" y="7270695"/>
                </a:lnTo>
                <a:moveTo>
                  <a:pt x="1793456" y="1538423"/>
                </a:moveTo>
                <a:lnTo>
                  <a:pt x="1825315" y="1053519"/>
                </a:lnTo>
                <a:moveTo>
                  <a:pt x="1793456" y="1538423"/>
                </a:moveTo>
                <a:lnTo>
                  <a:pt x="509285" y="1454241"/>
                </a:lnTo>
                <a:moveTo>
                  <a:pt x="1793456" y="1538423"/>
                </a:moveTo>
                <a:lnTo>
                  <a:pt x="2244530" y="1567988"/>
                </a:lnTo>
                <a:cubicBezTo>
                  <a:pt x="2787908" y="1603604"/>
                  <a:pt x="2932571" y="1632399"/>
                  <a:pt x="3063877" y="1613223"/>
                </a:cubicBezTo>
                <a:moveTo>
                  <a:pt x="1825315" y="1053519"/>
                </a:moveTo>
                <a:lnTo>
                  <a:pt x="1857095" y="569070"/>
                </a:lnTo>
                <a:moveTo>
                  <a:pt x="1825315" y="1053519"/>
                </a:moveTo>
                <a:lnTo>
                  <a:pt x="541117" y="969340"/>
                </a:lnTo>
                <a:moveTo>
                  <a:pt x="1315958" y="8808634"/>
                </a:moveTo>
                <a:lnTo>
                  <a:pt x="1284111" y="9293539"/>
                </a:lnTo>
                <a:lnTo>
                  <a:pt x="2568295" y="9377707"/>
                </a:lnTo>
                <a:moveTo>
                  <a:pt x="1538806" y="5415746"/>
                </a:moveTo>
                <a:lnTo>
                  <a:pt x="1570617" y="4931312"/>
                </a:lnTo>
                <a:moveTo>
                  <a:pt x="1538806" y="5415746"/>
                </a:moveTo>
                <a:lnTo>
                  <a:pt x="1506961" y="5900650"/>
                </a:lnTo>
                <a:moveTo>
                  <a:pt x="1538806" y="5415746"/>
                </a:moveTo>
                <a:lnTo>
                  <a:pt x="254622" y="5331577"/>
                </a:lnTo>
                <a:moveTo>
                  <a:pt x="1570617" y="4931312"/>
                </a:moveTo>
                <a:lnTo>
                  <a:pt x="1602461" y="4446407"/>
                </a:lnTo>
                <a:moveTo>
                  <a:pt x="1570617" y="4931312"/>
                </a:moveTo>
                <a:lnTo>
                  <a:pt x="286431" y="4847128"/>
                </a:lnTo>
                <a:moveTo>
                  <a:pt x="1729786" y="2507761"/>
                </a:moveTo>
                <a:lnTo>
                  <a:pt x="1761597" y="2023328"/>
                </a:lnTo>
                <a:cubicBezTo>
                  <a:pt x="1979166" y="2037584"/>
                  <a:pt x="2196718" y="2051840"/>
                  <a:pt x="2414287" y="2066111"/>
                </a:cubicBezTo>
                <a:cubicBezTo>
                  <a:pt x="2523063" y="2073247"/>
                  <a:pt x="2631855" y="2080367"/>
                  <a:pt x="2740663" y="2087031"/>
                </a:cubicBezTo>
                <a:cubicBezTo>
                  <a:pt x="2822914" y="2092423"/>
                  <a:pt x="2923603" y="2109382"/>
                  <a:pt x="3004360" y="2088776"/>
                </a:cubicBezTo>
                <a:moveTo>
                  <a:pt x="1729786" y="2507761"/>
                </a:moveTo>
                <a:lnTo>
                  <a:pt x="2958782" y="2588330"/>
                </a:lnTo>
                <a:moveTo>
                  <a:pt x="1729786" y="2507761"/>
                </a:moveTo>
                <a:lnTo>
                  <a:pt x="434989" y="2422886"/>
                </a:lnTo>
                <a:moveTo>
                  <a:pt x="1475135" y="6385540"/>
                </a:moveTo>
                <a:lnTo>
                  <a:pt x="1443319" y="6869973"/>
                </a:lnTo>
                <a:lnTo>
                  <a:pt x="159142" y="6785789"/>
                </a:lnTo>
                <a:moveTo>
                  <a:pt x="1475135" y="6385540"/>
                </a:moveTo>
                <a:lnTo>
                  <a:pt x="1506961" y="5900650"/>
                </a:lnTo>
                <a:moveTo>
                  <a:pt x="1475135" y="6385540"/>
                </a:moveTo>
                <a:lnTo>
                  <a:pt x="190938" y="6301372"/>
                </a:lnTo>
                <a:moveTo>
                  <a:pt x="1857095" y="569070"/>
                </a:moveTo>
                <a:lnTo>
                  <a:pt x="1888954" y="84169"/>
                </a:lnTo>
                <a:moveTo>
                  <a:pt x="1857095" y="569070"/>
                </a:moveTo>
                <a:lnTo>
                  <a:pt x="3141266" y="653251"/>
                </a:lnTo>
                <a:lnTo>
                  <a:pt x="3173109" y="168350"/>
                </a:lnTo>
                <a:moveTo>
                  <a:pt x="1857095" y="569070"/>
                </a:moveTo>
                <a:lnTo>
                  <a:pt x="572924" y="484891"/>
                </a:lnTo>
                <a:moveTo>
                  <a:pt x="1379615" y="7839312"/>
                </a:moveTo>
                <a:lnTo>
                  <a:pt x="95437" y="7755128"/>
                </a:lnTo>
                <a:moveTo>
                  <a:pt x="1379615" y="7839312"/>
                </a:moveTo>
                <a:lnTo>
                  <a:pt x="2663793" y="7923495"/>
                </a:lnTo>
                <a:moveTo>
                  <a:pt x="1634272" y="3961989"/>
                </a:moveTo>
                <a:lnTo>
                  <a:pt x="2918475" y="4046173"/>
                </a:lnTo>
                <a:moveTo>
                  <a:pt x="1634272" y="3961989"/>
                </a:moveTo>
                <a:lnTo>
                  <a:pt x="350101" y="3877805"/>
                </a:lnTo>
                <a:moveTo>
                  <a:pt x="1506961" y="5900650"/>
                </a:moveTo>
                <a:lnTo>
                  <a:pt x="222779" y="5816467"/>
                </a:lnTo>
                <a:moveTo>
                  <a:pt x="1506961" y="5900650"/>
                </a:moveTo>
                <a:lnTo>
                  <a:pt x="2791118" y="5984834"/>
                </a:lnTo>
                <a:moveTo>
                  <a:pt x="1793441" y="1538407"/>
                </a:moveTo>
                <a:lnTo>
                  <a:pt x="1761597" y="2023296"/>
                </a:lnTo>
                <a:lnTo>
                  <a:pt x="477423" y="1939128"/>
                </a:lnTo>
                <a:moveTo>
                  <a:pt x="1347747" y="8324185"/>
                </a:moveTo>
                <a:lnTo>
                  <a:pt x="1315932" y="8808618"/>
                </a:lnTo>
                <a:lnTo>
                  <a:pt x="31754" y="8724434"/>
                </a:lnTo>
                <a:moveTo>
                  <a:pt x="2918475" y="4046173"/>
                </a:moveTo>
                <a:lnTo>
                  <a:pt x="2886663" y="4530606"/>
                </a:lnTo>
                <a:moveTo>
                  <a:pt x="2918475" y="4046173"/>
                </a:moveTo>
                <a:lnTo>
                  <a:pt x="2923446" y="3970272"/>
                </a:lnTo>
                <a:cubicBezTo>
                  <a:pt x="2936268" y="3774918"/>
                  <a:pt x="2932414" y="3696062"/>
                  <a:pt x="2934176" y="3571956"/>
                </a:cubicBezTo>
                <a:moveTo>
                  <a:pt x="2886663" y="4530606"/>
                </a:moveTo>
                <a:lnTo>
                  <a:pt x="3087240" y="4543731"/>
                </a:lnTo>
                <a:cubicBezTo>
                  <a:pt x="3444909" y="4575182"/>
                  <a:pt x="3702171" y="4829179"/>
                  <a:pt x="4154818" y="4858838"/>
                </a:cubicBezTo>
                <a:moveTo>
                  <a:pt x="2958782" y="2588330"/>
                </a:moveTo>
                <a:cubicBezTo>
                  <a:pt x="2969276" y="2428560"/>
                  <a:pt x="2978479" y="2288484"/>
                  <a:pt x="3003841" y="2088289"/>
                </a:cubicBezTo>
                <a:cubicBezTo>
                  <a:pt x="3030382" y="1960174"/>
                  <a:pt x="3042701" y="1772757"/>
                  <a:pt x="3062980" y="1609875"/>
                </a:cubicBezTo>
                <a:moveTo>
                  <a:pt x="2958782" y="2588330"/>
                </a:moveTo>
                <a:cubicBezTo>
                  <a:pt x="2949578" y="2728406"/>
                  <a:pt x="2947659" y="2895295"/>
                  <a:pt x="2938062" y="3089943"/>
                </a:cubicBezTo>
                <a:cubicBezTo>
                  <a:pt x="3368746" y="3299789"/>
                  <a:pt x="3715591" y="3698954"/>
                  <a:pt x="4229533" y="3720409"/>
                </a:cubicBezTo>
                <a:lnTo>
                  <a:pt x="4298128" y="2676113"/>
                </a:lnTo>
                <a:moveTo>
                  <a:pt x="2958782" y="2588330"/>
                </a:moveTo>
                <a:lnTo>
                  <a:pt x="4298128" y="2676113"/>
                </a:lnTo>
                <a:moveTo>
                  <a:pt x="3141329" y="653273"/>
                </a:moveTo>
                <a:lnTo>
                  <a:pt x="3109502" y="1137705"/>
                </a:lnTo>
                <a:moveTo>
                  <a:pt x="3109502" y="1137705"/>
                </a:moveTo>
                <a:cubicBezTo>
                  <a:pt x="3109502" y="1137705"/>
                  <a:pt x="3091236" y="1415528"/>
                  <a:pt x="3063043" y="1609891"/>
                </a:cubicBezTo>
                <a:cubicBezTo>
                  <a:pt x="3310976" y="1583784"/>
                  <a:pt x="3894456" y="1048938"/>
                  <a:pt x="4402830" y="1082261"/>
                </a:cubicBezTo>
                <a:moveTo>
                  <a:pt x="3109502" y="1137705"/>
                </a:moveTo>
                <a:lnTo>
                  <a:pt x="1825331" y="1053526"/>
                </a:lnTo>
                <a:moveTo>
                  <a:pt x="2938125" y="3089943"/>
                </a:moveTo>
                <a:cubicBezTo>
                  <a:pt x="2947360" y="3225115"/>
                  <a:pt x="2935057" y="3412516"/>
                  <a:pt x="2934176" y="3571956"/>
                </a:cubicBezTo>
                <a:moveTo>
                  <a:pt x="2934176" y="3571956"/>
                </a:moveTo>
                <a:cubicBezTo>
                  <a:pt x="3410281" y="3796089"/>
                  <a:pt x="3681781" y="4214289"/>
                  <a:pt x="4193489" y="4269945"/>
                </a:cubicBezTo>
                <a:lnTo>
                  <a:pt x="4229580" y="3720393"/>
                </a:lnTo>
                <a:moveTo>
                  <a:pt x="2854836" y="5015496"/>
                </a:moveTo>
                <a:lnTo>
                  <a:pt x="2823024" y="5499929"/>
                </a:lnTo>
                <a:moveTo>
                  <a:pt x="2854836" y="5015496"/>
                </a:moveTo>
                <a:lnTo>
                  <a:pt x="2886695" y="4530606"/>
                </a:lnTo>
                <a:moveTo>
                  <a:pt x="2854836" y="5015496"/>
                </a:moveTo>
                <a:lnTo>
                  <a:pt x="1570665" y="4931328"/>
                </a:lnTo>
                <a:moveTo>
                  <a:pt x="2823024" y="5499929"/>
                </a:moveTo>
                <a:lnTo>
                  <a:pt x="4107179" y="5584097"/>
                </a:lnTo>
                <a:moveTo>
                  <a:pt x="2823024" y="5499929"/>
                </a:moveTo>
                <a:lnTo>
                  <a:pt x="1538853" y="5415746"/>
                </a:lnTo>
                <a:moveTo>
                  <a:pt x="2663793" y="7923495"/>
                </a:moveTo>
                <a:lnTo>
                  <a:pt x="2695604" y="7439062"/>
                </a:lnTo>
                <a:lnTo>
                  <a:pt x="3979775" y="7523230"/>
                </a:lnTo>
                <a:moveTo>
                  <a:pt x="2663793" y="7923495"/>
                </a:moveTo>
                <a:lnTo>
                  <a:pt x="3947948" y="8007663"/>
                </a:lnTo>
                <a:lnTo>
                  <a:pt x="3979775" y="7523230"/>
                </a:lnTo>
                <a:moveTo>
                  <a:pt x="2568295" y="9377707"/>
                </a:moveTo>
                <a:lnTo>
                  <a:pt x="2600138" y="8892802"/>
                </a:lnTo>
                <a:lnTo>
                  <a:pt x="3884340" y="8976986"/>
                </a:lnTo>
                <a:lnTo>
                  <a:pt x="3916152" y="8492552"/>
                </a:lnTo>
                <a:moveTo>
                  <a:pt x="2568295" y="9377707"/>
                </a:moveTo>
                <a:lnTo>
                  <a:pt x="3852450" y="9461875"/>
                </a:lnTo>
                <a:lnTo>
                  <a:pt x="3884293" y="8976986"/>
                </a:lnTo>
                <a:moveTo>
                  <a:pt x="2822961" y="5499929"/>
                </a:moveTo>
                <a:lnTo>
                  <a:pt x="2791118" y="5984834"/>
                </a:lnTo>
                <a:moveTo>
                  <a:pt x="2791118" y="5984834"/>
                </a:moveTo>
                <a:lnTo>
                  <a:pt x="2759275" y="6469723"/>
                </a:lnTo>
                <a:moveTo>
                  <a:pt x="2791118" y="5984834"/>
                </a:moveTo>
                <a:lnTo>
                  <a:pt x="4075304" y="6069002"/>
                </a:lnTo>
                <a:moveTo>
                  <a:pt x="2759275" y="6469723"/>
                </a:moveTo>
                <a:lnTo>
                  <a:pt x="2727447" y="6954157"/>
                </a:lnTo>
                <a:moveTo>
                  <a:pt x="2759275" y="6469723"/>
                </a:moveTo>
                <a:lnTo>
                  <a:pt x="1475099" y="6385555"/>
                </a:lnTo>
                <a:moveTo>
                  <a:pt x="2759275" y="6469723"/>
                </a:moveTo>
                <a:lnTo>
                  <a:pt x="4043446" y="6553891"/>
                </a:lnTo>
                <a:moveTo>
                  <a:pt x="2727479" y="6954157"/>
                </a:moveTo>
                <a:lnTo>
                  <a:pt x="2695636" y="7439062"/>
                </a:lnTo>
                <a:lnTo>
                  <a:pt x="1411460" y="7354878"/>
                </a:lnTo>
                <a:moveTo>
                  <a:pt x="2727447" y="6954157"/>
                </a:moveTo>
                <a:lnTo>
                  <a:pt x="4011634" y="7038325"/>
                </a:lnTo>
                <a:moveTo>
                  <a:pt x="4298128" y="2676113"/>
                </a:moveTo>
                <a:lnTo>
                  <a:pt x="4366723" y="1631817"/>
                </a:lnTo>
                <a:moveTo>
                  <a:pt x="4043446" y="6553891"/>
                </a:moveTo>
                <a:lnTo>
                  <a:pt x="4011634" y="7038325"/>
                </a:lnTo>
                <a:moveTo>
                  <a:pt x="4043446" y="6553891"/>
                </a:moveTo>
                <a:lnTo>
                  <a:pt x="4075304" y="6069002"/>
                </a:lnTo>
                <a:moveTo>
                  <a:pt x="4011634" y="7038325"/>
                </a:moveTo>
                <a:lnTo>
                  <a:pt x="3979775" y="7523230"/>
                </a:lnTo>
                <a:moveTo>
                  <a:pt x="4457312" y="252523"/>
                </a:moveTo>
                <a:lnTo>
                  <a:pt x="4441500" y="493335"/>
                </a:lnTo>
                <a:moveTo>
                  <a:pt x="4441500" y="493335"/>
                </a:moveTo>
                <a:cubicBezTo>
                  <a:pt x="3970288" y="462446"/>
                  <a:pt x="3762176" y="693947"/>
                  <a:pt x="3341890" y="666397"/>
                </a:cubicBezTo>
                <a:lnTo>
                  <a:pt x="3141314" y="653248"/>
                </a:lnTo>
                <a:moveTo>
                  <a:pt x="4193505" y="4269945"/>
                </a:moveTo>
                <a:lnTo>
                  <a:pt x="4171904" y="4598837"/>
                </a:lnTo>
                <a:moveTo>
                  <a:pt x="4402830" y="1082261"/>
                </a:moveTo>
                <a:lnTo>
                  <a:pt x="4424415" y="753372"/>
                </a:lnTo>
                <a:cubicBezTo>
                  <a:pt x="4004680" y="725857"/>
                  <a:pt x="3684204" y="972102"/>
                  <a:pt x="3289752" y="1119395"/>
                </a:cubicBezTo>
                <a:cubicBezTo>
                  <a:pt x="3220355" y="1145431"/>
                  <a:pt x="3109439" y="1138162"/>
                  <a:pt x="3109439" y="1138162"/>
                </a:cubicBezTo>
                <a:moveTo>
                  <a:pt x="4366723" y="1631817"/>
                </a:moveTo>
                <a:cubicBezTo>
                  <a:pt x="3854086" y="1590684"/>
                  <a:pt x="3461082" y="1894286"/>
                  <a:pt x="3003872" y="2088273"/>
                </a:cubicBezTo>
                <a:moveTo>
                  <a:pt x="4402766" y="1082272"/>
                </a:moveTo>
                <a:lnTo>
                  <a:pt x="4366676" y="1631817"/>
                </a:lnTo>
                <a:moveTo>
                  <a:pt x="4107148" y="5584097"/>
                </a:moveTo>
                <a:lnTo>
                  <a:pt x="4075304" y="6069002"/>
                </a:lnTo>
                <a:moveTo>
                  <a:pt x="4136254" y="5141363"/>
                </a:moveTo>
                <a:lnTo>
                  <a:pt x="4107179" y="5584097"/>
                </a:lnTo>
                <a:moveTo>
                  <a:pt x="4136254" y="5141363"/>
                </a:moveTo>
                <a:lnTo>
                  <a:pt x="4154818" y="4858838"/>
                </a:lnTo>
                <a:moveTo>
                  <a:pt x="4136254" y="5141363"/>
                </a:moveTo>
                <a:cubicBezTo>
                  <a:pt x="4432360" y="5160774"/>
                  <a:pt x="4743963" y="5139303"/>
                  <a:pt x="4901023" y="5149598"/>
                </a:cubicBezTo>
                <a:lnTo>
                  <a:pt x="5423193" y="5183816"/>
                </a:lnTo>
                <a:moveTo>
                  <a:pt x="4136254" y="5141363"/>
                </a:moveTo>
                <a:cubicBezTo>
                  <a:pt x="3793987" y="5118934"/>
                  <a:pt x="3618063" y="5071136"/>
                  <a:pt x="3509586" y="5059317"/>
                </a:cubicBezTo>
                <a:cubicBezTo>
                  <a:pt x="3292143" y="5035174"/>
                  <a:pt x="3072923" y="5029751"/>
                  <a:pt x="2854836" y="5015464"/>
                </a:cubicBezTo>
                <a:moveTo>
                  <a:pt x="3948026" y="8007663"/>
                </a:moveTo>
                <a:lnTo>
                  <a:pt x="3916184" y="8492568"/>
                </a:lnTo>
                <a:moveTo>
                  <a:pt x="3916184" y="8492568"/>
                </a:moveTo>
                <a:lnTo>
                  <a:pt x="2632012" y="8408369"/>
                </a:lnTo>
                <a:lnTo>
                  <a:pt x="2600201" y="8892802"/>
                </a:lnTo>
                <a:lnTo>
                  <a:pt x="1316024" y="8808634"/>
                </a:lnTo>
                <a:moveTo>
                  <a:pt x="4154818" y="4858838"/>
                </a:moveTo>
                <a:lnTo>
                  <a:pt x="4171888" y="4598837"/>
                </a:lnTo>
                <a:moveTo>
                  <a:pt x="4441469" y="493350"/>
                </a:moveTo>
                <a:lnTo>
                  <a:pt x="4424383" y="753369"/>
                </a:lnTo>
                <a:moveTo>
                  <a:pt x="4171888" y="4598837"/>
                </a:moveTo>
                <a:cubicBezTo>
                  <a:pt x="4665409" y="4655184"/>
                  <a:pt x="5160991" y="4193149"/>
                  <a:pt x="5486817" y="4214493"/>
                </a:cubicBezTo>
                <a:moveTo>
                  <a:pt x="4171888" y="4598837"/>
                </a:moveTo>
                <a:cubicBezTo>
                  <a:pt x="3763308" y="4596055"/>
                  <a:pt x="3251726" y="4067989"/>
                  <a:pt x="2918475" y="4046141"/>
                </a:cubicBezTo>
                <a:moveTo>
                  <a:pt x="6516337" y="8176030"/>
                </a:moveTo>
                <a:lnTo>
                  <a:pt x="6484494" y="8660920"/>
                </a:lnTo>
                <a:lnTo>
                  <a:pt x="5200323" y="8576751"/>
                </a:lnTo>
                <a:moveTo>
                  <a:pt x="6516337" y="8176030"/>
                </a:moveTo>
                <a:lnTo>
                  <a:pt x="6548180" y="7691597"/>
                </a:lnTo>
                <a:lnTo>
                  <a:pt x="7832335" y="7775781"/>
                </a:lnTo>
                <a:moveTo>
                  <a:pt x="6516337" y="8176030"/>
                </a:moveTo>
                <a:lnTo>
                  <a:pt x="5232182" y="8091847"/>
                </a:lnTo>
                <a:moveTo>
                  <a:pt x="6516337" y="8176030"/>
                </a:moveTo>
                <a:lnTo>
                  <a:pt x="7800540" y="8260199"/>
                </a:lnTo>
                <a:moveTo>
                  <a:pt x="6484447" y="8660904"/>
                </a:moveTo>
                <a:lnTo>
                  <a:pt x="6452635" y="9145338"/>
                </a:lnTo>
                <a:lnTo>
                  <a:pt x="5168449" y="9061154"/>
                </a:lnTo>
                <a:moveTo>
                  <a:pt x="6707364" y="5268031"/>
                </a:moveTo>
                <a:lnTo>
                  <a:pt x="6675537" y="5752465"/>
                </a:lnTo>
                <a:moveTo>
                  <a:pt x="6675537" y="5752465"/>
                </a:moveTo>
                <a:lnTo>
                  <a:pt x="6643678" y="6237369"/>
                </a:lnTo>
                <a:moveTo>
                  <a:pt x="6675537" y="5752465"/>
                </a:moveTo>
                <a:lnTo>
                  <a:pt x="7959724" y="5836648"/>
                </a:lnTo>
                <a:moveTo>
                  <a:pt x="6675537" y="5752465"/>
                </a:moveTo>
                <a:lnTo>
                  <a:pt x="5391366" y="5668297"/>
                </a:lnTo>
                <a:moveTo>
                  <a:pt x="6739145" y="4783126"/>
                </a:moveTo>
                <a:lnTo>
                  <a:pt x="6707301" y="5268031"/>
                </a:lnTo>
                <a:lnTo>
                  <a:pt x="5423115" y="5183847"/>
                </a:lnTo>
                <a:moveTo>
                  <a:pt x="6771003" y="4298708"/>
                </a:moveTo>
                <a:lnTo>
                  <a:pt x="6802846" y="3813819"/>
                </a:lnTo>
                <a:lnTo>
                  <a:pt x="8087017" y="3897971"/>
                </a:lnTo>
                <a:lnTo>
                  <a:pt x="8118845" y="3413538"/>
                </a:lnTo>
                <a:moveTo>
                  <a:pt x="6771003" y="4298708"/>
                </a:moveTo>
                <a:lnTo>
                  <a:pt x="6739176" y="4783142"/>
                </a:lnTo>
                <a:moveTo>
                  <a:pt x="6962031" y="1390234"/>
                </a:moveTo>
                <a:lnTo>
                  <a:pt x="6930187" y="1875142"/>
                </a:lnTo>
                <a:moveTo>
                  <a:pt x="6962031" y="1390234"/>
                </a:moveTo>
                <a:lnTo>
                  <a:pt x="6993842" y="905794"/>
                </a:lnTo>
                <a:moveTo>
                  <a:pt x="6962031" y="1390234"/>
                </a:moveTo>
                <a:lnTo>
                  <a:pt x="5677875" y="1306052"/>
                </a:lnTo>
                <a:moveTo>
                  <a:pt x="6962031" y="1390234"/>
                </a:moveTo>
                <a:lnTo>
                  <a:pt x="8246217" y="1474414"/>
                </a:lnTo>
                <a:moveTo>
                  <a:pt x="6930187" y="1875142"/>
                </a:moveTo>
                <a:lnTo>
                  <a:pt x="8214374" y="1959310"/>
                </a:lnTo>
                <a:lnTo>
                  <a:pt x="8246217" y="1474414"/>
                </a:lnTo>
                <a:moveTo>
                  <a:pt x="7025685" y="420894"/>
                </a:moveTo>
                <a:lnTo>
                  <a:pt x="6993842" y="905794"/>
                </a:lnTo>
                <a:moveTo>
                  <a:pt x="6993842" y="905794"/>
                </a:moveTo>
                <a:lnTo>
                  <a:pt x="5709671" y="821615"/>
                </a:lnTo>
                <a:moveTo>
                  <a:pt x="6993842" y="905794"/>
                </a:moveTo>
                <a:lnTo>
                  <a:pt x="8278013" y="989967"/>
                </a:lnTo>
                <a:lnTo>
                  <a:pt x="8309856" y="505066"/>
                </a:lnTo>
                <a:moveTo>
                  <a:pt x="6739176" y="4783142"/>
                </a:moveTo>
                <a:lnTo>
                  <a:pt x="8023347" y="4867310"/>
                </a:lnTo>
                <a:moveTo>
                  <a:pt x="6611819" y="6722259"/>
                </a:moveTo>
                <a:lnTo>
                  <a:pt x="6579992" y="7206692"/>
                </a:lnTo>
                <a:moveTo>
                  <a:pt x="6611819" y="6722259"/>
                </a:moveTo>
                <a:lnTo>
                  <a:pt x="6643647" y="6237369"/>
                </a:lnTo>
                <a:moveTo>
                  <a:pt x="6611819" y="6722259"/>
                </a:moveTo>
                <a:lnTo>
                  <a:pt x="7895990" y="6806442"/>
                </a:lnTo>
                <a:moveTo>
                  <a:pt x="6579992" y="7206692"/>
                </a:moveTo>
                <a:lnTo>
                  <a:pt x="6548133" y="7691613"/>
                </a:lnTo>
                <a:lnTo>
                  <a:pt x="5263978" y="7607414"/>
                </a:lnTo>
                <a:lnTo>
                  <a:pt x="5232150" y="8091847"/>
                </a:lnTo>
                <a:lnTo>
                  <a:pt x="3947979" y="8007663"/>
                </a:lnTo>
                <a:moveTo>
                  <a:pt x="6643678" y="6237369"/>
                </a:moveTo>
                <a:lnTo>
                  <a:pt x="7927849" y="6321553"/>
                </a:lnTo>
                <a:moveTo>
                  <a:pt x="6898344" y="2360031"/>
                </a:moveTo>
                <a:lnTo>
                  <a:pt x="6866517" y="2844465"/>
                </a:lnTo>
                <a:moveTo>
                  <a:pt x="6866517" y="2844465"/>
                </a:moveTo>
                <a:lnTo>
                  <a:pt x="8150688" y="2928648"/>
                </a:lnTo>
                <a:moveTo>
                  <a:pt x="6866517" y="2844465"/>
                </a:moveTo>
                <a:lnTo>
                  <a:pt x="6802862" y="3813787"/>
                </a:lnTo>
                <a:moveTo>
                  <a:pt x="7832335" y="7775781"/>
                </a:moveTo>
                <a:lnTo>
                  <a:pt x="7864178" y="7290876"/>
                </a:lnTo>
                <a:moveTo>
                  <a:pt x="7832335" y="7775781"/>
                </a:moveTo>
                <a:lnTo>
                  <a:pt x="7800540" y="8260199"/>
                </a:lnTo>
                <a:moveTo>
                  <a:pt x="7832335" y="7775781"/>
                </a:moveTo>
                <a:lnTo>
                  <a:pt x="9116522" y="7859965"/>
                </a:lnTo>
                <a:moveTo>
                  <a:pt x="7864178" y="7290876"/>
                </a:moveTo>
                <a:lnTo>
                  <a:pt x="7895990" y="6806442"/>
                </a:lnTo>
                <a:moveTo>
                  <a:pt x="7864178" y="7290876"/>
                </a:moveTo>
                <a:lnTo>
                  <a:pt x="6580023" y="7206692"/>
                </a:lnTo>
                <a:moveTo>
                  <a:pt x="7864178" y="7290876"/>
                </a:moveTo>
                <a:lnTo>
                  <a:pt x="9148365" y="7375028"/>
                </a:lnTo>
                <a:lnTo>
                  <a:pt x="9180177" y="6890626"/>
                </a:lnTo>
                <a:moveTo>
                  <a:pt x="8023347" y="4867310"/>
                </a:moveTo>
                <a:lnTo>
                  <a:pt x="7991504" y="5352199"/>
                </a:lnTo>
                <a:lnTo>
                  <a:pt x="6707317" y="5268031"/>
                </a:lnTo>
                <a:moveTo>
                  <a:pt x="8023347" y="4867310"/>
                </a:moveTo>
                <a:lnTo>
                  <a:pt x="8055159" y="4382892"/>
                </a:lnTo>
                <a:moveTo>
                  <a:pt x="8023347" y="4867310"/>
                </a:moveTo>
                <a:lnTo>
                  <a:pt x="9307518" y="4951493"/>
                </a:lnTo>
                <a:lnTo>
                  <a:pt x="9339345" y="4467060"/>
                </a:lnTo>
                <a:moveTo>
                  <a:pt x="8150735" y="2928633"/>
                </a:moveTo>
                <a:lnTo>
                  <a:pt x="8118892" y="3413522"/>
                </a:lnTo>
                <a:moveTo>
                  <a:pt x="8118892" y="3413522"/>
                </a:moveTo>
                <a:lnTo>
                  <a:pt x="6834705" y="3329354"/>
                </a:lnTo>
                <a:moveTo>
                  <a:pt x="8118892" y="3413522"/>
                </a:moveTo>
                <a:lnTo>
                  <a:pt x="9403063" y="3497721"/>
                </a:lnTo>
                <a:moveTo>
                  <a:pt x="7927849" y="6321553"/>
                </a:moveTo>
                <a:lnTo>
                  <a:pt x="7895990" y="6806442"/>
                </a:lnTo>
                <a:moveTo>
                  <a:pt x="7927849" y="6321553"/>
                </a:moveTo>
                <a:lnTo>
                  <a:pt x="7959692" y="5836632"/>
                </a:lnTo>
                <a:moveTo>
                  <a:pt x="7895990" y="6806442"/>
                </a:moveTo>
                <a:lnTo>
                  <a:pt x="9180177" y="6890626"/>
                </a:lnTo>
                <a:moveTo>
                  <a:pt x="7736885" y="9229521"/>
                </a:moveTo>
                <a:lnTo>
                  <a:pt x="7705010" y="9714426"/>
                </a:lnTo>
                <a:moveTo>
                  <a:pt x="7736885" y="9229521"/>
                </a:moveTo>
                <a:lnTo>
                  <a:pt x="9021040" y="9313690"/>
                </a:lnTo>
                <a:moveTo>
                  <a:pt x="7736885" y="9229521"/>
                </a:moveTo>
                <a:lnTo>
                  <a:pt x="7800540" y="8260199"/>
                </a:lnTo>
                <a:moveTo>
                  <a:pt x="8087049" y="3897987"/>
                </a:moveTo>
                <a:lnTo>
                  <a:pt x="8055206" y="4382892"/>
                </a:lnTo>
                <a:moveTo>
                  <a:pt x="8055206" y="4382892"/>
                </a:moveTo>
                <a:lnTo>
                  <a:pt x="6771019" y="4298708"/>
                </a:lnTo>
                <a:moveTo>
                  <a:pt x="8055206" y="4382892"/>
                </a:moveTo>
                <a:lnTo>
                  <a:pt x="9339392" y="4467060"/>
                </a:lnTo>
                <a:moveTo>
                  <a:pt x="7959724" y="5836648"/>
                </a:moveTo>
                <a:lnTo>
                  <a:pt x="7991535" y="5352214"/>
                </a:lnTo>
                <a:lnTo>
                  <a:pt x="9275706" y="5436398"/>
                </a:lnTo>
                <a:moveTo>
                  <a:pt x="7959724" y="5836648"/>
                </a:moveTo>
                <a:lnTo>
                  <a:pt x="9243879" y="5920832"/>
                </a:lnTo>
                <a:moveTo>
                  <a:pt x="7705010" y="9714426"/>
                </a:moveTo>
                <a:lnTo>
                  <a:pt x="6420839" y="9630242"/>
                </a:lnTo>
                <a:moveTo>
                  <a:pt x="7705010" y="9714426"/>
                </a:moveTo>
                <a:lnTo>
                  <a:pt x="8989196" y="9798594"/>
                </a:lnTo>
                <a:lnTo>
                  <a:pt x="9021040" y="9313690"/>
                </a:lnTo>
                <a:moveTo>
                  <a:pt x="8246217" y="1474414"/>
                </a:moveTo>
                <a:lnTo>
                  <a:pt x="8278029" y="989981"/>
                </a:lnTo>
                <a:lnTo>
                  <a:pt x="9562184" y="1074155"/>
                </a:lnTo>
                <a:moveTo>
                  <a:pt x="7800540" y="8260199"/>
                </a:moveTo>
                <a:lnTo>
                  <a:pt x="9084726" y="8344382"/>
                </a:lnTo>
                <a:moveTo>
                  <a:pt x="8182500" y="2444199"/>
                </a:moveTo>
                <a:lnTo>
                  <a:pt x="8214343" y="1959294"/>
                </a:lnTo>
                <a:lnTo>
                  <a:pt x="9498529" y="2043493"/>
                </a:lnTo>
                <a:moveTo>
                  <a:pt x="8182500" y="2444199"/>
                </a:moveTo>
                <a:lnTo>
                  <a:pt x="8150688" y="2928648"/>
                </a:lnTo>
                <a:moveTo>
                  <a:pt x="8182500" y="2444199"/>
                </a:moveTo>
                <a:lnTo>
                  <a:pt x="9466686" y="2528399"/>
                </a:lnTo>
                <a:moveTo>
                  <a:pt x="8182500" y="2444199"/>
                </a:moveTo>
                <a:lnTo>
                  <a:pt x="6898329" y="2360015"/>
                </a:lnTo>
                <a:moveTo>
                  <a:pt x="8150688" y="2928648"/>
                </a:moveTo>
                <a:lnTo>
                  <a:pt x="9434859" y="3012832"/>
                </a:lnTo>
                <a:moveTo>
                  <a:pt x="9275706" y="5436398"/>
                </a:moveTo>
                <a:lnTo>
                  <a:pt x="9243879" y="5920832"/>
                </a:lnTo>
                <a:moveTo>
                  <a:pt x="9243879" y="5920832"/>
                </a:moveTo>
                <a:lnTo>
                  <a:pt x="9212035" y="6405721"/>
                </a:lnTo>
                <a:moveTo>
                  <a:pt x="9212035" y="6405721"/>
                </a:moveTo>
                <a:lnTo>
                  <a:pt x="9180177" y="6890626"/>
                </a:lnTo>
                <a:moveTo>
                  <a:pt x="9212035" y="6405721"/>
                </a:moveTo>
                <a:lnTo>
                  <a:pt x="7927865" y="6321538"/>
                </a:lnTo>
                <a:moveTo>
                  <a:pt x="9371235" y="3982171"/>
                </a:moveTo>
                <a:lnTo>
                  <a:pt x="9339392" y="4467060"/>
                </a:lnTo>
                <a:moveTo>
                  <a:pt x="9562184" y="1074155"/>
                </a:moveTo>
                <a:lnTo>
                  <a:pt x="9530372" y="1558589"/>
                </a:lnTo>
                <a:moveTo>
                  <a:pt x="9562184" y="1074155"/>
                </a:moveTo>
                <a:lnTo>
                  <a:pt x="9594027" y="589247"/>
                </a:lnTo>
                <a:moveTo>
                  <a:pt x="9530372" y="1558589"/>
                </a:moveTo>
                <a:lnTo>
                  <a:pt x="9498529" y="2043493"/>
                </a:lnTo>
                <a:moveTo>
                  <a:pt x="9530372" y="1558589"/>
                </a:moveTo>
                <a:lnTo>
                  <a:pt x="8246186" y="1474408"/>
                </a:lnTo>
                <a:moveTo>
                  <a:pt x="9116522" y="7859965"/>
                </a:moveTo>
                <a:lnTo>
                  <a:pt x="9084726" y="8344382"/>
                </a:lnTo>
                <a:moveTo>
                  <a:pt x="9403063" y="3497721"/>
                </a:moveTo>
                <a:lnTo>
                  <a:pt x="9371251" y="3982155"/>
                </a:lnTo>
                <a:moveTo>
                  <a:pt x="9403063" y="3497721"/>
                </a:moveTo>
                <a:lnTo>
                  <a:pt x="9434921" y="3012801"/>
                </a:lnTo>
                <a:moveTo>
                  <a:pt x="9371251" y="3982155"/>
                </a:moveTo>
                <a:lnTo>
                  <a:pt x="8087081" y="3897971"/>
                </a:lnTo>
                <a:moveTo>
                  <a:pt x="9498529" y="2043493"/>
                </a:moveTo>
                <a:lnTo>
                  <a:pt x="9466686" y="2528399"/>
                </a:lnTo>
                <a:moveTo>
                  <a:pt x="9466686" y="2528399"/>
                </a:moveTo>
                <a:lnTo>
                  <a:pt x="9434859" y="3012832"/>
                </a:lnTo>
                <a:moveTo>
                  <a:pt x="9021040" y="9313690"/>
                </a:moveTo>
                <a:lnTo>
                  <a:pt x="9052851" y="8829272"/>
                </a:lnTo>
                <a:moveTo>
                  <a:pt x="9084726" y="8344382"/>
                </a:moveTo>
                <a:lnTo>
                  <a:pt x="9052883" y="8829287"/>
                </a:lnTo>
                <a:moveTo>
                  <a:pt x="9052883" y="8829287"/>
                </a:moveTo>
                <a:lnTo>
                  <a:pt x="6484525" y="8660920"/>
                </a:lnTo>
                <a:moveTo>
                  <a:pt x="11589397" y="9482057"/>
                </a:moveTo>
                <a:lnTo>
                  <a:pt x="11621209" y="8997623"/>
                </a:lnTo>
                <a:moveTo>
                  <a:pt x="11589397" y="9482057"/>
                </a:moveTo>
                <a:lnTo>
                  <a:pt x="11557539" y="9966962"/>
                </a:lnTo>
                <a:lnTo>
                  <a:pt x="10273352" y="9882778"/>
                </a:lnTo>
                <a:moveTo>
                  <a:pt x="11589397" y="9482057"/>
                </a:moveTo>
                <a:lnTo>
                  <a:pt x="12873584" y="9566240"/>
                </a:lnTo>
                <a:moveTo>
                  <a:pt x="11589397" y="9482057"/>
                </a:moveTo>
                <a:lnTo>
                  <a:pt x="10305227" y="9397873"/>
                </a:lnTo>
                <a:moveTo>
                  <a:pt x="11621209" y="8997623"/>
                </a:moveTo>
                <a:lnTo>
                  <a:pt x="11653068" y="8512733"/>
                </a:lnTo>
                <a:moveTo>
                  <a:pt x="11621209" y="8997623"/>
                </a:moveTo>
                <a:lnTo>
                  <a:pt x="10337038" y="8913455"/>
                </a:lnTo>
                <a:moveTo>
                  <a:pt x="12098730" y="1726956"/>
                </a:moveTo>
                <a:lnTo>
                  <a:pt x="12066887" y="2211845"/>
                </a:lnTo>
                <a:moveTo>
                  <a:pt x="12098730" y="1726956"/>
                </a:moveTo>
                <a:lnTo>
                  <a:pt x="12130541" y="1242500"/>
                </a:lnTo>
                <a:moveTo>
                  <a:pt x="12098730" y="1726956"/>
                </a:moveTo>
                <a:lnTo>
                  <a:pt x="13382917" y="1811140"/>
                </a:lnTo>
                <a:moveTo>
                  <a:pt x="12066887" y="2211845"/>
                </a:moveTo>
                <a:lnTo>
                  <a:pt x="12035043" y="2696735"/>
                </a:lnTo>
                <a:moveTo>
                  <a:pt x="12066887" y="2211845"/>
                </a:moveTo>
                <a:lnTo>
                  <a:pt x="13351074" y="2296029"/>
                </a:lnTo>
                <a:lnTo>
                  <a:pt x="13382917" y="1811140"/>
                </a:lnTo>
                <a:moveTo>
                  <a:pt x="11684864" y="8028316"/>
                </a:moveTo>
                <a:lnTo>
                  <a:pt x="11700769" y="7786092"/>
                </a:lnTo>
                <a:cubicBezTo>
                  <a:pt x="11708731" y="7664751"/>
                  <a:pt x="11645721" y="7561345"/>
                  <a:pt x="11645721" y="7561345"/>
                </a:cubicBezTo>
                <a:moveTo>
                  <a:pt x="11684864" y="8028316"/>
                </a:moveTo>
                <a:lnTo>
                  <a:pt x="11653068" y="8512733"/>
                </a:lnTo>
                <a:moveTo>
                  <a:pt x="12162401" y="757600"/>
                </a:moveTo>
                <a:lnTo>
                  <a:pt x="12130541" y="1242500"/>
                </a:lnTo>
                <a:moveTo>
                  <a:pt x="12130541" y="1242500"/>
                </a:moveTo>
                <a:lnTo>
                  <a:pt x="13414713" y="1326681"/>
                </a:lnTo>
                <a:moveTo>
                  <a:pt x="11971389" y="3666073"/>
                </a:moveTo>
                <a:lnTo>
                  <a:pt x="11939593" y="4150506"/>
                </a:lnTo>
                <a:moveTo>
                  <a:pt x="11971389" y="3666073"/>
                </a:moveTo>
                <a:lnTo>
                  <a:pt x="10687203" y="3581889"/>
                </a:lnTo>
                <a:moveTo>
                  <a:pt x="11971389" y="3666073"/>
                </a:moveTo>
                <a:lnTo>
                  <a:pt x="12035043" y="2696750"/>
                </a:lnTo>
                <a:moveTo>
                  <a:pt x="11939562" y="4150506"/>
                </a:moveTo>
                <a:lnTo>
                  <a:pt x="11923656" y="4392731"/>
                </a:lnTo>
                <a:cubicBezTo>
                  <a:pt x="11915679" y="4514071"/>
                  <a:pt x="11839674" y="4608362"/>
                  <a:pt x="11839674" y="4608362"/>
                </a:cubicBezTo>
                <a:moveTo>
                  <a:pt x="11939593" y="4150506"/>
                </a:moveTo>
                <a:lnTo>
                  <a:pt x="12272294" y="4172322"/>
                </a:lnTo>
                <a:cubicBezTo>
                  <a:pt x="12530610" y="4182665"/>
                  <a:pt x="12814744" y="4213990"/>
                  <a:pt x="13140632" y="4177462"/>
                </a:cubicBezTo>
                <a:moveTo>
                  <a:pt x="11123456" y="6044043"/>
                </a:moveTo>
                <a:cubicBezTo>
                  <a:pt x="11111908" y="6219734"/>
                  <a:pt x="11124101" y="6399324"/>
                  <a:pt x="11191500" y="6598074"/>
                </a:cubicBezTo>
                <a:cubicBezTo>
                  <a:pt x="10929801" y="6549836"/>
                  <a:pt x="10727667" y="6511642"/>
                  <a:pt x="10491927" y="6490078"/>
                </a:cubicBezTo>
                <a:moveTo>
                  <a:pt x="11123456" y="6044043"/>
                </a:moveTo>
                <a:lnTo>
                  <a:pt x="11503937" y="6068971"/>
                </a:lnTo>
                <a:moveTo>
                  <a:pt x="11646287" y="7561361"/>
                </a:moveTo>
                <a:cubicBezTo>
                  <a:pt x="11572296" y="7413945"/>
                  <a:pt x="11506029" y="7278805"/>
                  <a:pt x="11412797" y="7108001"/>
                </a:cubicBezTo>
                <a:cubicBezTo>
                  <a:pt x="11288272" y="7064542"/>
                  <a:pt x="11223674" y="7057956"/>
                  <a:pt x="11130048" y="7039111"/>
                </a:cubicBezTo>
                <a:cubicBezTo>
                  <a:pt x="11036422" y="7020281"/>
                  <a:pt x="10940909" y="7014009"/>
                  <a:pt x="10846071" y="7005444"/>
                </a:cubicBezTo>
                <a:cubicBezTo>
                  <a:pt x="10718935" y="6993813"/>
                  <a:pt x="10591736" y="6983124"/>
                  <a:pt x="10464379" y="6974779"/>
                </a:cubicBezTo>
                <a:moveTo>
                  <a:pt x="11191531" y="6598058"/>
                </a:moveTo>
                <a:cubicBezTo>
                  <a:pt x="11264594" y="6808470"/>
                  <a:pt x="11334700" y="6974448"/>
                  <a:pt x="11412813" y="7107545"/>
                </a:cubicBezTo>
                <a:cubicBezTo>
                  <a:pt x="11640780" y="7182723"/>
                  <a:pt x="11842978" y="7251959"/>
                  <a:pt x="12088126" y="7357425"/>
                </a:cubicBezTo>
                <a:moveTo>
                  <a:pt x="12035043" y="2696735"/>
                </a:moveTo>
                <a:lnTo>
                  <a:pt x="13319230" y="2780918"/>
                </a:lnTo>
                <a:moveTo>
                  <a:pt x="11840162" y="4608393"/>
                </a:moveTo>
                <a:cubicBezTo>
                  <a:pt x="11747654" y="4742999"/>
                  <a:pt x="11684817" y="4864040"/>
                  <a:pt x="11549389" y="5027378"/>
                </a:cubicBezTo>
                <a:moveTo>
                  <a:pt x="11263368" y="5504110"/>
                </a:moveTo>
                <a:cubicBezTo>
                  <a:pt x="11162599" y="5699826"/>
                  <a:pt x="11137694" y="5827595"/>
                  <a:pt x="11123440" y="6044498"/>
                </a:cubicBezTo>
                <a:moveTo>
                  <a:pt x="11549436" y="5027394"/>
                </a:moveTo>
                <a:cubicBezTo>
                  <a:pt x="11442658" y="5168130"/>
                  <a:pt x="11370523" y="5300802"/>
                  <a:pt x="11263415" y="5503623"/>
                </a:cubicBezTo>
                <a:cubicBezTo>
                  <a:pt x="11433156" y="5475237"/>
                  <a:pt x="11595439" y="5438819"/>
                  <a:pt x="11752593" y="5391241"/>
                </a:cubicBezTo>
                <a:cubicBezTo>
                  <a:pt x="11916859" y="5154046"/>
                  <a:pt x="12064763" y="5019771"/>
                  <a:pt x="12251684" y="4867812"/>
                </a:cubicBezTo>
                <a:cubicBezTo>
                  <a:pt x="12599850" y="4751832"/>
                  <a:pt x="12974384" y="4729325"/>
                  <a:pt x="13275399" y="4617321"/>
                </a:cubicBezTo>
                <a:moveTo>
                  <a:pt x="13140664" y="4177494"/>
                </a:moveTo>
                <a:cubicBezTo>
                  <a:pt x="13039628" y="4287564"/>
                  <a:pt x="12912711" y="4402508"/>
                  <a:pt x="12761818" y="4492837"/>
                </a:cubicBezTo>
                <a:moveTo>
                  <a:pt x="11661721" y="6773813"/>
                </a:moveTo>
                <a:cubicBezTo>
                  <a:pt x="11570550" y="6612094"/>
                  <a:pt x="11483815" y="6325970"/>
                  <a:pt x="11503858" y="6069442"/>
                </a:cubicBezTo>
                <a:moveTo>
                  <a:pt x="12905427" y="9081823"/>
                </a:moveTo>
                <a:lnTo>
                  <a:pt x="12937271" y="8596917"/>
                </a:lnTo>
                <a:moveTo>
                  <a:pt x="12905427" y="9081823"/>
                </a:moveTo>
                <a:lnTo>
                  <a:pt x="14190133" y="9166037"/>
                </a:lnTo>
                <a:moveTo>
                  <a:pt x="12905427" y="9081823"/>
                </a:moveTo>
                <a:lnTo>
                  <a:pt x="11621240" y="8997639"/>
                </a:lnTo>
                <a:moveTo>
                  <a:pt x="12251620" y="4868269"/>
                </a:moveTo>
                <a:cubicBezTo>
                  <a:pt x="12427576" y="4720774"/>
                  <a:pt x="12519944" y="4653424"/>
                  <a:pt x="12762275" y="4493340"/>
                </a:cubicBezTo>
                <a:moveTo>
                  <a:pt x="11503937" y="6068971"/>
                </a:moveTo>
                <a:cubicBezTo>
                  <a:pt x="11514651" y="5857002"/>
                  <a:pt x="11607427" y="5604766"/>
                  <a:pt x="11752562" y="5391257"/>
                </a:cubicBezTo>
                <a:moveTo>
                  <a:pt x="11503937" y="6068971"/>
                </a:moveTo>
                <a:lnTo>
                  <a:pt x="11995302" y="6101176"/>
                </a:lnTo>
                <a:moveTo>
                  <a:pt x="13319215" y="2780934"/>
                </a:moveTo>
                <a:lnTo>
                  <a:pt x="13287403" y="3265368"/>
                </a:lnTo>
                <a:lnTo>
                  <a:pt x="10719045" y="3097000"/>
                </a:lnTo>
                <a:moveTo>
                  <a:pt x="12879185" y="8157877"/>
                </a:moveTo>
                <a:cubicBezTo>
                  <a:pt x="12879185" y="8157877"/>
                  <a:pt x="12961074" y="8233353"/>
                  <a:pt x="12953113" y="8354693"/>
                </a:cubicBezTo>
                <a:lnTo>
                  <a:pt x="12937192" y="8596917"/>
                </a:lnTo>
                <a:lnTo>
                  <a:pt x="11653021" y="8512733"/>
                </a:lnTo>
                <a:moveTo>
                  <a:pt x="13351074" y="2296013"/>
                </a:moveTo>
                <a:lnTo>
                  <a:pt x="13319230" y="2780918"/>
                </a:lnTo>
                <a:moveTo>
                  <a:pt x="13319230" y="2780918"/>
                </a:moveTo>
                <a:lnTo>
                  <a:pt x="14603952" y="2865118"/>
                </a:lnTo>
                <a:lnTo>
                  <a:pt x="14635795" y="2380244"/>
                </a:lnTo>
                <a:moveTo>
                  <a:pt x="13382917" y="1811140"/>
                </a:moveTo>
                <a:lnTo>
                  <a:pt x="13414713" y="1326681"/>
                </a:lnTo>
                <a:moveTo>
                  <a:pt x="13382917" y="1811140"/>
                </a:moveTo>
                <a:lnTo>
                  <a:pt x="14667607" y="1895339"/>
                </a:lnTo>
                <a:moveTo>
                  <a:pt x="13287451" y="3265336"/>
                </a:moveTo>
                <a:lnTo>
                  <a:pt x="13255607" y="3750241"/>
                </a:lnTo>
                <a:lnTo>
                  <a:pt x="11971436" y="3666057"/>
                </a:lnTo>
                <a:moveTo>
                  <a:pt x="13140585" y="4177934"/>
                </a:moveTo>
                <a:cubicBezTo>
                  <a:pt x="13140585" y="4177934"/>
                  <a:pt x="13231646" y="4113806"/>
                  <a:pt x="13239622" y="3992450"/>
                </a:cubicBezTo>
                <a:lnTo>
                  <a:pt x="13255529" y="3750241"/>
                </a:lnTo>
                <a:cubicBezTo>
                  <a:pt x="13572324" y="3771004"/>
                  <a:pt x="13888977" y="3794140"/>
                  <a:pt x="14206023" y="3811147"/>
                </a:cubicBezTo>
                <a:cubicBezTo>
                  <a:pt x="14394565" y="3821143"/>
                  <a:pt x="14533910" y="3825576"/>
                  <a:pt x="14533910" y="3825576"/>
                </a:cubicBezTo>
                <a:cubicBezTo>
                  <a:pt x="14515550" y="3983412"/>
                  <a:pt x="14406348" y="4023304"/>
                  <a:pt x="14311810" y="4099440"/>
                </a:cubicBezTo>
                <a:moveTo>
                  <a:pt x="12544864" y="7795774"/>
                </a:moveTo>
                <a:cubicBezTo>
                  <a:pt x="12713283" y="7957854"/>
                  <a:pt x="12784505" y="8017566"/>
                  <a:pt x="12879217" y="8157877"/>
                </a:cubicBezTo>
                <a:cubicBezTo>
                  <a:pt x="13224252" y="8227538"/>
                  <a:pt x="13645685" y="8302212"/>
                  <a:pt x="14029580" y="8388549"/>
                </a:cubicBezTo>
                <a:moveTo>
                  <a:pt x="12545383" y="7795805"/>
                </a:moveTo>
                <a:cubicBezTo>
                  <a:pt x="12356071" y="7635187"/>
                  <a:pt x="12267920" y="7549416"/>
                  <a:pt x="12088126" y="7357425"/>
                </a:cubicBezTo>
                <a:moveTo>
                  <a:pt x="12088126" y="7357425"/>
                </a:moveTo>
                <a:cubicBezTo>
                  <a:pt x="11960581" y="7246489"/>
                  <a:pt x="11789393" y="7005192"/>
                  <a:pt x="11661799" y="6773325"/>
                </a:cubicBezTo>
                <a:moveTo>
                  <a:pt x="12088126" y="7357425"/>
                </a:moveTo>
                <a:cubicBezTo>
                  <a:pt x="12418262" y="7515984"/>
                  <a:pt x="12786661" y="7587185"/>
                  <a:pt x="13070307" y="7739410"/>
                </a:cubicBezTo>
                <a:moveTo>
                  <a:pt x="12873584" y="9566240"/>
                </a:moveTo>
                <a:lnTo>
                  <a:pt x="12905396" y="9081806"/>
                </a:lnTo>
                <a:moveTo>
                  <a:pt x="12873584" y="9566240"/>
                </a:moveTo>
                <a:lnTo>
                  <a:pt x="14158290" y="9650455"/>
                </a:lnTo>
                <a:moveTo>
                  <a:pt x="12873631" y="9566240"/>
                </a:moveTo>
                <a:lnTo>
                  <a:pt x="12841773" y="10051145"/>
                </a:lnTo>
                <a:lnTo>
                  <a:pt x="11557601" y="9966962"/>
                </a:lnTo>
                <a:moveTo>
                  <a:pt x="13446556" y="841781"/>
                </a:moveTo>
                <a:lnTo>
                  <a:pt x="13414713" y="1326681"/>
                </a:lnTo>
                <a:moveTo>
                  <a:pt x="14190133" y="9166037"/>
                </a:moveTo>
                <a:lnTo>
                  <a:pt x="14206039" y="8923813"/>
                </a:lnTo>
                <a:cubicBezTo>
                  <a:pt x="14214000" y="8802473"/>
                  <a:pt x="14214503" y="8689589"/>
                  <a:pt x="14214503" y="8689589"/>
                </a:cubicBezTo>
                <a:moveTo>
                  <a:pt x="14190133" y="9166037"/>
                </a:moveTo>
                <a:lnTo>
                  <a:pt x="14158290" y="9650455"/>
                </a:lnTo>
                <a:moveTo>
                  <a:pt x="14190133" y="9166037"/>
                </a:moveTo>
                <a:lnTo>
                  <a:pt x="15474273" y="9250206"/>
                </a:lnTo>
                <a:moveTo>
                  <a:pt x="14603889" y="2865133"/>
                </a:moveTo>
                <a:lnTo>
                  <a:pt x="14572062" y="3349567"/>
                </a:lnTo>
                <a:moveTo>
                  <a:pt x="14572062" y="3349567"/>
                </a:moveTo>
                <a:lnTo>
                  <a:pt x="13287355" y="3265352"/>
                </a:lnTo>
                <a:moveTo>
                  <a:pt x="14572062" y="3349567"/>
                </a:moveTo>
                <a:lnTo>
                  <a:pt x="15856264" y="3433766"/>
                </a:lnTo>
                <a:moveTo>
                  <a:pt x="14731277" y="925990"/>
                </a:moveTo>
                <a:lnTo>
                  <a:pt x="14699434" y="1410890"/>
                </a:lnTo>
                <a:moveTo>
                  <a:pt x="14699434" y="1410890"/>
                </a:moveTo>
                <a:lnTo>
                  <a:pt x="14667607" y="1895339"/>
                </a:lnTo>
                <a:moveTo>
                  <a:pt x="14699434" y="1410890"/>
                </a:moveTo>
                <a:lnTo>
                  <a:pt x="15983542" y="1495075"/>
                </a:lnTo>
                <a:moveTo>
                  <a:pt x="14699434" y="1410890"/>
                </a:moveTo>
                <a:lnTo>
                  <a:pt x="13414728" y="1326676"/>
                </a:lnTo>
                <a:moveTo>
                  <a:pt x="14029580" y="8388549"/>
                </a:moveTo>
                <a:cubicBezTo>
                  <a:pt x="13853232" y="8290408"/>
                  <a:pt x="13815819" y="8235255"/>
                  <a:pt x="13647070" y="8118803"/>
                </a:cubicBezTo>
                <a:moveTo>
                  <a:pt x="14029580" y="8388549"/>
                </a:moveTo>
                <a:cubicBezTo>
                  <a:pt x="14485484" y="8498415"/>
                  <a:pt x="14918922" y="8536719"/>
                  <a:pt x="15397386" y="8603361"/>
                </a:cubicBezTo>
                <a:moveTo>
                  <a:pt x="14126447" y="10135345"/>
                </a:moveTo>
                <a:lnTo>
                  <a:pt x="14158290" y="9650455"/>
                </a:lnTo>
                <a:moveTo>
                  <a:pt x="14126447" y="10135345"/>
                </a:moveTo>
                <a:lnTo>
                  <a:pt x="15410602" y="10219528"/>
                </a:lnTo>
                <a:moveTo>
                  <a:pt x="14126447" y="10135345"/>
                </a:moveTo>
                <a:lnTo>
                  <a:pt x="12841741" y="10051145"/>
                </a:lnTo>
                <a:moveTo>
                  <a:pt x="14158290" y="9650455"/>
                </a:moveTo>
                <a:lnTo>
                  <a:pt x="15442445" y="9734623"/>
                </a:lnTo>
                <a:moveTo>
                  <a:pt x="14667607" y="1895339"/>
                </a:moveTo>
                <a:lnTo>
                  <a:pt x="15951762" y="1979523"/>
                </a:lnTo>
                <a:moveTo>
                  <a:pt x="14667638" y="1895339"/>
                </a:moveTo>
                <a:lnTo>
                  <a:pt x="14635795" y="2380244"/>
                </a:lnTo>
                <a:moveTo>
                  <a:pt x="14635795" y="2380244"/>
                </a:moveTo>
                <a:lnTo>
                  <a:pt x="13351089" y="2296029"/>
                </a:lnTo>
                <a:moveTo>
                  <a:pt x="14030052" y="8388596"/>
                </a:moveTo>
                <a:cubicBezTo>
                  <a:pt x="14113971" y="8474084"/>
                  <a:pt x="14217020" y="8527885"/>
                  <a:pt x="14214425" y="8689101"/>
                </a:cubicBezTo>
                <a:lnTo>
                  <a:pt x="12937176" y="8596886"/>
                </a:lnTo>
                <a:moveTo>
                  <a:pt x="14572109" y="3349551"/>
                </a:moveTo>
                <a:lnTo>
                  <a:pt x="14556188" y="3591776"/>
                </a:lnTo>
                <a:cubicBezTo>
                  <a:pt x="14548226" y="3713116"/>
                  <a:pt x="14533957" y="3825104"/>
                  <a:pt x="14533957" y="3825104"/>
                </a:cubicBezTo>
                <a:cubicBezTo>
                  <a:pt x="14972806" y="3853867"/>
                  <a:pt x="15465950" y="3842896"/>
                  <a:pt x="15812999" y="3865656"/>
                </a:cubicBezTo>
                <a:cubicBezTo>
                  <a:pt x="15778701" y="3966909"/>
                  <a:pt x="15751169" y="4019217"/>
                  <a:pt x="15695947" y="4065002"/>
                </a:cubicBezTo>
                <a:cubicBezTo>
                  <a:pt x="15202331" y="4075471"/>
                  <a:pt x="14777830" y="4047650"/>
                  <a:pt x="14311842" y="4099440"/>
                </a:cubicBezTo>
                <a:moveTo>
                  <a:pt x="11994799" y="6101616"/>
                </a:moveTo>
                <a:cubicBezTo>
                  <a:pt x="11996514" y="6505434"/>
                  <a:pt x="12175899" y="6898312"/>
                  <a:pt x="12359705" y="7093871"/>
                </a:cubicBezTo>
                <a:cubicBezTo>
                  <a:pt x="12590882" y="7371570"/>
                  <a:pt x="12830634" y="7583491"/>
                  <a:pt x="13070307" y="7739882"/>
                </a:cubicBezTo>
                <a:moveTo>
                  <a:pt x="12486354" y="5165033"/>
                </a:moveTo>
                <a:cubicBezTo>
                  <a:pt x="12743631" y="4996509"/>
                  <a:pt x="12974353" y="4729325"/>
                  <a:pt x="13275368" y="4617305"/>
                </a:cubicBezTo>
                <a:moveTo>
                  <a:pt x="12486354" y="5165033"/>
                </a:moveTo>
                <a:cubicBezTo>
                  <a:pt x="12200427" y="5250270"/>
                  <a:pt x="12017722" y="5305581"/>
                  <a:pt x="11752027" y="5391210"/>
                </a:cubicBezTo>
                <a:moveTo>
                  <a:pt x="13275368" y="4617305"/>
                </a:moveTo>
                <a:cubicBezTo>
                  <a:pt x="13537900" y="4498542"/>
                  <a:pt x="13688809" y="4399741"/>
                  <a:pt x="13897330" y="4316485"/>
                </a:cubicBezTo>
                <a:moveTo>
                  <a:pt x="13275368" y="4617305"/>
                </a:moveTo>
                <a:cubicBezTo>
                  <a:pt x="13894924" y="4507360"/>
                  <a:pt x="14487875" y="4405070"/>
                  <a:pt x="15121623" y="4395796"/>
                </a:cubicBezTo>
                <a:moveTo>
                  <a:pt x="11995302" y="6101176"/>
                </a:moveTo>
                <a:cubicBezTo>
                  <a:pt x="12001470" y="5747749"/>
                  <a:pt x="12143206" y="5463904"/>
                  <a:pt x="12486872" y="5165065"/>
                </a:cubicBezTo>
                <a:moveTo>
                  <a:pt x="11995302" y="6101176"/>
                </a:moveTo>
                <a:lnTo>
                  <a:pt x="13443441" y="6196111"/>
                </a:lnTo>
                <a:cubicBezTo>
                  <a:pt x="13446524" y="5654276"/>
                  <a:pt x="13907966" y="5119892"/>
                  <a:pt x="14385691" y="4808195"/>
                </a:cubicBezTo>
                <a:cubicBezTo>
                  <a:pt x="14631658" y="4649762"/>
                  <a:pt x="14853191" y="4523109"/>
                  <a:pt x="15121623" y="4395796"/>
                </a:cubicBezTo>
                <a:moveTo>
                  <a:pt x="13897330" y="4316485"/>
                </a:moveTo>
                <a:cubicBezTo>
                  <a:pt x="14036660" y="4247972"/>
                  <a:pt x="14196395" y="4169053"/>
                  <a:pt x="14311857" y="4098984"/>
                </a:cubicBezTo>
                <a:moveTo>
                  <a:pt x="13897330" y="4316485"/>
                </a:moveTo>
                <a:cubicBezTo>
                  <a:pt x="13516346" y="4372440"/>
                  <a:pt x="13124175" y="4436143"/>
                  <a:pt x="12762306" y="4492884"/>
                </a:cubicBezTo>
                <a:cubicBezTo>
                  <a:pt x="12452922" y="4553994"/>
                  <a:pt x="12164493" y="4596259"/>
                  <a:pt x="11840209" y="4608409"/>
                </a:cubicBezTo>
                <a:moveTo>
                  <a:pt x="13647557" y="8119305"/>
                </a:moveTo>
                <a:cubicBezTo>
                  <a:pt x="13451842" y="8007663"/>
                  <a:pt x="13301877" y="7856679"/>
                  <a:pt x="13070260" y="7739866"/>
                </a:cubicBezTo>
                <a:moveTo>
                  <a:pt x="15121623" y="4395796"/>
                </a:moveTo>
                <a:cubicBezTo>
                  <a:pt x="15226041" y="4347590"/>
                  <a:pt x="15383117" y="4260483"/>
                  <a:pt x="15490320" y="4210579"/>
                </a:cubicBezTo>
                <a:moveTo>
                  <a:pt x="15121623" y="4395796"/>
                </a:moveTo>
                <a:cubicBezTo>
                  <a:pt x="15831092" y="4353814"/>
                  <a:pt x="16956456" y="4396063"/>
                  <a:pt x="17654676" y="4542536"/>
                </a:cubicBezTo>
                <a:moveTo>
                  <a:pt x="15489786" y="4210564"/>
                </a:moveTo>
                <a:cubicBezTo>
                  <a:pt x="15577951" y="4166460"/>
                  <a:pt x="15633000" y="4123488"/>
                  <a:pt x="15695475" y="4065002"/>
                </a:cubicBezTo>
                <a:moveTo>
                  <a:pt x="14871157" y="8200471"/>
                </a:moveTo>
                <a:cubicBezTo>
                  <a:pt x="15024268" y="8279201"/>
                  <a:pt x="15115456" y="8359518"/>
                  <a:pt x="15212479" y="8432228"/>
                </a:cubicBezTo>
                <a:cubicBezTo>
                  <a:pt x="15913846" y="8512090"/>
                  <a:pt x="16415407" y="8544954"/>
                  <a:pt x="17080274" y="8565010"/>
                </a:cubicBezTo>
                <a:moveTo>
                  <a:pt x="14196065" y="7695574"/>
                </a:moveTo>
                <a:cubicBezTo>
                  <a:pt x="13763350" y="7321840"/>
                  <a:pt x="13372675" y="6778653"/>
                  <a:pt x="13443425" y="6196566"/>
                </a:cubicBezTo>
                <a:moveTo>
                  <a:pt x="14196065" y="7695574"/>
                </a:moveTo>
                <a:cubicBezTo>
                  <a:pt x="13503084" y="7535804"/>
                  <a:pt x="12931371" y="7371759"/>
                  <a:pt x="12359657" y="7093855"/>
                </a:cubicBezTo>
                <a:moveTo>
                  <a:pt x="14196065" y="7695574"/>
                </a:moveTo>
                <a:cubicBezTo>
                  <a:pt x="15477577" y="7998830"/>
                  <a:pt x="16804162" y="8085796"/>
                  <a:pt x="18066716" y="7989289"/>
                </a:cubicBezTo>
                <a:moveTo>
                  <a:pt x="14196048" y="7695558"/>
                </a:moveTo>
                <a:cubicBezTo>
                  <a:pt x="14419296" y="7882865"/>
                  <a:pt x="14622328" y="8037338"/>
                  <a:pt x="14871692" y="8200488"/>
                </a:cubicBezTo>
                <a:cubicBezTo>
                  <a:pt x="14049246" y="8088704"/>
                  <a:pt x="13586499" y="7944966"/>
                  <a:pt x="13070244" y="7739850"/>
                </a:cubicBezTo>
                <a:moveTo>
                  <a:pt x="15397921" y="8603409"/>
                </a:moveTo>
                <a:cubicBezTo>
                  <a:pt x="15328839" y="8519351"/>
                  <a:pt x="15293676" y="8494942"/>
                  <a:pt x="15213046" y="8432244"/>
                </a:cubicBezTo>
                <a:moveTo>
                  <a:pt x="15397921" y="8603409"/>
                </a:moveTo>
                <a:cubicBezTo>
                  <a:pt x="15397921" y="8603409"/>
                  <a:pt x="15483130" y="8693220"/>
                  <a:pt x="15487834" y="8816336"/>
                </a:cubicBezTo>
                <a:lnTo>
                  <a:pt x="14214487" y="8689086"/>
                </a:lnTo>
                <a:moveTo>
                  <a:pt x="15397921" y="8603409"/>
                </a:moveTo>
                <a:cubicBezTo>
                  <a:pt x="15872626" y="8661831"/>
                  <a:pt x="16402820" y="8688582"/>
                  <a:pt x="16902492" y="8707695"/>
                </a:cubicBezTo>
                <a:moveTo>
                  <a:pt x="15410602" y="10219528"/>
                </a:moveTo>
                <a:lnTo>
                  <a:pt x="15442445" y="9734623"/>
                </a:lnTo>
                <a:moveTo>
                  <a:pt x="15442445" y="9734623"/>
                </a:moveTo>
                <a:lnTo>
                  <a:pt x="15474273" y="9250206"/>
                </a:lnTo>
                <a:moveTo>
                  <a:pt x="15474273" y="9250206"/>
                </a:moveTo>
                <a:cubicBezTo>
                  <a:pt x="15483759" y="9105917"/>
                  <a:pt x="15498060" y="8960986"/>
                  <a:pt x="15487866" y="8816336"/>
                </a:cubicBezTo>
                <a:moveTo>
                  <a:pt x="15888044" y="2949333"/>
                </a:moveTo>
                <a:lnTo>
                  <a:pt x="15856264" y="3433766"/>
                </a:lnTo>
                <a:moveTo>
                  <a:pt x="15856264" y="3433766"/>
                </a:moveTo>
                <a:cubicBezTo>
                  <a:pt x="15846824" y="3578054"/>
                  <a:pt x="15842576" y="3723631"/>
                  <a:pt x="15812999" y="3865671"/>
                </a:cubicBezTo>
                <a:lnTo>
                  <a:pt x="17124954" y="3949352"/>
                </a:lnTo>
                <a:moveTo>
                  <a:pt x="15919982" y="2464396"/>
                </a:moveTo>
                <a:lnTo>
                  <a:pt x="15888044" y="2949301"/>
                </a:lnTo>
                <a:lnTo>
                  <a:pt x="14603921" y="2865118"/>
                </a:lnTo>
                <a:moveTo>
                  <a:pt x="15919982" y="2464396"/>
                </a:moveTo>
                <a:lnTo>
                  <a:pt x="15951762" y="1979523"/>
                </a:lnTo>
                <a:moveTo>
                  <a:pt x="15919982" y="2464396"/>
                </a:moveTo>
                <a:lnTo>
                  <a:pt x="14635747" y="2380244"/>
                </a:lnTo>
                <a:moveTo>
                  <a:pt x="16015479" y="1010175"/>
                </a:moveTo>
                <a:lnTo>
                  <a:pt x="15983542" y="1495075"/>
                </a:lnTo>
                <a:moveTo>
                  <a:pt x="15951762" y="1979523"/>
                </a:moveTo>
                <a:lnTo>
                  <a:pt x="15983542" y="1495086"/>
                </a:lnTo>
                <a:moveTo>
                  <a:pt x="24431722" y="10323878"/>
                </a:moveTo>
                <a:lnTo>
                  <a:pt x="24442890" y="10324617"/>
                </a:lnTo>
                <a:moveTo>
                  <a:pt x="24474672" y="9840199"/>
                </a:moveTo>
                <a:lnTo>
                  <a:pt x="24463658" y="9839460"/>
                </a:lnTo>
                <a:moveTo>
                  <a:pt x="11684880" y="8028300"/>
                </a:moveTo>
                <a:cubicBezTo>
                  <a:pt x="11895022" y="8042069"/>
                  <a:pt x="12369051" y="8070785"/>
                  <a:pt x="12879185" y="8158364"/>
                </a:cubicBezTo>
                <a:moveTo>
                  <a:pt x="20674580" y="8617586"/>
                </a:moveTo>
                <a:lnTo>
                  <a:pt x="20341988" y="8595770"/>
                </a:lnTo>
                <a:cubicBezTo>
                  <a:pt x="20054866" y="8576956"/>
                  <a:pt x="19729040" y="8587141"/>
                  <a:pt x="19488328" y="8602418"/>
                </a:cubicBezTo>
                <a:moveTo>
                  <a:pt x="11646271" y="7561376"/>
                </a:moveTo>
                <a:cubicBezTo>
                  <a:pt x="12028640" y="7638676"/>
                  <a:pt x="12246743" y="7693436"/>
                  <a:pt x="12545352" y="7796293"/>
                </a:cubicBezTo>
                <a:moveTo>
                  <a:pt x="10432568" y="7459228"/>
                </a:moveTo>
                <a:cubicBezTo>
                  <a:pt x="10833737" y="7485523"/>
                  <a:pt x="11250341" y="7487881"/>
                  <a:pt x="11645783" y="7560874"/>
                </a:cubicBezTo>
                <a:moveTo>
                  <a:pt x="19877714" y="8295736"/>
                </a:moveTo>
                <a:cubicBezTo>
                  <a:pt x="19360108" y="8388361"/>
                  <a:pt x="19115936" y="8411890"/>
                  <a:pt x="18710818" y="8471900"/>
                </a:cubicBezTo>
                <a:moveTo>
                  <a:pt x="12545414" y="7795821"/>
                </a:moveTo>
                <a:cubicBezTo>
                  <a:pt x="12938812" y="7916187"/>
                  <a:pt x="13113634" y="7980818"/>
                  <a:pt x="13647621" y="8118850"/>
                </a:cubicBezTo>
                <a:moveTo>
                  <a:pt x="18710188" y="8471883"/>
                </a:moveTo>
                <a:cubicBezTo>
                  <a:pt x="18160170" y="8553914"/>
                  <a:pt x="17625572" y="8563109"/>
                  <a:pt x="17080274" y="8564539"/>
                </a:cubicBezTo>
                <a:moveTo>
                  <a:pt x="20800442" y="8170357"/>
                </a:moveTo>
                <a:cubicBezTo>
                  <a:pt x="20474932" y="8185257"/>
                  <a:pt x="20238310" y="8226201"/>
                  <a:pt x="19877714" y="8295264"/>
                </a:cubicBezTo>
                <a:moveTo>
                  <a:pt x="13647557" y="8119337"/>
                </a:moveTo>
                <a:cubicBezTo>
                  <a:pt x="14179372" y="8290643"/>
                  <a:pt x="14704311" y="8355636"/>
                  <a:pt x="15213031" y="8432275"/>
                </a:cubicBezTo>
                <a:moveTo>
                  <a:pt x="24570168" y="8385956"/>
                </a:moveTo>
                <a:lnTo>
                  <a:pt x="24558998" y="8385217"/>
                </a:lnTo>
                <a:moveTo>
                  <a:pt x="11191453" y="6598058"/>
                </a:moveTo>
                <a:cubicBezTo>
                  <a:pt x="11397914" y="6659577"/>
                  <a:pt x="11512259" y="6703775"/>
                  <a:pt x="11661705" y="6773325"/>
                </a:cubicBezTo>
                <a:moveTo>
                  <a:pt x="11661752" y="6773797"/>
                </a:moveTo>
                <a:cubicBezTo>
                  <a:pt x="11943148" y="6895279"/>
                  <a:pt x="12096276" y="6957552"/>
                  <a:pt x="12360192" y="7093886"/>
                </a:cubicBezTo>
                <a:moveTo>
                  <a:pt x="21415434" y="7277170"/>
                </a:moveTo>
                <a:cubicBezTo>
                  <a:pt x="21278718" y="7298782"/>
                  <a:pt x="21106444" y="7333125"/>
                  <a:pt x="20922056" y="7397268"/>
                </a:cubicBezTo>
                <a:moveTo>
                  <a:pt x="20922686" y="7397316"/>
                </a:moveTo>
                <a:cubicBezTo>
                  <a:pt x="20627224" y="7489940"/>
                  <a:pt x="20428046" y="7537108"/>
                  <a:pt x="20142814" y="7635564"/>
                </a:cubicBezTo>
                <a:moveTo>
                  <a:pt x="24622718" y="7415894"/>
                </a:moveTo>
                <a:lnTo>
                  <a:pt x="24633886" y="7416633"/>
                </a:lnTo>
                <a:moveTo>
                  <a:pt x="20142814" y="7635108"/>
                </a:moveTo>
                <a:cubicBezTo>
                  <a:pt x="19805030" y="7748008"/>
                  <a:pt x="18872548" y="7914615"/>
                  <a:pt x="18066244" y="7988802"/>
                </a:cubicBezTo>
                <a:moveTo>
                  <a:pt x="24665668" y="6931728"/>
                </a:moveTo>
                <a:lnTo>
                  <a:pt x="24654654" y="6931005"/>
                </a:lnTo>
                <a:moveTo>
                  <a:pt x="18998254" y="6560194"/>
                </a:moveTo>
                <a:cubicBezTo>
                  <a:pt x="17124166" y="6459947"/>
                  <a:pt x="15319918" y="6341672"/>
                  <a:pt x="13443409" y="6196079"/>
                </a:cubicBezTo>
                <a:moveTo>
                  <a:pt x="9275737" y="5436398"/>
                </a:moveTo>
                <a:lnTo>
                  <a:pt x="10227192" y="5498766"/>
                </a:lnTo>
                <a:cubicBezTo>
                  <a:pt x="10417700" y="5511246"/>
                  <a:pt x="10555661" y="5520299"/>
                  <a:pt x="10555661" y="5520299"/>
                </a:cubicBezTo>
                <a:moveTo>
                  <a:pt x="10555676" y="5519796"/>
                </a:moveTo>
                <a:cubicBezTo>
                  <a:pt x="10790220" y="5527168"/>
                  <a:pt x="11036438" y="5551310"/>
                  <a:pt x="11263383" y="5504063"/>
                </a:cubicBezTo>
                <a:moveTo>
                  <a:pt x="24761164" y="5477971"/>
                </a:moveTo>
                <a:lnTo>
                  <a:pt x="24749994" y="5477249"/>
                </a:lnTo>
                <a:moveTo>
                  <a:pt x="15489769" y="4210548"/>
                </a:moveTo>
                <a:cubicBezTo>
                  <a:pt x="14977762" y="4248978"/>
                  <a:pt x="14447096" y="4214194"/>
                  <a:pt x="13896795" y="4316454"/>
                </a:cubicBezTo>
                <a:moveTo>
                  <a:pt x="11840225" y="4608393"/>
                </a:moveTo>
                <a:cubicBezTo>
                  <a:pt x="11840225" y="4608393"/>
                  <a:pt x="11736420" y="4614774"/>
                  <a:pt x="11564650" y="4609163"/>
                </a:cubicBezTo>
                <a:cubicBezTo>
                  <a:pt x="11479032" y="4606365"/>
                  <a:pt x="10623579" y="4550772"/>
                  <a:pt x="10623579" y="4550772"/>
                </a:cubicBezTo>
                <a:moveTo>
                  <a:pt x="17200786" y="4157957"/>
                </a:moveTo>
                <a:cubicBezTo>
                  <a:pt x="16699226" y="4126505"/>
                  <a:pt x="16197666" y="4094112"/>
                  <a:pt x="15695475" y="4064971"/>
                </a:cubicBezTo>
                <a:moveTo>
                  <a:pt x="24792944" y="4993051"/>
                </a:moveTo>
                <a:lnTo>
                  <a:pt x="24781932" y="4992328"/>
                </a:lnTo>
                <a:moveTo>
                  <a:pt x="14311291" y="4099408"/>
                </a:moveTo>
                <a:cubicBezTo>
                  <a:pt x="13919514" y="4133013"/>
                  <a:pt x="13491913" y="4152031"/>
                  <a:pt x="13140600" y="4177934"/>
                </a:cubicBezTo>
                <a:moveTo>
                  <a:pt x="5533323" y="3742335"/>
                </a:moveTo>
                <a:cubicBezTo>
                  <a:pt x="5601697" y="3723757"/>
                  <a:pt x="5708680" y="3742068"/>
                  <a:pt x="5816937" y="3749157"/>
                </a:cubicBezTo>
                <a:lnTo>
                  <a:pt x="6803413" y="3813819"/>
                </a:lnTo>
                <a:moveTo>
                  <a:pt x="17402166" y="8385657"/>
                </a:moveTo>
                <a:cubicBezTo>
                  <a:pt x="16570374" y="8400321"/>
                  <a:pt x="15721277" y="8344665"/>
                  <a:pt x="14871708" y="8200471"/>
                </a:cubicBezTo>
                <a:moveTo>
                  <a:pt x="21113996" y="7756165"/>
                </a:moveTo>
                <a:cubicBezTo>
                  <a:pt x="20895784" y="7806320"/>
                  <a:pt x="20741758" y="7839045"/>
                  <a:pt x="20402560" y="7924564"/>
                </a:cubicBezTo>
                <a:moveTo>
                  <a:pt x="24729384" y="5962405"/>
                </a:moveTo>
                <a:lnTo>
                  <a:pt x="24718214" y="5961666"/>
                </a:lnTo>
                <a:moveTo>
                  <a:pt x="12251605" y="4868284"/>
                </a:moveTo>
                <a:cubicBezTo>
                  <a:pt x="12003735" y="4901448"/>
                  <a:pt x="11785333" y="4981231"/>
                  <a:pt x="11549373" y="5027865"/>
                </a:cubicBezTo>
                <a:moveTo>
                  <a:pt x="4229596" y="3720409"/>
                </a:moveTo>
                <a:cubicBezTo>
                  <a:pt x="4780038" y="3721666"/>
                  <a:pt x="5123044" y="3367736"/>
                  <a:pt x="5592446" y="3263937"/>
                </a:cubicBezTo>
                <a:moveTo>
                  <a:pt x="1697927" y="2992635"/>
                </a:moveTo>
                <a:lnTo>
                  <a:pt x="2684403" y="3057297"/>
                </a:lnTo>
                <a:cubicBezTo>
                  <a:pt x="2848904" y="3068080"/>
                  <a:pt x="2903450" y="3081534"/>
                  <a:pt x="2938046" y="3090399"/>
                </a:cubicBezTo>
                <a:moveTo>
                  <a:pt x="24824882" y="4508602"/>
                </a:moveTo>
                <a:lnTo>
                  <a:pt x="24813712" y="4507879"/>
                </a:lnTo>
                <a:moveTo>
                  <a:pt x="24888442" y="3539279"/>
                </a:moveTo>
                <a:lnTo>
                  <a:pt x="24877430" y="3538556"/>
                </a:lnTo>
                <a:moveTo>
                  <a:pt x="24920380" y="3054405"/>
                </a:moveTo>
                <a:lnTo>
                  <a:pt x="24909210" y="3053682"/>
                </a:lnTo>
                <a:moveTo>
                  <a:pt x="24984098" y="2085067"/>
                </a:moveTo>
                <a:lnTo>
                  <a:pt x="24972926" y="2084328"/>
                </a:lnTo>
              </a:path>
            </a:pathLst>
          </a:custGeom>
          <a:noFill/>
          <a:ln w="50800" cap="flat">
            <a:solidFill>
              <a:schemeClr val="bg2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1" name="Заголовок 20">
            <a:extLst>
              <a:ext uri="{FF2B5EF4-FFF2-40B4-BE49-F238E27FC236}">
                <a16:creationId xmlns:a16="http://schemas.microsoft.com/office/drawing/2014/main" id="{7436C6E8-2BF2-A7DD-A6E8-F7A22E55EA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2338" y="791369"/>
            <a:ext cx="21029613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4" name="Текст 11">
            <a:extLst>
              <a:ext uri="{FF2B5EF4-FFF2-40B4-BE49-F238E27FC236}">
                <a16:creationId xmlns:a16="http://schemas.microsoft.com/office/drawing/2014/main" id="{7383184D-C523-AA74-47DA-77258BF79F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8071" y="6496035"/>
            <a:ext cx="17280756" cy="824071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59500" b="1" i="0" kern="1200" dirty="0">
                <a:solidFill>
                  <a:schemeClr val="bg1"/>
                </a:solidFill>
                <a:latin typeface="YS Text Wide" pitchFamily="2" charset="0"/>
                <a:ea typeface="YS Text Wide" pitchFamily="2" charset="0"/>
                <a:cs typeface="YS Text Wide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5" name="Текст 11">
            <a:extLst>
              <a:ext uri="{FF2B5EF4-FFF2-40B4-BE49-F238E27FC236}">
                <a16:creationId xmlns:a16="http://schemas.microsoft.com/office/drawing/2014/main" id="{D3905870-B0EC-91AD-3240-9A09149898C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935017" y="11771150"/>
            <a:ext cx="7777527" cy="121879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Почему она такая важная?</a:t>
            </a:r>
            <a:br>
              <a:rPr lang="ru-RU" dirty="0"/>
            </a:br>
            <a:r>
              <a:rPr lang="ru-RU" dirty="0"/>
              <a:t>И что это за цифра вообще?</a:t>
            </a:r>
          </a:p>
        </p:txBody>
      </p:sp>
    </p:spTree>
    <p:extLst>
      <p:ext uri="{BB962C8B-B14F-4D97-AF65-F5344CB8AC3E}">
        <p14:creationId xmlns:p14="http://schemas.microsoft.com/office/powerpoint/2010/main" val="32147290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B6EB489-81E6-46A3-B689-C8CAF85E6A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8348" y="1278688"/>
            <a:ext cx="13354050" cy="2474845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или важная мысль</a:t>
            </a:r>
          </a:p>
        </p:txBody>
      </p:sp>
      <p:sp>
        <p:nvSpPr>
          <p:cNvPr id="6" name="Номер слайда 9">
            <a:extLst>
              <a:ext uri="{FF2B5EF4-FFF2-40B4-BE49-F238E27FC236}">
                <a16:creationId xmlns:a16="http://schemas.microsoft.com/office/drawing/2014/main" id="{05F14BC1-4549-3D4E-9F5C-5DE97AB45E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991763" y="12158276"/>
            <a:ext cx="869268" cy="730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2000">
                <a:solidFill>
                  <a:srgbClr val="BBBBBB"/>
                </a:solidFill>
              </a:defRPr>
            </a:lvl1pPr>
          </a:lstStyle>
          <a:p>
            <a:fld id="{283B1AB1-319D-4B24-A7E6-2CF2EF1A436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600926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важные цифры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Рисунок 2">
            <a:extLst>
              <a:ext uri="{FF2B5EF4-FFF2-40B4-BE49-F238E27FC236}">
                <a16:creationId xmlns:a16="http://schemas.microsoft.com/office/drawing/2014/main" id="{77060059-E025-DD60-F236-EB0BE400C147}"/>
              </a:ext>
            </a:extLst>
          </p:cNvPr>
          <p:cNvSpPr/>
          <p:nvPr userDrawn="1"/>
        </p:nvSpPr>
        <p:spPr>
          <a:xfrm rot="11596209" flipH="1">
            <a:off x="116017" y="10296141"/>
            <a:ext cx="37651226" cy="16275492"/>
          </a:xfrm>
          <a:custGeom>
            <a:avLst/>
            <a:gdLst>
              <a:gd name="connsiteX0" fmla="*/ 24781932 w 25004707"/>
              <a:gd name="connsiteY0" fmla="*/ 4992328 h 10808782"/>
              <a:gd name="connsiteX1" fmla="*/ 24813712 w 25004707"/>
              <a:gd name="connsiteY1" fmla="*/ 4507894 h 10808782"/>
              <a:gd name="connsiteX2" fmla="*/ 24781932 w 25004707"/>
              <a:gd name="connsiteY2" fmla="*/ 4992328 h 10808782"/>
              <a:gd name="connsiteX3" fmla="*/ 24749994 w 25004707"/>
              <a:gd name="connsiteY3" fmla="*/ 5477249 h 10808782"/>
              <a:gd name="connsiteX4" fmla="*/ 24781932 w 25004707"/>
              <a:gd name="connsiteY4" fmla="*/ 4992328 h 10808782"/>
              <a:gd name="connsiteX5" fmla="*/ 23497668 w 25004707"/>
              <a:gd name="connsiteY5" fmla="*/ 4908160 h 10808782"/>
              <a:gd name="connsiteX6" fmla="*/ 23465886 w 25004707"/>
              <a:gd name="connsiteY6" fmla="*/ 5393065 h 10808782"/>
              <a:gd name="connsiteX7" fmla="*/ 24813712 w 25004707"/>
              <a:gd name="connsiteY7" fmla="*/ 4507894 h 10808782"/>
              <a:gd name="connsiteX8" fmla="*/ 24845492 w 25004707"/>
              <a:gd name="connsiteY8" fmla="*/ 4022989 h 10808782"/>
              <a:gd name="connsiteX9" fmla="*/ 24813712 w 25004707"/>
              <a:gd name="connsiteY9" fmla="*/ 4507894 h 10808782"/>
              <a:gd name="connsiteX10" fmla="*/ 23529446 w 25004707"/>
              <a:gd name="connsiteY10" fmla="*/ 4423711 h 10808782"/>
              <a:gd name="connsiteX11" fmla="*/ 24718214 w 25004707"/>
              <a:gd name="connsiteY11" fmla="*/ 5961666 h 10808782"/>
              <a:gd name="connsiteX12" fmla="*/ 24686276 w 25004707"/>
              <a:gd name="connsiteY12" fmla="*/ 6446571 h 10808782"/>
              <a:gd name="connsiteX13" fmla="*/ 23402168 w 25004707"/>
              <a:gd name="connsiteY13" fmla="*/ 6362388 h 10808782"/>
              <a:gd name="connsiteX14" fmla="*/ 24718214 w 25004707"/>
              <a:gd name="connsiteY14" fmla="*/ 5961666 h 10808782"/>
              <a:gd name="connsiteX15" fmla="*/ 24749994 w 25004707"/>
              <a:gd name="connsiteY15" fmla="*/ 5477249 h 10808782"/>
              <a:gd name="connsiteX16" fmla="*/ 24718214 w 25004707"/>
              <a:gd name="connsiteY16" fmla="*/ 5961666 h 10808782"/>
              <a:gd name="connsiteX17" fmla="*/ 23433948 w 25004707"/>
              <a:gd name="connsiteY17" fmla="*/ 5877498 h 10808782"/>
              <a:gd name="connsiteX18" fmla="*/ 24749994 w 25004707"/>
              <a:gd name="connsiteY18" fmla="*/ 5477249 h 10808782"/>
              <a:gd name="connsiteX19" fmla="*/ 23465886 w 25004707"/>
              <a:gd name="connsiteY19" fmla="*/ 5393065 h 10808782"/>
              <a:gd name="connsiteX20" fmla="*/ 24940990 w 25004707"/>
              <a:gd name="connsiteY20" fmla="*/ 2568777 h 10808782"/>
              <a:gd name="connsiteX21" fmla="*/ 24909210 w 25004707"/>
              <a:gd name="connsiteY21" fmla="*/ 3053682 h 10808782"/>
              <a:gd name="connsiteX22" fmla="*/ 23624944 w 25004707"/>
              <a:gd name="connsiteY22" fmla="*/ 2969499 h 10808782"/>
              <a:gd name="connsiteX23" fmla="*/ 24877430 w 25004707"/>
              <a:gd name="connsiteY23" fmla="*/ 3538571 h 10808782"/>
              <a:gd name="connsiteX24" fmla="*/ 24845492 w 25004707"/>
              <a:gd name="connsiteY24" fmla="*/ 4023005 h 10808782"/>
              <a:gd name="connsiteX25" fmla="*/ 24845492 w 25004707"/>
              <a:gd name="connsiteY25" fmla="*/ 4023005 h 10808782"/>
              <a:gd name="connsiteX26" fmla="*/ 24856664 w 25004707"/>
              <a:gd name="connsiteY26" fmla="*/ 4023744 h 10808782"/>
              <a:gd name="connsiteX27" fmla="*/ 24845492 w 25004707"/>
              <a:gd name="connsiteY27" fmla="*/ 4023005 h 10808782"/>
              <a:gd name="connsiteX28" fmla="*/ 23561384 w 25004707"/>
              <a:gd name="connsiteY28" fmla="*/ 3938837 h 10808782"/>
              <a:gd name="connsiteX29" fmla="*/ 24940990 w 25004707"/>
              <a:gd name="connsiteY29" fmla="*/ 2568777 h 10808782"/>
              <a:gd name="connsiteX30" fmla="*/ 23656882 w 25004707"/>
              <a:gd name="connsiteY30" fmla="*/ 2484594 h 10808782"/>
              <a:gd name="connsiteX31" fmla="*/ 23624944 w 25004707"/>
              <a:gd name="connsiteY31" fmla="*/ 2969499 h 10808782"/>
              <a:gd name="connsiteX32" fmla="*/ 24940990 w 25004707"/>
              <a:gd name="connsiteY32" fmla="*/ 2568777 h 10808782"/>
              <a:gd name="connsiteX33" fmla="*/ 24952160 w 25004707"/>
              <a:gd name="connsiteY33" fmla="*/ 2569500 h 10808782"/>
              <a:gd name="connsiteX34" fmla="*/ 24940990 w 25004707"/>
              <a:gd name="connsiteY34" fmla="*/ 2568777 h 10808782"/>
              <a:gd name="connsiteX35" fmla="*/ 25004708 w 25004707"/>
              <a:gd name="connsiteY35" fmla="*/ 1599423 h 10808782"/>
              <a:gd name="connsiteX36" fmla="*/ 5763304 w 25004707"/>
              <a:gd name="connsiteY36" fmla="*/ 338142 h 10808782"/>
              <a:gd name="connsiteX37" fmla="*/ 631905 w 25004707"/>
              <a:gd name="connsiteY37" fmla="*/ 1774 h 10808782"/>
              <a:gd name="connsiteX38" fmla="*/ 604841 w 25004707"/>
              <a:gd name="connsiteY38" fmla="*/ 0 h 10808782"/>
              <a:gd name="connsiteX39" fmla="*/ 0 w 25004707"/>
              <a:gd name="connsiteY39" fmla="*/ 9209356 h 10808782"/>
              <a:gd name="connsiteX40" fmla="*/ 1284177 w 25004707"/>
              <a:gd name="connsiteY40" fmla="*/ 9293539 h 10808782"/>
              <a:gd name="connsiteX41" fmla="*/ 24909210 w 25004707"/>
              <a:gd name="connsiteY41" fmla="*/ 3053651 h 10808782"/>
              <a:gd name="connsiteX42" fmla="*/ 24877430 w 25004707"/>
              <a:gd name="connsiteY42" fmla="*/ 3538556 h 10808782"/>
              <a:gd name="connsiteX43" fmla="*/ 23593164 w 25004707"/>
              <a:gd name="connsiteY43" fmla="*/ 3454388 h 10808782"/>
              <a:gd name="connsiteX44" fmla="*/ 24590780 w 25004707"/>
              <a:gd name="connsiteY44" fmla="*/ 7900799 h 10808782"/>
              <a:gd name="connsiteX45" fmla="*/ 24622718 w 25004707"/>
              <a:gd name="connsiteY45" fmla="*/ 7415910 h 10808782"/>
              <a:gd name="connsiteX46" fmla="*/ 24590780 w 25004707"/>
              <a:gd name="connsiteY46" fmla="*/ 7900799 h 10808782"/>
              <a:gd name="connsiteX47" fmla="*/ 23306672 w 25004707"/>
              <a:gd name="connsiteY47" fmla="*/ 7816615 h 10808782"/>
              <a:gd name="connsiteX48" fmla="*/ 23274890 w 25004707"/>
              <a:gd name="connsiteY48" fmla="*/ 8301049 h 10808782"/>
              <a:gd name="connsiteX49" fmla="*/ 21990782 w 25004707"/>
              <a:gd name="connsiteY49" fmla="*/ 8216849 h 10808782"/>
              <a:gd name="connsiteX50" fmla="*/ 21466882 w 25004707"/>
              <a:gd name="connsiteY50" fmla="*/ 8182522 h 10808782"/>
              <a:gd name="connsiteX51" fmla="*/ 20799970 w 25004707"/>
              <a:gd name="connsiteY51" fmla="*/ 8169870 h 10808782"/>
              <a:gd name="connsiteX52" fmla="*/ 24590780 w 25004707"/>
              <a:gd name="connsiteY52" fmla="*/ 7900799 h 10808782"/>
              <a:gd name="connsiteX53" fmla="*/ 24601948 w 25004707"/>
              <a:gd name="connsiteY53" fmla="*/ 7901538 h 10808782"/>
              <a:gd name="connsiteX54" fmla="*/ 24622718 w 25004707"/>
              <a:gd name="connsiteY54" fmla="*/ 7415910 h 10808782"/>
              <a:gd name="connsiteX55" fmla="*/ 24654496 w 25004707"/>
              <a:gd name="connsiteY55" fmla="*/ 6931005 h 10808782"/>
              <a:gd name="connsiteX56" fmla="*/ 24622718 w 25004707"/>
              <a:gd name="connsiteY56" fmla="*/ 7415910 h 10808782"/>
              <a:gd name="connsiteX57" fmla="*/ 23338452 w 25004707"/>
              <a:gd name="connsiteY57" fmla="*/ 7331710 h 10808782"/>
              <a:gd name="connsiteX58" fmla="*/ 24558998 w 25004707"/>
              <a:gd name="connsiteY58" fmla="*/ 8385232 h 10808782"/>
              <a:gd name="connsiteX59" fmla="*/ 24527218 w 25004707"/>
              <a:gd name="connsiteY59" fmla="*/ 8870137 h 10808782"/>
              <a:gd name="connsiteX60" fmla="*/ 23242952 w 25004707"/>
              <a:gd name="connsiteY60" fmla="*/ 8785953 h 10808782"/>
              <a:gd name="connsiteX61" fmla="*/ 24558998 w 25004707"/>
              <a:gd name="connsiteY61" fmla="*/ 8385232 h 10808782"/>
              <a:gd name="connsiteX62" fmla="*/ 24590780 w 25004707"/>
              <a:gd name="connsiteY62" fmla="*/ 7900799 h 10808782"/>
              <a:gd name="connsiteX63" fmla="*/ 24558998 w 25004707"/>
              <a:gd name="connsiteY63" fmla="*/ 8385232 h 10808782"/>
              <a:gd name="connsiteX64" fmla="*/ 23274890 w 25004707"/>
              <a:gd name="connsiteY64" fmla="*/ 8301049 h 10808782"/>
              <a:gd name="connsiteX65" fmla="*/ 23242952 w 25004707"/>
              <a:gd name="connsiteY65" fmla="*/ 8785953 h 10808782"/>
              <a:gd name="connsiteX66" fmla="*/ 24654496 w 25004707"/>
              <a:gd name="connsiteY66" fmla="*/ 6931005 h 10808782"/>
              <a:gd name="connsiteX67" fmla="*/ 24686434 w 25004707"/>
              <a:gd name="connsiteY67" fmla="*/ 6446571 h 10808782"/>
              <a:gd name="connsiteX68" fmla="*/ 24697448 w 25004707"/>
              <a:gd name="connsiteY68" fmla="*/ 6447294 h 10808782"/>
              <a:gd name="connsiteX69" fmla="*/ 24654496 w 25004707"/>
              <a:gd name="connsiteY69" fmla="*/ 6931005 h 10808782"/>
              <a:gd name="connsiteX70" fmla="*/ 23370388 w 25004707"/>
              <a:gd name="connsiteY70" fmla="*/ 6846837 h 10808782"/>
              <a:gd name="connsiteX71" fmla="*/ 24463500 w 25004707"/>
              <a:gd name="connsiteY71" fmla="*/ 9839444 h 10808782"/>
              <a:gd name="connsiteX72" fmla="*/ 24431722 w 25004707"/>
              <a:gd name="connsiteY72" fmla="*/ 10323878 h 10808782"/>
              <a:gd name="connsiteX73" fmla="*/ 23147614 w 25004707"/>
              <a:gd name="connsiteY73" fmla="*/ 10239694 h 10808782"/>
              <a:gd name="connsiteX74" fmla="*/ 23338608 w 25004707"/>
              <a:gd name="connsiteY74" fmla="*/ 7331726 h 10808782"/>
              <a:gd name="connsiteX75" fmla="*/ 23306672 w 25004707"/>
              <a:gd name="connsiteY75" fmla="*/ 7816631 h 10808782"/>
              <a:gd name="connsiteX76" fmla="*/ 22022564 w 25004707"/>
              <a:gd name="connsiteY76" fmla="*/ 7732447 h 10808782"/>
              <a:gd name="connsiteX77" fmla="*/ 23242952 w 25004707"/>
              <a:gd name="connsiteY77" fmla="*/ 8785953 h 10808782"/>
              <a:gd name="connsiteX78" fmla="*/ 23211172 w 25004707"/>
              <a:gd name="connsiteY78" fmla="*/ 9270371 h 10808782"/>
              <a:gd name="connsiteX79" fmla="*/ 23242952 w 25004707"/>
              <a:gd name="connsiteY79" fmla="*/ 8785953 h 10808782"/>
              <a:gd name="connsiteX80" fmla="*/ 21958844 w 25004707"/>
              <a:gd name="connsiteY80" fmla="*/ 8701770 h 10808782"/>
              <a:gd name="connsiteX81" fmla="*/ 23433948 w 25004707"/>
              <a:gd name="connsiteY81" fmla="*/ 5877498 h 10808782"/>
              <a:gd name="connsiteX82" fmla="*/ 23465886 w 25004707"/>
              <a:gd name="connsiteY82" fmla="*/ 5393065 h 10808782"/>
              <a:gd name="connsiteX83" fmla="*/ 23433948 w 25004707"/>
              <a:gd name="connsiteY83" fmla="*/ 5877498 h 10808782"/>
              <a:gd name="connsiteX84" fmla="*/ 22149840 w 25004707"/>
              <a:gd name="connsiteY84" fmla="*/ 5793299 h 10808782"/>
              <a:gd name="connsiteX85" fmla="*/ 22138828 w 25004707"/>
              <a:gd name="connsiteY85" fmla="*/ 6277685 h 10808782"/>
              <a:gd name="connsiteX86" fmla="*/ 23465886 w 25004707"/>
              <a:gd name="connsiteY86" fmla="*/ 5393065 h 10808782"/>
              <a:gd name="connsiteX87" fmla="*/ 22181622 w 25004707"/>
              <a:gd name="connsiteY87" fmla="*/ 5308881 h 10808782"/>
              <a:gd name="connsiteX88" fmla="*/ 23115676 w 25004707"/>
              <a:gd name="connsiteY88" fmla="*/ 10724599 h 10808782"/>
              <a:gd name="connsiteX89" fmla="*/ 23147614 w 25004707"/>
              <a:gd name="connsiteY89" fmla="*/ 10239709 h 10808782"/>
              <a:gd name="connsiteX90" fmla="*/ 23115676 w 25004707"/>
              <a:gd name="connsiteY90" fmla="*/ 10724599 h 10808782"/>
              <a:gd name="connsiteX91" fmla="*/ 24399940 w 25004707"/>
              <a:gd name="connsiteY91" fmla="*/ 10808782 h 10808782"/>
              <a:gd name="connsiteX92" fmla="*/ 24431722 w 25004707"/>
              <a:gd name="connsiteY92" fmla="*/ 10323878 h 10808782"/>
              <a:gd name="connsiteX93" fmla="*/ 23115676 w 25004707"/>
              <a:gd name="connsiteY93" fmla="*/ 10724599 h 10808782"/>
              <a:gd name="connsiteX94" fmla="*/ 21831568 w 25004707"/>
              <a:gd name="connsiteY94" fmla="*/ 10640431 h 10808782"/>
              <a:gd name="connsiteX95" fmla="*/ 23147614 w 25004707"/>
              <a:gd name="connsiteY95" fmla="*/ 10239709 h 10808782"/>
              <a:gd name="connsiteX96" fmla="*/ 23179392 w 25004707"/>
              <a:gd name="connsiteY96" fmla="*/ 9755261 h 10808782"/>
              <a:gd name="connsiteX97" fmla="*/ 23147614 w 25004707"/>
              <a:gd name="connsiteY97" fmla="*/ 10239709 h 10808782"/>
              <a:gd name="connsiteX98" fmla="*/ 21863348 w 25004707"/>
              <a:gd name="connsiteY98" fmla="*/ 10155526 h 10808782"/>
              <a:gd name="connsiteX99" fmla="*/ 23720600 w 25004707"/>
              <a:gd name="connsiteY99" fmla="*/ 1515244 h 10808782"/>
              <a:gd name="connsiteX100" fmla="*/ 23688662 w 25004707"/>
              <a:gd name="connsiteY100" fmla="*/ 2000144 h 10808782"/>
              <a:gd name="connsiteX101" fmla="*/ 23688662 w 25004707"/>
              <a:gd name="connsiteY101" fmla="*/ 2000144 h 10808782"/>
              <a:gd name="connsiteX102" fmla="*/ 24972772 w 25004707"/>
              <a:gd name="connsiteY102" fmla="*/ 2084312 h 10808782"/>
              <a:gd name="connsiteX103" fmla="*/ 23688662 w 25004707"/>
              <a:gd name="connsiteY103" fmla="*/ 2000144 h 10808782"/>
              <a:gd name="connsiteX104" fmla="*/ 22404554 w 25004707"/>
              <a:gd name="connsiteY104" fmla="*/ 1915976 h 10808782"/>
              <a:gd name="connsiteX105" fmla="*/ 23179392 w 25004707"/>
              <a:gd name="connsiteY105" fmla="*/ 9755261 h 10808782"/>
              <a:gd name="connsiteX106" fmla="*/ 23211172 w 25004707"/>
              <a:gd name="connsiteY106" fmla="*/ 9270387 h 10808782"/>
              <a:gd name="connsiteX107" fmla="*/ 23179392 w 25004707"/>
              <a:gd name="connsiteY107" fmla="*/ 9755261 h 10808782"/>
              <a:gd name="connsiteX108" fmla="*/ 21895126 w 25004707"/>
              <a:gd name="connsiteY108" fmla="*/ 9671092 h 10808782"/>
              <a:gd name="connsiteX109" fmla="*/ 21863348 w 25004707"/>
              <a:gd name="connsiteY109" fmla="*/ 10155526 h 10808782"/>
              <a:gd name="connsiteX110" fmla="*/ 23179392 w 25004707"/>
              <a:gd name="connsiteY110" fmla="*/ 9755261 h 10808782"/>
              <a:gd name="connsiteX111" fmla="*/ 24463500 w 25004707"/>
              <a:gd name="connsiteY111" fmla="*/ 9839460 h 10808782"/>
              <a:gd name="connsiteX112" fmla="*/ 24495438 w 25004707"/>
              <a:gd name="connsiteY112" fmla="*/ 9354555 h 10808782"/>
              <a:gd name="connsiteX113" fmla="*/ 24506452 w 25004707"/>
              <a:gd name="connsiteY113" fmla="*/ 9355294 h 10808782"/>
              <a:gd name="connsiteX114" fmla="*/ 23593164 w 25004707"/>
              <a:gd name="connsiteY114" fmla="*/ 3454388 h 10808782"/>
              <a:gd name="connsiteX115" fmla="*/ 23625102 w 25004707"/>
              <a:gd name="connsiteY115" fmla="*/ 2969483 h 10808782"/>
              <a:gd name="connsiteX116" fmla="*/ 23593164 w 25004707"/>
              <a:gd name="connsiteY116" fmla="*/ 3454388 h 10808782"/>
              <a:gd name="connsiteX117" fmla="*/ 22309056 w 25004707"/>
              <a:gd name="connsiteY117" fmla="*/ 3370204 h 10808782"/>
              <a:gd name="connsiteX118" fmla="*/ 23624944 w 25004707"/>
              <a:gd name="connsiteY118" fmla="*/ 2969499 h 10808782"/>
              <a:gd name="connsiteX119" fmla="*/ 22340836 w 25004707"/>
              <a:gd name="connsiteY119" fmla="*/ 2885315 h 10808782"/>
              <a:gd name="connsiteX120" fmla="*/ 23593164 w 25004707"/>
              <a:gd name="connsiteY120" fmla="*/ 3454388 h 10808782"/>
              <a:gd name="connsiteX121" fmla="*/ 23561384 w 25004707"/>
              <a:gd name="connsiteY121" fmla="*/ 3938821 h 10808782"/>
              <a:gd name="connsiteX122" fmla="*/ 22277118 w 25004707"/>
              <a:gd name="connsiteY122" fmla="*/ 3854653 h 10808782"/>
              <a:gd name="connsiteX123" fmla="*/ 23434106 w 25004707"/>
              <a:gd name="connsiteY123" fmla="*/ 5877482 h 10808782"/>
              <a:gd name="connsiteX124" fmla="*/ 23402168 w 25004707"/>
              <a:gd name="connsiteY124" fmla="*/ 6362388 h 10808782"/>
              <a:gd name="connsiteX125" fmla="*/ 22450808 w 25004707"/>
              <a:gd name="connsiteY125" fmla="*/ 6300020 h 10808782"/>
              <a:gd name="connsiteX126" fmla="*/ 22138828 w 25004707"/>
              <a:gd name="connsiteY126" fmla="*/ 6277685 h 10808782"/>
              <a:gd name="connsiteX127" fmla="*/ 23370388 w 25004707"/>
              <a:gd name="connsiteY127" fmla="*/ 6846837 h 10808782"/>
              <a:gd name="connsiteX128" fmla="*/ 23402168 w 25004707"/>
              <a:gd name="connsiteY128" fmla="*/ 6362404 h 10808782"/>
              <a:gd name="connsiteX129" fmla="*/ 23370388 w 25004707"/>
              <a:gd name="connsiteY129" fmla="*/ 6846837 h 10808782"/>
              <a:gd name="connsiteX130" fmla="*/ 23338452 w 25004707"/>
              <a:gd name="connsiteY130" fmla="*/ 7331710 h 10808782"/>
              <a:gd name="connsiteX131" fmla="*/ 23370388 w 25004707"/>
              <a:gd name="connsiteY131" fmla="*/ 6846837 h 10808782"/>
              <a:gd name="connsiteX132" fmla="*/ 22133950 w 25004707"/>
              <a:gd name="connsiteY132" fmla="*/ 6765781 h 10808782"/>
              <a:gd name="connsiteX133" fmla="*/ 23529604 w 25004707"/>
              <a:gd name="connsiteY133" fmla="*/ 4423711 h 10808782"/>
              <a:gd name="connsiteX134" fmla="*/ 23561384 w 25004707"/>
              <a:gd name="connsiteY134" fmla="*/ 3938806 h 10808782"/>
              <a:gd name="connsiteX135" fmla="*/ 23529604 w 25004707"/>
              <a:gd name="connsiteY135" fmla="*/ 4423711 h 10808782"/>
              <a:gd name="connsiteX136" fmla="*/ 23497668 w 25004707"/>
              <a:gd name="connsiteY136" fmla="*/ 4908160 h 10808782"/>
              <a:gd name="connsiteX137" fmla="*/ 22213560 w 25004707"/>
              <a:gd name="connsiteY137" fmla="*/ 4823976 h 10808782"/>
              <a:gd name="connsiteX138" fmla="*/ 23529604 w 25004707"/>
              <a:gd name="connsiteY138" fmla="*/ 4423711 h 10808782"/>
              <a:gd name="connsiteX139" fmla="*/ 22245338 w 25004707"/>
              <a:gd name="connsiteY139" fmla="*/ 4339527 h 10808782"/>
              <a:gd name="connsiteX140" fmla="*/ 23338452 w 25004707"/>
              <a:gd name="connsiteY140" fmla="*/ 7331710 h 10808782"/>
              <a:gd name="connsiteX141" fmla="*/ 22387090 w 25004707"/>
              <a:gd name="connsiteY141" fmla="*/ 7269358 h 10808782"/>
              <a:gd name="connsiteX142" fmla="*/ 22074952 w 25004707"/>
              <a:gd name="connsiteY142" fmla="*/ 7250780 h 10808782"/>
              <a:gd name="connsiteX143" fmla="*/ 23688662 w 25004707"/>
              <a:gd name="connsiteY143" fmla="*/ 2000160 h 10808782"/>
              <a:gd name="connsiteX144" fmla="*/ 23656882 w 25004707"/>
              <a:gd name="connsiteY144" fmla="*/ 2484594 h 10808782"/>
              <a:gd name="connsiteX145" fmla="*/ 22372618 w 25004707"/>
              <a:gd name="connsiteY145" fmla="*/ 2400410 h 10808782"/>
              <a:gd name="connsiteX146" fmla="*/ 23211172 w 25004707"/>
              <a:gd name="connsiteY146" fmla="*/ 9270371 h 10808782"/>
              <a:gd name="connsiteX147" fmla="*/ 24495438 w 25004707"/>
              <a:gd name="connsiteY147" fmla="*/ 9354555 h 10808782"/>
              <a:gd name="connsiteX148" fmla="*/ 24527218 w 25004707"/>
              <a:gd name="connsiteY148" fmla="*/ 8870122 h 10808782"/>
              <a:gd name="connsiteX149" fmla="*/ 24538388 w 25004707"/>
              <a:gd name="connsiteY149" fmla="*/ 8870860 h 10808782"/>
              <a:gd name="connsiteX150" fmla="*/ 23211172 w 25004707"/>
              <a:gd name="connsiteY150" fmla="*/ 9270371 h 10808782"/>
              <a:gd name="connsiteX151" fmla="*/ 21927064 w 25004707"/>
              <a:gd name="connsiteY151" fmla="*/ 9186203 h 10808782"/>
              <a:gd name="connsiteX152" fmla="*/ 21831568 w 25004707"/>
              <a:gd name="connsiteY152" fmla="*/ 10640431 h 10808782"/>
              <a:gd name="connsiteX153" fmla="*/ 21863348 w 25004707"/>
              <a:gd name="connsiteY153" fmla="*/ 10155526 h 10808782"/>
              <a:gd name="connsiteX154" fmla="*/ 21831568 w 25004707"/>
              <a:gd name="connsiteY154" fmla="*/ 10640431 h 10808782"/>
              <a:gd name="connsiteX155" fmla="*/ 20547302 w 25004707"/>
              <a:gd name="connsiteY155" fmla="*/ 10556248 h 10808782"/>
              <a:gd name="connsiteX156" fmla="*/ 21863348 w 25004707"/>
              <a:gd name="connsiteY156" fmla="*/ 10155526 h 10808782"/>
              <a:gd name="connsiteX157" fmla="*/ 20579240 w 25004707"/>
              <a:gd name="connsiteY157" fmla="*/ 10071342 h 10808782"/>
              <a:gd name="connsiteX158" fmla="*/ 22340836 w 25004707"/>
              <a:gd name="connsiteY158" fmla="*/ 2885299 h 10808782"/>
              <a:gd name="connsiteX159" fmla="*/ 22308898 w 25004707"/>
              <a:gd name="connsiteY159" fmla="*/ 3370204 h 10808782"/>
              <a:gd name="connsiteX160" fmla="*/ 21024790 w 25004707"/>
              <a:gd name="connsiteY160" fmla="*/ 3286020 h 10808782"/>
              <a:gd name="connsiteX161" fmla="*/ 22277118 w 25004707"/>
              <a:gd name="connsiteY161" fmla="*/ 3854653 h 10808782"/>
              <a:gd name="connsiteX162" fmla="*/ 22308898 w 25004707"/>
              <a:gd name="connsiteY162" fmla="*/ 3370220 h 10808782"/>
              <a:gd name="connsiteX163" fmla="*/ 22277118 w 25004707"/>
              <a:gd name="connsiteY163" fmla="*/ 3854653 h 10808782"/>
              <a:gd name="connsiteX164" fmla="*/ 20993010 w 25004707"/>
              <a:gd name="connsiteY164" fmla="*/ 3770469 h 10808782"/>
              <a:gd name="connsiteX165" fmla="*/ 21927064 w 25004707"/>
              <a:gd name="connsiteY165" fmla="*/ 9186203 h 10808782"/>
              <a:gd name="connsiteX166" fmla="*/ 21895126 w 25004707"/>
              <a:gd name="connsiteY166" fmla="*/ 9671109 h 10808782"/>
              <a:gd name="connsiteX167" fmla="*/ 20611018 w 25004707"/>
              <a:gd name="connsiteY167" fmla="*/ 9586925 h 10808782"/>
              <a:gd name="connsiteX168" fmla="*/ 21927064 w 25004707"/>
              <a:gd name="connsiteY168" fmla="*/ 9186203 h 10808782"/>
              <a:gd name="connsiteX169" fmla="*/ 21958844 w 25004707"/>
              <a:gd name="connsiteY169" fmla="*/ 8701770 h 10808782"/>
              <a:gd name="connsiteX170" fmla="*/ 21927064 w 25004707"/>
              <a:gd name="connsiteY170" fmla="*/ 9186203 h 10808782"/>
              <a:gd name="connsiteX171" fmla="*/ 20642800 w 25004707"/>
              <a:gd name="connsiteY171" fmla="*/ 9102019 h 10808782"/>
              <a:gd name="connsiteX172" fmla="*/ 22436334 w 25004707"/>
              <a:gd name="connsiteY172" fmla="*/ 1431070 h 10808782"/>
              <a:gd name="connsiteX173" fmla="*/ 22404554 w 25004707"/>
              <a:gd name="connsiteY173" fmla="*/ 1915976 h 10808782"/>
              <a:gd name="connsiteX174" fmla="*/ 22404554 w 25004707"/>
              <a:gd name="connsiteY174" fmla="*/ 1915976 h 10808782"/>
              <a:gd name="connsiteX175" fmla="*/ 21120288 w 25004707"/>
              <a:gd name="connsiteY175" fmla="*/ 1831793 h 10808782"/>
              <a:gd name="connsiteX176" fmla="*/ 22022564 w 25004707"/>
              <a:gd name="connsiteY176" fmla="*/ 7732431 h 10808782"/>
              <a:gd name="connsiteX177" fmla="*/ 22074952 w 25004707"/>
              <a:gd name="connsiteY177" fmla="*/ 7250780 h 10808782"/>
              <a:gd name="connsiteX178" fmla="*/ 22022564 w 25004707"/>
              <a:gd name="connsiteY178" fmla="*/ 7732431 h 10808782"/>
              <a:gd name="connsiteX179" fmla="*/ 21113838 w 25004707"/>
              <a:gd name="connsiteY179" fmla="*/ 7756637 h 10808782"/>
              <a:gd name="connsiteX180" fmla="*/ 22022564 w 25004707"/>
              <a:gd name="connsiteY180" fmla="*/ 7732431 h 10808782"/>
              <a:gd name="connsiteX181" fmla="*/ 21958844 w 25004707"/>
              <a:gd name="connsiteY181" fmla="*/ 8701770 h 10808782"/>
              <a:gd name="connsiteX182" fmla="*/ 22181622 w 25004707"/>
              <a:gd name="connsiteY182" fmla="*/ 5308897 h 10808782"/>
              <a:gd name="connsiteX183" fmla="*/ 22149840 w 25004707"/>
              <a:gd name="connsiteY183" fmla="*/ 5793330 h 10808782"/>
              <a:gd name="connsiteX184" fmla="*/ 21252128 w 25004707"/>
              <a:gd name="connsiteY184" fmla="*/ 5650708 h 10808782"/>
              <a:gd name="connsiteX185" fmla="*/ 21488592 w 25004707"/>
              <a:gd name="connsiteY185" fmla="*/ 6165430 h 10808782"/>
              <a:gd name="connsiteX186" fmla="*/ 21015036 w 25004707"/>
              <a:gd name="connsiteY186" fmla="*/ 5981942 h 10808782"/>
              <a:gd name="connsiteX187" fmla="*/ 22074952 w 25004707"/>
              <a:gd name="connsiteY187" fmla="*/ 7250780 h 10808782"/>
              <a:gd name="connsiteX188" fmla="*/ 22133950 w 25004707"/>
              <a:gd name="connsiteY188" fmla="*/ 6766253 h 10808782"/>
              <a:gd name="connsiteX189" fmla="*/ 22138828 w 25004707"/>
              <a:gd name="connsiteY189" fmla="*/ 6277685 h 10808782"/>
              <a:gd name="connsiteX190" fmla="*/ 22133950 w 25004707"/>
              <a:gd name="connsiteY190" fmla="*/ 6765781 h 10808782"/>
              <a:gd name="connsiteX191" fmla="*/ 21562380 w 25004707"/>
              <a:gd name="connsiteY191" fmla="*/ 6728310 h 10808782"/>
              <a:gd name="connsiteX192" fmla="*/ 22138828 w 25004707"/>
              <a:gd name="connsiteY192" fmla="*/ 6277685 h 10808782"/>
              <a:gd name="connsiteX193" fmla="*/ 21488592 w 25004707"/>
              <a:gd name="connsiteY193" fmla="*/ 6165414 h 10808782"/>
              <a:gd name="connsiteX194" fmla="*/ 22245338 w 25004707"/>
              <a:gd name="connsiteY194" fmla="*/ 4339527 h 10808782"/>
              <a:gd name="connsiteX195" fmla="*/ 22277276 w 25004707"/>
              <a:gd name="connsiteY195" fmla="*/ 3854622 h 10808782"/>
              <a:gd name="connsiteX196" fmla="*/ 22245338 w 25004707"/>
              <a:gd name="connsiteY196" fmla="*/ 4339527 h 10808782"/>
              <a:gd name="connsiteX197" fmla="*/ 20961230 w 25004707"/>
              <a:gd name="connsiteY197" fmla="*/ 4255359 h 10808782"/>
              <a:gd name="connsiteX198" fmla="*/ 21958844 w 25004707"/>
              <a:gd name="connsiteY198" fmla="*/ 8701770 h 10808782"/>
              <a:gd name="connsiteX199" fmla="*/ 20674580 w 25004707"/>
              <a:gd name="connsiteY199" fmla="*/ 8617586 h 10808782"/>
              <a:gd name="connsiteX200" fmla="*/ 20642800 w 25004707"/>
              <a:gd name="connsiteY200" fmla="*/ 9102019 h 10808782"/>
              <a:gd name="connsiteX201" fmla="*/ 22181622 w 25004707"/>
              <a:gd name="connsiteY201" fmla="*/ 5308881 h 10808782"/>
              <a:gd name="connsiteX202" fmla="*/ 22213560 w 25004707"/>
              <a:gd name="connsiteY202" fmla="*/ 4823992 h 10808782"/>
              <a:gd name="connsiteX203" fmla="*/ 22181622 w 25004707"/>
              <a:gd name="connsiteY203" fmla="*/ 5308881 h 10808782"/>
              <a:gd name="connsiteX204" fmla="*/ 21849030 w 25004707"/>
              <a:gd name="connsiteY204" fmla="*/ 5287081 h 10808782"/>
              <a:gd name="connsiteX205" fmla="*/ 20995686 w 25004707"/>
              <a:gd name="connsiteY205" fmla="*/ 5199596 h 10808782"/>
              <a:gd name="connsiteX206" fmla="*/ 21252128 w 25004707"/>
              <a:gd name="connsiteY206" fmla="*/ 5651180 h 10808782"/>
              <a:gd name="connsiteX207" fmla="*/ 20568856 w 25004707"/>
              <a:gd name="connsiteY207" fmla="*/ 5391367 h 10808782"/>
              <a:gd name="connsiteX208" fmla="*/ 21015666 w 25004707"/>
              <a:gd name="connsiteY208" fmla="*/ 5981974 h 10808782"/>
              <a:gd name="connsiteX209" fmla="*/ 22245338 w 25004707"/>
              <a:gd name="connsiteY209" fmla="*/ 4339543 h 10808782"/>
              <a:gd name="connsiteX210" fmla="*/ 22213560 w 25004707"/>
              <a:gd name="connsiteY210" fmla="*/ 4823976 h 10808782"/>
              <a:gd name="connsiteX211" fmla="*/ 20929452 w 25004707"/>
              <a:gd name="connsiteY211" fmla="*/ 4739792 h 10808782"/>
              <a:gd name="connsiteX212" fmla="*/ 22372774 w 25004707"/>
              <a:gd name="connsiteY212" fmla="*/ 2400425 h 10808782"/>
              <a:gd name="connsiteX213" fmla="*/ 22340836 w 25004707"/>
              <a:gd name="connsiteY213" fmla="*/ 2885315 h 10808782"/>
              <a:gd name="connsiteX214" fmla="*/ 22340836 w 25004707"/>
              <a:gd name="connsiteY214" fmla="*/ 2885315 h 10808782"/>
              <a:gd name="connsiteX215" fmla="*/ 21056728 w 25004707"/>
              <a:gd name="connsiteY215" fmla="*/ 2801147 h 10808782"/>
              <a:gd name="connsiteX216" fmla="*/ 22404398 w 25004707"/>
              <a:gd name="connsiteY216" fmla="*/ 1915976 h 10808782"/>
              <a:gd name="connsiteX217" fmla="*/ 22372618 w 25004707"/>
              <a:gd name="connsiteY217" fmla="*/ 2400410 h 10808782"/>
              <a:gd name="connsiteX218" fmla="*/ 22372618 w 25004707"/>
              <a:gd name="connsiteY218" fmla="*/ 2400410 h 10808782"/>
              <a:gd name="connsiteX219" fmla="*/ 21088510 w 25004707"/>
              <a:gd name="connsiteY219" fmla="*/ 2316226 h 10808782"/>
              <a:gd name="connsiteX220" fmla="*/ 20579240 w 25004707"/>
              <a:gd name="connsiteY220" fmla="*/ 10071342 h 10808782"/>
              <a:gd name="connsiteX221" fmla="*/ 20611018 w 25004707"/>
              <a:gd name="connsiteY221" fmla="*/ 9586909 h 10808782"/>
              <a:gd name="connsiteX222" fmla="*/ 20579240 w 25004707"/>
              <a:gd name="connsiteY222" fmla="*/ 10071342 h 10808782"/>
              <a:gd name="connsiteX223" fmla="*/ 19294974 w 25004707"/>
              <a:gd name="connsiteY223" fmla="*/ 9987158 h 10808782"/>
              <a:gd name="connsiteX224" fmla="*/ 21562380 w 25004707"/>
              <a:gd name="connsiteY224" fmla="*/ 6728766 h 10808782"/>
              <a:gd name="connsiteX225" fmla="*/ 21415592 w 25004707"/>
              <a:gd name="connsiteY225" fmla="*/ 7277186 h 10808782"/>
              <a:gd name="connsiteX226" fmla="*/ 22074952 w 25004707"/>
              <a:gd name="connsiteY226" fmla="*/ 7250749 h 10808782"/>
              <a:gd name="connsiteX227" fmla="*/ 20993010 w 25004707"/>
              <a:gd name="connsiteY227" fmla="*/ 3770469 h 10808782"/>
              <a:gd name="connsiteX228" fmla="*/ 21024790 w 25004707"/>
              <a:gd name="connsiteY228" fmla="*/ 3286052 h 10808782"/>
              <a:gd name="connsiteX229" fmla="*/ 20993010 w 25004707"/>
              <a:gd name="connsiteY229" fmla="*/ 3770469 h 10808782"/>
              <a:gd name="connsiteX230" fmla="*/ 19708746 w 25004707"/>
              <a:gd name="connsiteY230" fmla="*/ 3686286 h 10808782"/>
              <a:gd name="connsiteX231" fmla="*/ 20929294 w 25004707"/>
              <a:gd name="connsiteY231" fmla="*/ 4739792 h 10808782"/>
              <a:gd name="connsiteX232" fmla="*/ 20995528 w 25004707"/>
              <a:gd name="connsiteY232" fmla="*/ 5199596 h 10808782"/>
              <a:gd name="connsiteX233" fmla="*/ 20097030 w 25004707"/>
              <a:gd name="connsiteY233" fmla="*/ 4955313 h 10808782"/>
              <a:gd name="connsiteX234" fmla="*/ 20642800 w 25004707"/>
              <a:gd name="connsiteY234" fmla="*/ 9102019 h 10808782"/>
              <a:gd name="connsiteX235" fmla="*/ 20611018 w 25004707"/>
              <a:gd name="connsiteY235" fmla="*/ 9586925 h 10808782"/>
              <a:gd name="connsiteX236" fmla="*/ 19326754 w 25004707"/>
              <a:gd name="connsiteY236" fmla="*/ 9502741 h 10808782"/>
              <a:gd name="connsiteX237" fmla="*/ 20642800 w 25004707"/>
              <a:gd name="connsiteY237" fmla="*/ 9102019 h 10808782"/>
              <a:gd name="connsiteX238" fmla="*/ 19358692 w 25004707"/>
              <a:gd name="connsiteY238" fmla="*/ 9017836 h 10808782"/>
              <a:gd name="connsiteX239" fmla="*/ 20961230 w 25004707"/>
              <a:gd name="connsiteY239" fmla="*/ 4255359 h 10808782"/>
              <a:gd name="connsiteX240" fmla="*/ 20929294 w 25004707"/>
              <a:gd name="connsiteY240" fmla="*/ 4739792 h 10808782"/>
              <a:gd name="connsiteX241" fmla="*/ 19750594 w 25004707"/>
              <a:gd name="connsiteY241" fmla="*/ 4599921 h 10808782"/>
              <a:gd name="connsiteX242" fmla="*/ 20961230 w 25004707"/>
              <a:gd name="connsiteY242" fmla="*/ 4255359 h 10808782"/>
              <a:gd name="connsiteX243" fmla="*/ 20993010 w 25004707"/>
              <a:gd name="connsiteY243" fmla="*/ 3770454 h 10808782"/>
              <a:gd name="connsiteX244" fmla="*/ 20961230 w 25004707"/>
              <a:gd name="connsiteY244" fmla="*/ 4255359 h 10808782"/>
              <a:gd name="connsiteX245" fmla="*/ 19676964 w 25004707"/>
              <a:gd name="connsiteY245" fmla="*/ 4171175 h 10808782"/>
              <a:gd name="connsiteX246" fmla="*/ 21120288 w 25004707"/>
              <a:gd name="connsiteY246" fmla="*/ 1831808 h 10808782"/>
              <a:gd name="connsiteX247" fmla="*/ 21088510 w 25004707"/>
              <a:gd name="connsiteY247" fmla="*/ 2316226 h 10808782"/>
              <a:gd name="connsiteX248" fmla="*/ 21088510 w 25004707"/>
              <a:gd name="connsiteY248" fmla="*/ 2316226 h 10808782"/>
              <a:gd name="connsiteX249" fmla="*/ 21056728 w 25004707"/>
              <a:gd name="connsiteY249" fmla="*/ 2801131 h 10808782"/>
              <a:gd name="connsiteX250" fmla="*/ 21088510 w 25004707"/>
              <a:gd name="connsiteY250" fmla="*/ 2316226 h 10808782"/>
              <a:gd name="connsiteX251" fmla="*/ 19804244 w 25004707"/>
              <a:gd name="connsiteY251" fmla="*/ 2232058 h 10808782"/>
              <a:gd name="connsiteX252" fmla="*/ 21152226 w 25004707"/>
              <a:gd name="connsiteY252" fmla="*/ 1346888 h 10808782"/>
              <a:gd name="connsiteX253" fmla="*/ 21120288 w 25004707"/>
              <a:gd name="connsiteY253" fmla="*/ 1831793 h 10808782"/>
              <a:gd name="connsiteX254" fmla="*/ 21120288 w 25004707"/>
              <a:gd name="connsiteY254" fmla="*/ 1831793 h 10808782"/>
              <a:gd name="connsiteX255" fmla="*/ 19836180 w 25004707"/>
              <a:gd name="connsiteY255" fmla="*/ 1747609 h 10808782"/>
              <a:gd name="connsiteX256" fmla="*/ 21056728 w 25004707"/>
              <a:gd name="connsiteY256" fmla="*/ 2801131 h 10808782"/>
              <a:gd name="connsiteX257" fmla="*/ 21024790 w 25004707"/>
              <a:gd name="connsiteY257" fmla="*/ 3286020 h 10808782"/>
              <a:gd name="connsiteX258" fmla="*/ 21056728 w 25004707"/>
              <a:gd name="connsiteY258" fmla="*/ 2801131 h 10808782"/>
              <a:gd name="connsiteX259" fmla="*/ 19772464 w 25004707"/>
              <a:gd name="connsiteY259" fmla="*/ 2716963 h 10808782"/>
              <a:gd name="connsiteX260" fmla="*/ 21024790 w 25004707"/>
              <a:gd name="connsiteY260" fmla="*/ 3286020 h 10808782"/>
              <a:gd name="connsiteX261" fmla="*/ 19740684 w 25004707"/>
              <a:gd name="connsiteY261" fmla="*/ 3201853 h 10808782"/>
              <a:gd name="connsiteX262" fmla="*/ 21488592 w 25004707"/>
              <a:gd name="connsiteY262" fmla="*/ 6165430 h 10808782"/>
              <a:gd name="connsiteX263" fmla="*/ 21562380 w 25004707"/>
              <a:gd name="connsiteY263" fmla="*/ 6728310 h 10808782"/>
              <a:gd name="connsiteX264" fmla="*/ 21184006 w 25004707"/>
              <a:gd name="connsiteY264" fmla="*/ 6703508 h 10808782"/>
              <a:gd name="connsiteX265" fmla="*/ 20674736 w 25004707"/>
              <a:gd name="connsiteY265" fmla="*/ 8617602 h 10808782"/>
              <a:gd name="connsiteX266" fmla="*/ 20690628 w 25004707"/>
              <a:gd name="connsiteY266" fmla="*/ 8375378 h 10808782"/>
              <a:gd name="connsiteX267" fmla="*/ 20800442 w 25004707"/>
              <a:gd name="connsiteY267" fmla="*/ 8170860 h 10808782"/>
              <a:gd name="connsiteX268" fmla="*/ 21113838 w 25004707"/>
              <a:gd name="connsiteY268" fmla="*/ 7756165 h 10808782"/>
              <a:gd name="connsiteX269" fmla="*/ 21415434 w 25004707"/>
              <a:gd name="connsiteY269" fmla="*/ 7276714 h 10808782"/>
              <a:gd name="connsiteX270" fmla="*/ 20579240 w 25004707"/>
              <a:gd name="connsiteY270" fmla="*/ 10071342 h 10808782"/>
              <a:gd name="connsiteX271" fmla="*/ 20547302 w 25004707"/>
              <a:gd name="connsiteY271" fmla="*/ 10556248 h 10808782"/>
              <a:gd name="connsiteX272" fmla="*/ 19263194 w 25004707"/>
              <a:gd name="connsiteY272" fmla="*/ 10472064 h 10808782"/>
              <a:gd name="connsiteX273" fmla="*/ 20800442 w 25004707"/>
              <a:gd name="connsiteY273" fmla="*/ 8170372 h 10808782"/>
              <a:gd name="connsiteX274" fmla="*/ 21113838 w 25004707"/>
              <a:gd name="connsiteY274" fmla="*/ 7756149 h 10808782"/>
              <a:gd name="connsiteX275" fmla="*/ 20096558 w 25004707"/>
              <a:gd name="connsiteY275" fmla="*/ 4954825 h 10808782"/>
              <a:gd name="connsiteX276" fmla="*/ 20568856 w 25004707"/>
              <a:gd name="connsiteY276" fmla="*/ 5391367 h 10808782"/>
              <a:gd name="connsiteX277" fmla="*/ 19539460 w 25004707"/>
              <a:gd name="connsiteY277" fmla="*/ 4997829 h 10808782"/>
              <a:gd name="connsiteX278" fmla="*/ 19676964 w 25004707"/>
              <a:gd name="connsiteY278" fmla="*/ 4170719 h 10808782"/>
              <a:gd name="connsiteX279" fmla="*/ 19750594 w 25004707"/>
              <a:gd name="connsiteY279" fmla="*/ 4599953 h 10808782"/>
              <a:gd name="connsiteX280" fmla="*/ 18586528 w 25004707"/>
              <a:gd name="connsiteY280" fmla="*/ 4366498 h 10808782"/>
              <a:gd name="connsiteX281" fmla="*/ 20097188 w 25004707"/>
              <a:gd name="connsiteY281" fmla="*/ 4954857 h 10808782"/>
              <a:gd name="connsiteX282" fmla="*/ 19751068 w 25004707"/>
              <a:gd name="connsiteY282" fmla="*/ 4599984 h 10808782"/>
              <a:gd name="connsiteX283" fmla="*/ 19772464 w 25004707"/>
              <a:gd name="connsiteY283" fmla="*/ 2716947 h 10808782"/>
              <a:gd name="connsiteX284" fmla="*/ 19740684 w 25004707"/>
              <a:gd name="connsiteY284" fmla="*/ 3201853 h 10808782"/>
              <a:gd name="connsiteX285" fmla="*/ 18456576 w 25004707"/>
              <a:gd name="connsiteY285" fmla="*/ 3117669 h 10808782"/>
              <a:gd name="connsiteX286" fmla="*/ 20922686 w 25004707"/>
              <a:gd name="connsiteY286" fmla="*/ 7397316 h 10808782"/>
              <a:gd name="connsiteX287" fmla="*/ 21184006 w 25004707"/>
              <a:gd name="connsiteY287" fmla="*/ 6703963 h 10808782"/>
              <a:gd name="connsiteX288" fmla="*/ 19877714 w 25004707"/>
              <a:gd name="connsiteY288" fmla="*/ 8295752 h 10808782"/>
              <a:gd name="connsiteX289" fmla="*/ 20403032 w 25004707"/>
              <a:gd name="connsiteY289" fmla="*/ 7924611 h 10808782"/>
              <a:gd name="connsiteX290" fmla="*/ 19740684 w 25004707"/>
              <a:gd name="connsiteY290" fmla="*/ 3201853 h 10808782"/>
              <a:gd name="connsiteX291" fmla="*/ 19708746 w 25004707"/>
              <a:gd name="connsiteY291" fmla="*/ 3686286 h 10808782"/>
              <a:gd name="connsiteX292" fmla="*/ 19708746 w 25004707"/>
              <a:gd name="connsiteY292" fmla="*/ 3686286 h 10808782"/>
              <a:gd name="connsiteX293" fmla="*/ 18424638 w 25004707"/>
              <a:gd name="connsiteY293" fmla="*/ 3602118 h 10808782"/>
              <a:gd name="connsiteX294" fmla="*/ 19804244 w 25004707"/>
              <a:gd name="connsiteY294" fmla="*/ 2232042 h 10808782"/>
              <a:gd name="connsiteX295" fmla="*/ 19772464 w 25004707"/>
              <a:gd name="connsiteY295" fmla="*/ 2716947 h 10808782"/>
              <a:gd name="connsiteX296" fmla="*/ 18488356 w 25004707"/>
              <a:gd name="connsiteY296" fmla="*/ 2632764 h 10808782"/>
              <a:gd name="connsiteX297" fmla="*/ 19804244 w 25004707"/>
              <a:gd name="connsiteY297" fmla="*/ 2232042 h 10808782"/>
              <a:gd name="connsiteX298" fmla="*/ 19836180 w 25004707"/>
              <a:gd name="connsiteY298" fmla="*/ 1747625 h 10808782"/>
              <a:gd name="connsiteX299" fmla="*/ 19804244 w 25004707"/>
              <a:gd name="connsiteY299" fmla="*/ 2232042 h 10808782"/>
              <a:gd name="connsiteX300" fmla="*/ 18520136 w 25004707"/>
              <a:gd name="connsiteY300" fmla="*/ 2147874 h 10808782"/>
              <a:gd name="connsiteX301" fmla="*/ 19676964 w 25004707"/>
              <a:gd name="connsiteY301" fmla="*/ 4171175 h 10808782"/>
              <a:gd name="connsiteX302" fmla="*/ 19708902 w 25004707"/>
              <a:gd name="connsiteY302" fmla="*/ 3686270 h 10808782"/>
              <a:gd name="connsiteX303" fmla="*/ 19676964 w 25004707"/>
              <a:gd name="connsiteY303" fmla="*/ 4171175 h 10808782"/>
              <a:gd name="connsiteX304" fmla="*/ 19344218 w 25004707"/>
              <a:gd name="connsiteY304" fmla="*/ 4149359 h 10808782"/>
              <a:gd name="connsiteX305" fmla="*/ 18402454 w 25004707"/>
              <a:gd name="connsiteY305" fmla="*/ 4077278 h 10808782"/>
              <a:gd name="connsiteX306" fmla="*/ 19326754 w 25004707"/>
              <a:gd name="connsiteY306" fmla="*/ 9502725 h 10808782"/>
              <a:gd name="connsiteX307" fmla="*/ 19294974 w 25004707"/>
              <a:gd name="connsiteY307" fmla="*/ 9987158 h 10808782"/>
              <a:gd name="connsiteX308" fmla="*/ 18010866 w 25004707"/>
              <a:gd name="connsiteY308" fmla="*/ 9902991 h 10808782"/>
              <a:gd name="connsiteX309" fmla="*/ 19263194 w 25004707"/>
              <a:gd name="connsiteY309" fmla="*/ 10472064 h 10808782"/>
              <a:gd name="connsiteX310" fmla="*/ 19294974 w 25004707"/>
              <a:gd name="connsiteY310" fmla="*/ 9987175 h 10808782"/>
              <a:gd name="connsiteX311" fmla="*/ 19263194 w 25004707"/>
              <a:gd name="connsiteY311" fmla="*/ 10472064 h 10808782"/>
              <a:gd name="connsiteX312" fmla="*/ 17978928 w 25004707"/>
              <a:gd name="connsiteY312" fmla="*/ 10387896 h 10808782"/>
              <a:gd name="connsiteX313" fmla="*/ 19326754 w 25004707"/>
              <a:gd name="connsiteY313" fmla="*/ 9502741 h 10808782"/>
              <a:gd name="connsiteX314" fmla="*/ 19358692 w 25004707"/>
              <a:gd name="connsiteY314" fmla="*/ 9017852 h 10808782"/>
              <a:gd name="connsiteX315" fmla="*/ 19326754 w 25004707"/>
              <a:gd name="connsiteY315" fmla="*/ 9502741 h 10808782"/>
              <a:gd name="connsiteX316" fmla="*/ 18042646 w 25004707"/>
              <a:gd name="connsiteY316" fmla="*/ 9418573 h 10808782"/>
              <a:gd name="connsiteX317" fmla="*/ 19358692 w 25004707"/>
              <a:gd name="connsiteY317" fmla="*/ 9017852 h 10808782"/>
              <a:gd name="connsiteX318" fmla="*/ 19487700 w 25004707"/>
              <a:gd name="connsiteY318" fmla="*/ 8601900 h 10808782"/>
              <a:gd name="connsiteX319" fmla="*/ 19358692 w 25004707"/>
              <a:gd name="connsiteY319" fmla="*/ 9017852 h 10808782"/>
              <a:gd name="connsiteX320" fmla="*/ 18082764 w 25004707"/>
              <a:gd name="connsiteY320" fmla="*/ 8945975 h 10808782"/>
              <a:gd name="connsiteX321" fmla="*/ 21015666 w 25004707"/>
              <a:gd name="connsiteY321" fmla="*/ 5981974 h 10808782"/>
              <a:gd name="connsiteX322" fmla="*/ 21184006 w 25004707"/>
              <a:gd name="connsiteY322" fmla="*/ 6703508 h 10808782"/>
              <a:gd name="connsiteX323" fmla="*/ 21015666 w 25004707"/>
              <a:gd name="connsiteY323" fmla="*/ 5981974 h 10808782"/>
              <a:gd name="connsiteX324" fmla="*/ 20273552 w 25004707"/>
              <a:gd name="connsiteY324" fmla="*/ 5643966 h 10808782"/>
              <a:gd name="connsiteX325" fmla="*/ 21184006 w 25004707"/>
              <a:gd name="connsiteY325" fmla="*/ 6703508 h 10808782"/>
              <a:gd name="connsiteX326" fmla="*/ 20666240 w 25004707"/>
              <a:gd name="connsiteY326" fmla="*/ 6669558 h 10808782"/>
              <a:gd name="connsiteX327" fmla="*/ 19487700 w 25004707"/>
              <a:gd name="connsiteY327" fmla="*/ 8602388 h 10808782"/>
              <a:gd name="connsiteX328" fmla="*/ 19877244 w 25004707"/>
              <a:gd name="connsiteY328" fmla="*/ 8295720 h 10808782"/>
              <a:gd name="connsiteX329" fmla="*/ 20922686 w 25004707"/>
              <a:gd name="connsiteY329" fmla="*/ 7397331 h 10808782"/>
              <a:gd name="connsiteX330" fmla="*/ 20402560 w 25004707"/>
              <a:gd name="connsiteY330" fmla="*/ 7924564 h 10808782"/>
              <a:gd name="connsiteX331" fmla="*/ 19330530 w 25004707"/>
              <a:gd name="connsiteY331" fmla="*/ 8180368 h 10808782"/>
              <a:gd name="connsiteX332" fmla="*/ 19867960 w 25004707"/>
              <a:gd name="connsiteY332" fmla="*/ 1262715 h 10808782"/>
              <a:gd name="connsiteX333" fmla="*/ 19836024 w 25004707"/>
              <a:gd name="connsiteY333" fmla="*/ 1747609 h 10808782"/>
              <a:gd name="connsiteX334" fmla="*/ 18551914 w 25004707"/>
              <a:gd name="connsiteY334" fmla="*/ 1663441 h 10808782"/>
              <a:gd name="connsiteX335" fmla="*/ 18583852 w 25004707"/>
              <a:gd name="connsiteY335" fmla="*/ 1178533 h 10808782"/>
              <a:gd name="connsiteX336" fmla="*/ 18551914 w 25004707"/>
              <a:gd name="connsiteY336" fmla="*/ 1663425 h 10808782"/>
              <a:gd name="connsiteX337" fmla="*/ 18551914 w 25004707"/>
              <a:gd name="connsiteY337" fmla="*/ 1663425 h 10808782"/>
              <a:gd name="connsiteX338" fmla="*/ 18520136 w 25004707"/>
              <a:gd name="connsiteY338" fmla="*/ 2147874 h 10808782"/>
              <a:gd name="connsiteX339" fmla="*/ 18551914 w 25004707"/>
              <a:gd name="connsiteY339" fmla="*/ 1663425 h 10808782"/>
              <a:gd name="connsiteX340" fmla="*/ 17267806 w 25004707"/>
              <a:gd name="connsiteY340" fmla="*/ 1579257 h 10808782"/>
              <a:gd name="connsiteX341" fmla="*/ 18586528 w 25004707"/>
              <a:gd name="connsiteY341" fmla="*/ 4366498 h 10808782"/>
              <a:gd name="connsiteX342" fmla="*/ 18402610 w 25004707"/>
              <a:gd name="connsiteY342" fmla="*/ 4076822 h 10808782"/>
              <a:gd name="connsiteX343" fmla="*/ 18586528 w 25004707"/>
              <a:gd name="connsiteY343" fmla="*/ 4366498 h 10808782"/>
              <a:gd name="connsiteX344" fmla="*/ 18962698 w 25004707"/>
              <a:gd name="connsiteY344" fmla="*/ 4627804 h 10808782"/>
              <a:gd name="connsiteX345" fmla="*/ 18586528 w 25004707"/>
              <a:gd name="connsiteY345" fmla="*/ 4366498 h 10808782"/>
              <a:gd name="connsiteX346" fmla="*/ 17200786 w 25004707"/>
              <a:gd name="connsiteY346" fmla="*/ 4158019 h 10808782"/>
              <a:gd name="connsiteX347" fmla="*/ 18488356 w 25004707"/>
              <a:gd name="connsiteY347" fmla="*/ 2632764 h 10808782"/>
              <a:gd name="connsiteX348" fmla="*/ 18456418 w 25004707"/>
              <a:gd name="connsiteY348" fmla="*/ 3117653 h 10808782"/>
              <a:gd name="connsiteX349" fmla="*/ 17172310 w 25004707"/>
              <a:gd name="connsiteY349" fmla="*/ 3033485 h 10808782"/>
              <a:gd name="connsiteX350" fmla="*/ 18488356 w 25004707"/>
              <a:gd name="connsiteY350" fmla="*/ 2632764 h 10808782"/>
              <a:gd name="connsiteX351" fmla="*/ 18520136 w 25004707"/>
              <a:gd name="connsiteY351" fmla="*/ 2147874 h 10808782"/>
              <a:gd name="connsiteX352" fmla="*/ 18488356 w 25004707"/>
              <a:gd name="connsiteY352" fmla="*/ 2632764 h 10808782"/>
              <a:gd name="connsiteX353" fmla="*/ 17204090 w 25004707"/>
              <a:gd name="connsiteY353" fmla="*/ 2548596 h 10808782"/>
              <a:gd name="connsiteX354" fmla="*/ 18424638 w 25004707"/>
              <a:gd name="connsiteY354" fmla="*/ 3602118 h 10808782"/>
              <a:gd name="connsiteX355" fmla="*/ 18402454 w 25004707"/>
              <a:gd name="connsiteY355" fmla="*/ 4077310 h 10808782"/>
              <a:gd name="connsiteX356" fmla="*/ 17125426 w 25004707"/>
              <a:gd name="connsiteY356" fmla="*/ 3949824 h 10808782"/>
              <a:gd name="connsiteX357" fmla="*/ 18424638 w 25004707"/>
              <a:gd name="connsiteY357" fmla="*/ 3602118 h 10808782"/>
              <a:gd name="connsiteX358" fmla="*/ 18456418 w 25004707"/>
              <a:gd name="connsiteY358" fmla="*/ 3117684 h 10808782"/>
              <a:gd name="connsiteX359" fmla="*/ 18424638 w 25004707"/>
              <a:gd name="connsiteY359" fmla="*/ 3602118 h 10808782"/>
              <a:gd name="connsiteX360" fmla="*/ 17140372 w 25004707"/>
              <a:gd name="connsiteY360" fmla="*/ 3517934 h 10808782"/>
              <a:gd name="connsiteX361" fmla="*/ 18520136 w 25004707"/>
              <a:gd name="connsiteY361" fmla="*/ 2147874 h 10808782"/>
              <a:gd name="connsiteX362" fmla="*/ 17236028 w 25004707"/>
              <a:gd name="connsiteY362" fmla="*/ 2063691 h 10808782"/>
              <a:gd name="connsiteX363" fmla="*/ 18962698 w 25004707"/>
              <a:gd name="connsiteY363" fmla="*/ 4627804 h 10808782"/>
              <a:gd name="connsiteX364" fmla="*/ 17358900 w 25004707"/>
              <a:gd name="connsiteY364" fmla="*/ 4323180 h 10808782"/>
              <a:gd name="connsiteX365" fmla="*/ 18962698 w 25004707"/>
              <a:gd name="connsiteY365" fmla="*/ 4627804 h 10808782"/>
              <a:gd name="connsiteX366" fmla="*/ 20096558 w 25004707"/>
              <a:gd name="connsiteY366" fmla="*/ 4954825 h 10808782"/>
              <a:gd name="connsiteX367" fmla="*/ 20273552 w 25004707"/>
              <a:gd name="connsiteY367" fmla="*/ 5643966 h 10808782"/>
              <a:gd name="connsiteX368" fmla="*/ 19539618 w 25004707"/>
              <a:gd name="connsiteY368" fmla="*/ 4997813 h 10808782"/>
              <a:gd name="connsiteX369" fmla="*/ 20273552 w 25004707"/>
              <a:gd name="connsiteY369" fmla="*/ 5643966 h 10808782"/>
              <a:gd name="connsiteX370" fmla="*/ 20666240 w 25004707"/>
              <a:gd name="connsiteY370" fmla="*/ 6669558 h 10808782"/>
              <a:gd name="connsiteX371" fmla="*/ 20273552 w 25004707"/>
              <a:gd name="connsiteY371" fmla="*/ 5643966 h 10808782"/>
              <a:gd name="connsiteX372" fmla="*/ 18261016 w 25004707"/>
              <a:gd name="connsiteY372" fmla="*/ 5022238 h 10808782"/>
              <a:gd name="connsiteX373" fmla="*/ 18710344 w 25004707"/>
              <a:gd name="connsiteY373" fmla="*/ 8471883 h 10808782"/>
              <a:gd name="connsiteX374" fmla="*/ 18303180 w 25004707"/>
              <a:gd name="connsiteY374" fmla="*/ 8681872 h 10808782"/>
              <a:gd name="connsiteX375" fmla="*/ 19487858 w 25004707"/>
              <a:gd name="connsiteY375" fmla="*/ 8602371 h 10808782"/>
              <a:gd name="connsiteX376" fmla="*/ 20666084 w 25004707"/>
              <a:gd name="connsiteY376" fmla="*/ 6669542 h 10808782"/>
              <a:gd name="connsiteX377" fmla="*/ 20142814 w 25004707"/>
              <a:gd name="connsiteY377" fmla="*/ 7635092 h 10808782"/>
              <a:gd name="connsiteX378" fmla="*/ 19330530 w 25004707"/>
              <a:gd name="connsiteY378" fmla="*/ 8179866 h 10808782"/>
              <a:gd name="connsiteX379" fmla="*/ 18710188 w 25004707"/>
              <a:gd name="connsiteY379" fmla="*/ 8471868 h 10808782"/>
              <a:gd name="connsiteX380" fmla="*/ 19330530 w 25004707"/>
              <a:gd name="connsiteY380" fmla="*/ 8179881 h 10808782"/>
              <a:gd name="connsiteX381" fmla="*/ 17402166 w 25004707"/>
              <a:gd name="connsiteY381" fmla="*/ 8385201 h 10808782"/>
              <a:gd name="connsiteX382" fmla="*/ 18082764 w 25004707"/>
              <a:gd name="connsiteY382" fmla="*/ 8945975 h 10808782"/>
              <a:gd name="connsiteX383" fmla="*/ 18303180 w 25004707"/>
              <a:gd name="connsiteY383" fmla="*/ 8681400 h 10808782"/>
              <a:gd name="connsiteX384" fmla="*/ 18082764 w 25004707"/>
              <a:gd name="connsiteY384" fmla="*/ 8945975 h 10808782"/>
              <a:gd name="connsiteX385" fmla="*/ 18042646 w 25004707"/>
              <a:gd name="connsiteY385" fmla="*/ 9418573 h 10808782"/>
              <a:gd name="connsiteX386" fmla="*/ 18082764 w 25004707"/>
              <a:gd name="connsiteY386" fmla="*/ 8945975 h 10808782"/>
              <a:gd name="connsiteX387" fmla="*/ 16799444 w 25004707"/>
              <a:gd name="connsiteY387" fmla="*/ 8904669 h 10808782"/>
              <a:gd name="connsiteX388" fmla="*/ 17978928 w 25004707"/>
              <a:gd name="connsiteY388" fmla="*/ 10387896 h 10808782"/>
              <a:gd name="connsiteX389" fmla="*/ 18010866 w 25004707"/>
              <a:gd name="connsiteY389" fmla="*/ 9902991 h 10808782"/>
              <a:gd name="connsiteX390" fmla="*/ 17978928 w 25004707"/>
              <a:gd name="connsiteY390" fmla="*/ 10387896 h 10808782"/>
              <a:gd name="connsiteX391" fmla="*/ 16694821 w 25004707"/>
              <a:gd name="connsiteY391" fmla="*/ 10303712 h 10808782"/>
              <a:gd name="connsiteX392" fmla="*/ 18010866 w 25004707"/>
              <a:gd name="connsiteY392" fmla="*/ 9902991 h 10808782"/>
              <a:gd name="connsiteX393" fmla="*/ 18042646 w 25004707"/>
              <a:gd name="connsiteY393" fmla="*/ 9418558 h 10808782"/>
              <a:gd name="connsiteX394" fmla="*/ 16758537 w 25004707"/>
              <a:gd name="connsiteY394" fmla="*/ 9334389 h 10808782"/>
              <a:gd name="connsiteX395" fmla="*/ 18010866 w 25004707"/>
              <a:gd name="connsiteY395" fmla="*/ 9902991 h 10808782"/>
              <a:gd name="connsiteX396" fmla="*/ 16726601 w 25004707"/>
              <a:gd name="connsiteY396" fmla="*/ 9818807 h 10808782"/>
              <a:gd name="connsiteX397" fmla="*/ 20666240 w 25004707"/>
              <a:gd name="connsiteY397" fmla="*/ 6669558 h 10808782"/>
              <a:gd name="connsiteX398" fmla="*/ 18998410 w 25004707"/>
              <a:gd name="connsiteY398" fmla="*/ 6560226 h 10808782"/>
              <a:gd name="connsiteX399" fmla="*/ 18261646 w 25004707"/>
              <a:gd name="connsiteY399" fmla="*/ 5022270 h 10808782"/>
              <a:gd name="connsiteX400" fmla="*/ 14385738 w 25004707"/>
              <a:gd name="connsiteY400" fmla="*/ 4808195 h 10808782"/>
              <a:gd name="connsiteX401" fmla="*/ 12486354 w 25004707"/>
              <a:gd name="connsiteY401" fmla="*/ 5165033 h 10808782"/>
              <a:gd name="connsiteX402" fmla="*/ 18962698 w 25004707"/>
              <a:gd name="connsiteY402" fmla="*/ 4628276 h 10808782"/>
              <a:gd name="connsiteX403" fmla="*/ 19539460 w 25004707"/>
              <a:gd name="connsiteY403" fmla="*/ 4998269 h 10808782"/>
              <a:gd name="connsiteX404" fmla="*/ 17654520 w 25004707"/>
              <a:gd name="connsiteY404" fmla="*/ 4542992 h 10808782"/>
              <a:gd name="connsiteX405" fmla="*/ 16758537 w 25004707"/>
              <a:gd name="connsiteY405" fmla="*/ 9334389 h 10808782"/>
              <a:gd name="connsiteX406" fmla="*/ 16800072 w 25004707"/>
              <a:gd name="connsiteY406" fmla="*/ 8904700 h 10808782"/>
              <a:gd name="connsiteX407" fmla="*/ 16758537 w 25004707"/>
              <a:gd name="connsiteY407" fmla="*/ 9334389 h 10808782"/>
              <a:gd name="connsiteX408" fmla="*/ 16726601 w 25004707"/>
              <a:gd name="connsiteY408" fmla="*/ 9818807 h 10808782"/>
              <a:gd name="connsiteX409" fmla="*/ 16758537 w 25004707"/>
              <a:gd name="connsiteY409" fmla="*/ 9334389 h 10808782"/>
              <a:gd name="connsiteX410" fmla="*/ 15474273 w 25004707"/>
              <a:gd name="connsiteY410" fmla="*/ 9250206 h 10808782"/>
              <a:gd name="connsiteX411" fmla="*/ 16726601 w 25004707"/>
              <a:gd name="connsiteY411" fmla="*/ 9818807 h 10808782"/>
              <a:gd name="connsiteX412" fmla="*/ 16694821 w 25004707"/>
              <a:gd name="connsiteY412" fmla="*/ 10303712 h 10808782"/>
              <a:gd name="connsiteX413" fmla="*/ 15410602 w 25004707"/>
              <a:gd name="connsiteY413" fmla="*/ 10219528 h 10808782"/>
              <a:gd name="connsiteX414" fmla="*/ 17267806 w 25004707"/>
              <a:gd name="connsiteY414" fmla="*/ 1579257 h 10808782"/>
              <a:gd name="connsiteX415" fmla="*/ 17236028 w 25004707"/>
              <a:gd name="connsiteY415" fmla="*/ 2063691 h 10808782"/>
              <a:gd name="connsiteX416" fmla="*/ 17267806 w 25004707"/>
              <a:gd name="connsiteY416" fmla="*/ 1579257 h 10808782"/>
              <a:gd name="connsiteX417" fmla="*/ 17299588 w 25004707"/>
              <a:gd name="connsiteY417" fmla="*/ 1094351 h 10808782"/>
              <a:gd name="connsiteX418" fmla="*/ 17267806 w 25004707"/>
              <a:gd name="connsiteY418" fmla="*/ 1579257 h 10808782"/>
              <a:gd name="connsiteX419" fmla="*/ 15983542 w 25004707"/>
              <a:gd name="connsiteY419" fmla="*/ 1495075 h 10808782"/>
              <a:gd name="connsiteX420" fmla="*/ 17236028 w 25004707"/>
              <a:gd name="connsiteY420" fmla="*/ 2063691 h 10808782"/>
              <a:gd name="connsiteX421" fmla="*/ 17204090 w 25004707"/>
              <a:gd name="connsiteY421" fmla="*/ 2548596 h 10808782"/>
              <a:gd name="connsiteX422" fmla="*/ 17236028 w 25004707"/>
              <a:gd name="connsiteY422" fmla="*/ 2063691 h 10808782"/>
              <a:gd name="connsiteX423" fmla="*/ 15951762 w 25004707"/>
              <a:gd name="connsiteY423" fmla="*/ 1979523 h 10808782"/>
              <a:gd name="connsiteX424" fmla="*/ 16799444 w 25004707"/>
              <a:gd name="connsiteY424" fmla="*/ 8904669 h 10808782"/>
              <a:gd name="connsiteX425" fmla="*/ 16902020 w 25004707"/>
              <a:gd name="connsiteY425" fmla="*/ 8707648 h 10808782"/>
              <a:gd name="connsiteX426" fmla="*/ 18303180 w 25004707"/>
              <a:gd name="connsiteY426" fmla="*/ 8681872 h 10808782"/>
              <a:gd name="connsiteX427" fmla="*/ 16799444 w 25004707"/>
              <a:gd name="connsiteY427" fmla="*/ 8904669 h 10808782"/>
              <a:gd name="connsiteX428" fmla="*/ 15487866 w 25004707"/>
              <a:gd name="connsiteY428" fmla="*/ 8816367 h 10808782"/>
              <a:gd name="connsiteX429" fmla="*/ 17204090 w 25004707"/>
              <a:gd name="connsiteY429" fmla="*/ 2548596 h 10808782"/>
              <a:gd name="connsiteX430" fmla="*/ 15919982 w 25004707"/>
              <a:gd name="connsiteY430" fmla="*/ 2464396 h 10808782"/>
              <a:gd name="connsiteX431" fmla="*/ 17172310 w 25004707"/>
              <a:gd name="connsiteY431" fmla="*/ 3033501 h 10808782"/>
              <a:gd name="connsiteX432" fmla="*/ 17140372 w 25004707"/>
              <a:gd name="connsiteY432" fmla="*/ 3517934 h 10808782"/>
              <a:gd name="connsiteX433" fmla="*/ 17140372 w 25004707"/>
              <a:gd name="connsiteY433" fmla="*/ 3517934 h 10808782"/>
              <a:gd name="connsiteX434" fmla="*/ 15856264 w 25004707"/>
              <a:gd name="connsiteY434" fmla="*/ 3433766 h 10808782"/>
              <a:gd name="connsiteX435" fmla="*/ 16726601 w 25004707"/>
              <a:gd name="connsiteY435" fmla="*/ 9818807 h 10808782"/>
              <a:gd name="connsiteX436" fmla="*/ 15442492 w 25004707"/>
              <a:gd name="connsiteY436" fmla="*/ 9734623 h 10808782"/>
              <a:gd name="connsiteX437" fmla="*/ 17204090 w 25004707"/>
              <a:gd name="connsiteY437" fmla="*/ 2548580 h 10808782"/>
              <a:gd name="connsiteX438" fmla="*/ 17172310 w 25004707"/>
              <a:gd name="connsiteY438" fmla="*/ 3033485 h 10808782"/>
              <a:gd name="connsiteX439" fmla="*/ 15888202 w 25004707"/>
              <a:gd name="connsiteY439" fmla="*/ 2949301 h 10808782"/>
              <a:gd name="connsiteX440" fmla="*/ 17402166 w 25004707"/>
              <a:gd name="connsiteY440" fmla="*/ 8385673 h 10808782"/>
              <a:gd name="connsiteX441" fmla="*/ 18066716 w 25004707"/>
              <a:gd name="connsiteY441" fmla="*/ 7989305 h 10808782"/>
              <a:gd name="connsiteX442" fmla="*/ 18998254 w 25004707"/>
              <a:gd name="connsiteY442" fmla="*/ 6560697 h 10808782"/>
              <a:gd name="connsiteX443" fmla="*/ 16901864 w 25004707"/>
              <a:gd name="connsiteY443" fmla="*/ 8707648 h 10808782"/>
              <a:gd name="connsiteX444" fmla="*/ 17080274 w 25004707"/>
              <a:gd name="connsiteY444" fmla="*/ 8564539 h 10808782"/>
              <a:gd name="connsiteX445" fmla="*/ 17402166 w 25004707"/>
              <a:gd name="connsiteY445" fmla="*/ 8385201 h 10808782"/>
              <a:gd name="connsiteX446" fmla="*/ 17200630 w 25004707"/>
              <a:gd name="connsiteY446" fmla="*/ 4158019 h 10808782"/>
              <a:gd name="connsiteX447" fmla="*/ 17124954 w 25004707"/>
              <a:gd name="connsiteY447" fmla="*/ 3949321 h 10808782"/>
              <a:gd name="connsiteX448" fmla="*/ 17140530 w 25004707"/>
              <a:gd name="connsiteY448" fmla="*/ 3517934 h 10808782"/>
              <a:gd name="connsiteX449" fmla="*/ 17125426 w 25004707"/>
              <a:gd name="connsiteY449" fmla="*/ 3949352 h 10808782"/>
              <a:gd name="connsiteX450" fmla="*/ 17201730 w 25004707"/>
              <a:gd name="connsiteY450" fmla="*/ 4158098 h 10808782"/>
              <a:gd name="connsiteX451" fmla="*/ 17358742 w 25004707"/>
              <a:gd name="connsiteY451" fmla="*/ 4323196 h 10808782"/>
              <a:gd name="connsiteX452" fmla="*/ 15489707 w 25004707"/>
              <a:gd name="connsiteY452" fmla="*/ 4211020 h 10808782"/>
              <a:gd name="connsiteX453" fmla="*/ 17654676 w 25004707"/>
              <a:gd name="connsiteY453" fmla="*/ 4542552 h 10808782"/>
              <a:gd name="connsiteX454" fmla="*/ 17359372 w 25004707"/>
              <a:gd name="connsiteY454" fmla="*/ 4322756 h 10808782"/>
              <a:gd name="connsiteX455" fmla="*/ 18261488 w 25004707"/>
              <a:gd name="connsiteY455" fmla="*/ 5022254 h 10808782"/>
              <a:gd name="connsiteX456" fmla="*/ 17654520 w 25004707"/>
              <a:gd name="connsiteY456" fmla="*/ 4542536 h 10808782"/>
              <a:gd name="connsiteX457" fmla="*/ 10846386 w 25004707"/>
              <a:gd name="connsiteY457" fmla="*/ 1158336 h 10808782"/>
              <a:gd name="connsiteX458" fmla="*/ 10814575 w 25004707"/>
              <a:gd name="connsiteY458" fmla="*/ 1642772 h 10808782"/>
              <a:gd name="connsiteX459" fmla="*/ 10846386 w 25004707"/>
              <a:gd name="connsiteY459" fmla="*/ 1158336 h 10808782"/>
              <a:gd name="connsiteX460" fmla="*/ 10878229 w 25004707"/>
              <a:gd name="connsiteY460" fmla="*/ 673426 h 10808782"/>
              <a:gd name="connsiteX461" fmla="*/ 10846386 w 25004707"/>
              <a:gd name="connsiteY461" fmla="*/ 1158336 h 10808782"/>
              <a:gd name="connsiteX462" fmla="*/ 9562215 w 25004707"/>
              <a:gd name="connsiteY462" fmla="*/ 1074149 h 10808782"/>
              <a:gd name="connsiteX463" fmla="*/ 10846386 w 25004707"/>
              <a:gd name="connsiteY463" fmla="*/ 1158336 h 10808782"/>
              <a:gd name="connsiteX464" fmla="*/ 12130541 w 25004707"/>
              <a:gd name="connsiteY464" fmla="*/ 1242500 h 10808782"/>
              <a:gd name="connsiteX465" fmla="*/ 10814575 w 25004707"/>
              <a:gd name="connsiteY465" fmla="*/ 1642772 h 10808782"/>
              <a:gd name="connsiteX466" fmla="*/ 10782701 w 25004707"/>
              <a:gd name="connsiteY466" fmla="*/ 2127677 h 10808782"/>
              <a:gd name="connsiteX467" fmla="*/ 10814575 w 25004707"/>
              <a:gd name="connsiteY467" fmla="*/ 1642772 h 10808782"/>
              <a:gd name="connsiteX468" fmla="*/ 12098730 w 25004707"/>
              <a:gd name="connsiteY468" fmla="*/ 1726956 h 10808782"/>
              <a:gd name="connsiteX469" fmla="*/ 10814575 w 25004707"/>
              <a:gd name="connsiteY469" fmla="*/ 1642772 h 10808782"/>
              <a:gd name="connsiteX470" fmla="*/ 9530388 w 25004707"/>
              <a:gd name="connsiteY470" fmla="*/ 1558589 h 10808782"/>
              <a:gd name="connsiteX471" fmla="*/ 10305289 w 25004707"/>
              <a:gd name="connsiteY471" fmla="*/ 9397889 h 10808782"/>
              <a:gd name="connsiteX472" fmla="*/ 10273446 w 25004707"/>
              <a:gd name="connsiteY472" fmla="*/ 9882778 h 10808782"/>
              <a:gd name="connsiteX473" fmla="*/ 8989260 w 25004707"/>
              <a:gd name="connsiteY473" fmla="*/ 9798610 h 10808782"/>
              <a:gd name="connsiteX474" fmla="*/ 10555692 w 25004707"/>
              <a:gd name="connsiteY474" fmla="*/ 5519827 h 10808782"/>
              <a:gd name="connsiteX475" fmla="*/ 10507424 w 25004707"/>
              <a:gd name="connsiteY475" fmla="*/ 6003648 h 10808782"/>
              <a:gd name="connsiteX476" fmla="*/ 10555614 w 25004707"/>
              <a:gd name="connsiteY476" fmla="*/ 5519341 h 10808782"/>
              <a:gd name="connsiteX477" fmla="*/ 10575783 w 25004707"/>
              <a:gd name="connsiteY477" fmla="*/ 5277870 h 10808782"/>
              <a:gd name="connsiteX478" fmla="*/ 10591688 w 25004707"/>
              <a:gd name="connsiteY478" fmla="*/ 5035661 h 10808782"/>
              <a:gd name="connsiteX479" fmla="*/ 11548855 w 25004707"/>
              <a:gd name="connsiteY479" fmla="*/ 5027347 h 10808782"/>
              <a:gd name="connsiteX480" fmla="*/ 10337085 w 25004707"/>
              <a:gd name="connsiteY480" fmla="*/ 8913455 h 10808782"/>
              <a:gd name="connsiteX481" fmla="*/ 10305258 w 25004707"/>
              <a:gd name="connsiteY481" fmla="*/ 9397889 h 10808782"/>
              <a:gd name="connsiteX482" fmla="*/ 9021087 w 25004707"/>
              <a:gd name="connsiteY482" fmla="*/ 9313705 h 10808782"/>
              <a:gd name="connsiteX483" fmla="*/ 10337085 w 25004707"/>
              <a:gd name="connsiteY483" fmla="*/ 8913455 h 10808782"/>
              <a:gd name="connsiteX484" fmla="*/ 10368913 w 25004707"/>
              <a:gd name="connsiteY484" fmla="*/ 8428566 h 10808782"/>
              <a:gd name="connsiteX485" fmla="*/ 10337085 w 25004707"/>
              <a:gd name="connsiteY485" fmla="*/ 8913455 h 10808782"/>
              <a:gd name="connsiteX486" fmla="*/ 9052883 w 25004707"/>
              <a:gd name="connsiteY486" fmla="*/ 8829287 h 10808782"/>
              <a:gd name="connsiteX487" fmla="*/ 10464347 w 25004707"/>
              <a:gd name="connsiteY487" fmla="*/ 6974794 h 10808782"/>
              <a:gd name="connsiteX488" fmla="*/ 10432536 w 25004707"/>
              <a:gd name="connsiteY488" fmla="*/ 7459228 h 10808782"/>
              <a:gd name="connsiteX489" fmla="*/ 9148365 w 25004707"/>
              <a:gd name="connsiteY489" fmla="*/ 7375059 h 10808782"/>
              <a:gd name="connsiteX490" fmla="*/ 9116522 w 25004707"/>
              <a:gd name="connsiteY490" fmla="*/ 7859965 h 10808782"/>
              <a:gd name="connsiteX491" fmla="*/ 10782731 w 25004707"/>
              <a:gd name="connsiteY491" fmla="*/ 2127662 h 10808782"/>
              <a:gd name="connsiteX492" fmla="*/ 10750888 w 25004707"/>
              <a:gd name="connsiteY492" fmla="*/ 2612551 h 10808782"/>
              <a:gd name="connsiteX493" fmla="*/ 10750888 w 25004707"/>
              <a:gd name="connsiteY493" fmla="*/ 2612551 h 10808782"/>
              <a:gd name="connsiteX494" fmla="*/ 12035043 w 25004707"/>
              <a:gd name="connsiteY494" fmla="*/ 2696735 h 10808782"/>
              <a:gd name="connsiteX495" fmla="*/ 10750888 w 25004707"/>
              <a:gd name="connsiteY495" fmla="*/ 2612551 h 10808782"/>
              <a:gd name="connsiteX496" fmla="*/ 9466717 w 25004707"/>
              <a:gd name="connsiteY496" fmla="*/ 2528383 h 10808782"/>
              <a:gd name="connsiteX497" fmla="*/ 10687250 w 25004707"/>
              <a:gd name="connsiteY497" fmla="*/ 3581905 h 10808782"/>
              <a:gd name="connsiteX498" fmla="*/ 10655422 w 25004707"/>
              <a:gd name="connsiteY498" fmla="*/ 4066339 h 10808782"/>
              <a:gd name="connsiteX499" fmla="*/ 10687250 w 25004707"/>
              <a:gd name="connsiteY499" fmla="*/ 3581905 h 10808782"/>
              <a:gd name="connsiteX500" fmla="*/ 10719077 w 25004707"/>
              <a:gd name="connsiteY500" fmla="*/ 3096984 h 10808782"/>
              <a:gd name="connsiteX501" fmla="*/ 10687250 w 25004707"/>
              <a:gd name="connsiteY501" fmla="*/ 3581905 h 10808782"/>
              <a:gd name="connsiteX502" fmla="*/ 9403063 w 25004707"/>
              <a:gd name="connsiteY502" fmla="*/ 3497721 h 10808782"/>
              <a:gd name="connsiteX503" fmla="*/ 10655422 w 25004707"/>
              <a:gd name="connsiteY503" fmla="*/ 4066339 h 10808782"/>
              <a:gd name="connsiteX504" fmla="*/ 9371251 w 25004707"/>
              <a:gd name="connsiteY504" fmla="*/ 3982155 h 10808782"/>
              <a:gd name="connsiteX505" fmla="*/ 10655422 w 25004707"/>
              <a:gd name="connsiteY505" fmla="*/ 4066339 h 10808782"/>
              <a:gd name="connsiteX506" fmla="*/ 11939593 w 25004707"/>
              <a:gd name="connsiteY506" fmla="*/ 4150506 h 10808782"/>
              <a:gd name="connsiteX507" fmla="*/ 10368881 w 25004707"/>
              <a:gd name="connsiteY507" fmla="*/ 8428566 h 10808782"/>
              <a:gd name="connsiteX508" fmla="*/ 10400693 w 25004707"/>
              <a:gd name="connsiteY508" fmla="*/ 7944132 h 10808782"/>
              <a:gd name="connsiteX509" fmla="*/ 11684864 w 25004707"/>
              <a:gd name="connsiteY509" fmla="*/ 8028316 h 10808782"/>
              <a:gd name="connsiteX510" fmla="*/ 10368881 w 25004707"/>
              <a:gd name="connsiteY510" fmla="*/ 8428566 h 10808782"/>
              <a:gd name="connsiteX511" fmla="*/ 11653068 w 25004707"/>
              <a:gd name="connsiteY511" fmla="*/ 8512733 h 10808782"/>
              <a:gd name="connsiteX512" fmla="*/ 10368881 w 25004707"/>
              <a:gd name="connsiteY512" fmla="*/ 8428566 h 10808782"/>
              <a:gd name="connsiteX513" fmla="*/ 9084726 w 25004707"/>
              <a:gd name="connsiteY513" fmla="*/ 8344382 h 10808782"/>
              <a:gd name="connsiteX514" fmla="*/ 10491817 w 25004707"/>
              <a:gd name="connsiteY514" fmla="*/ 6490549 h 10808782"/>
              <a:gd name="connsiteX515" fmla="*/ 10480222 w 25004707"/>
              <a:gd name="connsiteY515" fmla="*/ 6732585 h 10808782"/>
              <a:gd name="connsiteX516" fmla="*/ 10464317 w 25004707"/>
              <a:gd name="connsiteY516" fmla="*/ 6974794 h 10808782"/>
              <a:gd name="connsiteX517" fmla="*/ 9180145 w 25004707"/>
              <a:gd name="connsiteY517" fmla="*/ 6890626 h 10808782"/>
              <a:gd name="connsiteX518" fmla="*/ 10507361 w 25004707"/>
              <a:gd name="connsiteY518" fmla="*/ 6003632 h 10808782"/>
              <a:gd name="connsiteX519" fmla="*/ 10491943 w 25004707"/>
              <a:gd name="connsiteY519" fmla="*/ 6489606 h 10808782"/>
              <a:gd name="connsiteX520" fmla="*/ 10163458 w 25004707"/>
              <a:gd name="connsiteY520" fmla="*/ 6468073 h 10808782"/>
              <a:gd name="connsiteX521" fmla="*/ 9212005 w 25004707"/>
              <a:gd name="connsiteY521" fmla="*/ 6405705 h 10808782"/>
              <a:gd name="connsiteX522" fmla="*/ 10507361 w 25004707"/>
              <a:gd name="connsiteY522" fmla="*/ 6003632 h 10808782"/>
              <a:gd name="connsiteX523" fmla="*/ 9243879 w 25004707"/>
              <a:gd name="connsiteY523" fmla="*/ 5920832 h 10808782"/>
              <a:gd name="connsiteX524" fmla="*/ 10507361 w 25004707"/>
              <a:gd name="connsiteY524" fmla="*/ 6003632 h 10808782"/>
              <a:gd name="connsiteX525" fmla="*/ 11123456 w 25004707"/>
              <a:gd name="connsiteY525" fmla="*/ 6044043 h 10808782"/>
              <a:gd name="connsiteX526" fmla="*/ 10782701 w 25004707"/>
              <a:gd name="connsiteY526" fmla="*/ 2127677 h 10808782"/>
              <a:gd name="connsiteX527" fmla="*/ 12066887 w 25004707"/>
              <a:gd name="connsiteY527" fmla="*/ 2211845 h 10808782"/>
              <a:gd name="connsiteX528" fmla="*/ 10782701 w 25004707"/>
              <a:gd name="connsiteY528" fmla="*/ 2127677 h 10808782"/>
              <a:gd name="connsiteX529" fmla="*/ 9498529 w 25004707"/>
              <a:gd name="connsiteY529" fmla="*/ 2043493 h 10808782"/>
              <a:gd name="connsiteX530" fmla="*/ 10750841 w 25004707"/>
              <a:gd name="connsiteY530" fmla="*/ 2612582 h 10808782"/>
              <a:gd name="connsiteX531" fmla="*/ 10719029 w 25004707"/>
              <a:gd name="connsiteY531" fmla="*/ 3097016 h 10808782"/>
              <a:gd name="connsiteX532" fmla="*/ 9434859 w 25004707"/>
              <a:gd name="connsiteY532" fmla="*/ 3012832 h 10808782"/>
              <a:gd name="connsiteX533" fmla="*/ 10623563 w 25004707"/>
              <a:gd name="connsiteY533" fmla="*/ 4551244 h 10808782"/>
              <a:gd name="connsiteX534" fmla="*/ 10591752 w 25004707"/>
              <a:gd name="connsiteY534" fmla="*/ 5035661 h 10808782"/>
              <a:gd name="connsiteX535" fmla="*/ 9307550 w 25004707"/>
              <a:gd name="connsiteY535" fmla="*/ 4951493 h 10808782"/>
              <a:gd name="connsiteX536" fmla="*/ 9275706 w 25004707"/>
              <a:gd name="connsiteY536" fmla="*/ 5436398 h 10808782"/>
              <a:gd name="connsiteX537" fmla="*/ 10623563 w 25004707"/>
              <a:gd name="connsiteY537" fmla="*/ 4551244 h 10808782"/>
              <a:gd name="connsiteX538" fmla="*/ 10655390 w 25004707"/>
              <a:gd name="connsiteY538" fmla="*/ 4066339 h 10808782"/>
              <a:gd name="connsiteX539" fmla="*/ 10623563 w 25004707"/>
              <a:gd name="connsiteY539" fmla="*/ 4551244 h 10808782"/>
              <a:gd name="connsiteX540" fmla="*/ 9339392 w 25004707"/>
              <a:gd name="connsiteY540" fmla="*/ 4467060 h 10808782"/>
              <a:gd name="connsiteX541" fmla="*/ 10432504 w 25004707"/>
              <a:gd name="connsiteY541" fmla="*/ 7459228 h 10808782"/>
              <a:gd name="connsiteX542" fmla="*/ 10400662 w 25004707"/>
              <a:gd name="connsiteY542" fmla="*/ 7944132 h 10808782"/>
              <a:gd name="connsiteX543" fmla="*/ 9116475 w 25004707"/>
              <a:gd name="connsiteY543" fmla="*/ 7859949 h 10808782"/>
              <a:gd name="connsiteX544" fmla="*/ 5662142 w 25004707"/>
              <a:gd name="connsiteY544" fmla="*/ 1780254 h 10808782"/>
              <a:gd name="connsiteX545" fmla="*/ 5658194 w 25004707"/>
              <a:gd name="connsiteY545" fmla="*/ 2262267 h 10808782"/>
              <a:gd name="connsiteX546" fmla="*/ 5662142 w 25004707"/>
              <a:gd name="connsiteY546" fmla="*/ 1780254 h 10808782"/>
              <a:gd name="connsiteX547" fmla="*/ 4402830 w 25004707"/>
              <a:gd name="connsiteY547" fmla="*/ 1082261 h 10808782"/>
              <a:gd name="connsiteX548" fmla="*/ 5662142 w 25004707"/>
              <a:gd name="connsiteY548" fmla="*/ 1780254 h 10808782"/>
              <a:gd name="connsiteX549" fmla="*/ 6479129 w 25004707"/>
              <a:gd name="connsiteY549" fmla="*/ 1845561 h 10808782"/>
              <a:gd name="connsiteX550" fmla="*/ 6930187 w 25004707"/>
              <a:gd name="connsiteY550" fmla="*/ 1875142 h 10808782"/>
              <a:gd name="connsiteX551" fmla="*/ 5658194 w 25004707"/>
              <a:gd name="connsiteY551" fmla="*/ 2262267 h 10808782"/>
              <a:gd name="connsiteX552" fmla="*/ 4366723 w 25004707"/>
              <a:gd name="connsiteY552" fmla="*/ 1631817 h 10808782"/>
              <a:gd name="connsiteX553" fmla="*/ 5658194 w 25004707"/>
              <a:gd name="connsiteY553" fmla="*/ 2262267 h 10808782"/>
              <a:gd name="connsiteX554" fmla="*/ 5911822 w 25004707"/>
              <a:gd name="connsiteY554" fmla="*/ 2295353 h 10808782"/>
              <a:gd name="connsiteX555" fmla="*/ 6898297 w 25004707"/>
              <a:gd name="connsiteY555" fmla="*/ 2360015 h 10808782"/>
              <a:gd name="connsiteX556" fmla="*/ 6930156 w 25004707"/>
              <a:gd name="connsiteY556" fmla="*/ 1875126 h 10808782"/>
              <a:gd name="connsiteX557" fmla="*/ 5455005 w 25004707"/>
              <a:gd name="connsiteY557" fmla="*/ 4698958 h 10808782"/>
              <a:gd name="connsiteX558" fmla="*/ 5486817 w 25004707"/>
              <a:gd name="connsiteY558" fmla="*/ 4214524 h 10808782"/>
              <a:gd name="connsiteX559" fmla="*/ 6771003 w 25004707"/>
              <a:gd name="connsiteY559" fmla="*/ 4298708 h 10808782"/>
              <a:gd name="connsiteX560" fmla="*/ 5455005 w 25004707"/>
              <a:gd name="connsiteY560" fmla="*/ 4698958 h 10808782"/>
              <a:gd name="connsiteX561" fmla="*/ 6739176 w 25004707"/>
              <a:gd name="connsiteY561" fmla="*/ 4783142 h 10808782"/>
              <a:gd name="connsiteX562" fmla="*/ 5455005 w 25004707"/>
              <a:gd name="connsiteY562" fmla="*/ 4698958 h 10808782"/>
              <a:gd name="connsiteX563" fmla="*/ 5254428 w 25004707"/>
              <a:gd name="connsiteY563" fmla="*/ 4685802 h 10808782"/>
              <a:gd name="connsiteX564" fmla="*/ 4154818 w 25004707"/>
              <a:gd name="connsiteY564" fmla="*/ 4858838 h 10808782"/>
              <a:gd name="connsiteX565" fmla="*/ 5455005 w 25004707"/>
              <a:gd name="connsiteY565" fmla="*/ 4698958 h 10808782"/>
              <a:gd name="connsiteX566" fmla="*/ 5391335 w 25004707"/>
              <a:gd name="connsiteY566" fmla="*/ 5668281 h 10808782"/>
              <a:gd name="connsiteX567" fmla="*/ 4107179 w 25004707"/>
              <a:gd name="connsiteY567" fmla="*/ 5584097 h 10808782"/>
              <a:gd name="connsiteX568" fmla="*/ 5200355 w 25004707"/>
              <a:gd name="connsiteY568" fmla="*/ 8576736 h 10808782"/>
              <a:gd name="connsiteX569" fmla="*/ 5168543 w 25004707"/>
              <a:gd name="connsiteY569" fmla="*/ 9061169 h 10808782"/>
              <a:gd name="connsiteX570" fmla="*/ 3884356 w 25004707"/>
              <a:gd name="connsiteY570" fmla="*/ 8976986 h 10808782"/>
              <a:gd name="connsiteX571" fmla="*/ 5200355 w 25004707"/>
              <a:gd name="connsiteY571" fmla="*/ 8576736 h 10808782"/>
              <a:gd name="connsiteX572" fmla="*/ 5232197 w 25004707"/>
              <a:gd name="connsiteY572" fmla="*/ 8091847 h 10808782"/>
              <a:gd name="connsiteX573" fmla="*/ 5200355 w 25004707"/>
              <a:gd name="connsiteY573" fmla="*/ 8576736 h 10808782"/>
              <a:gd name="connsiteX574" fmla="*/ 3916184 w 25004707"/>
              <a:gd name="connsiteY574" fmla="*/ 8492568 h 10808782"/>
              <a:gd name="connsiteX575" fmla="*/ 5658225 w 25004707"/>
              <a:gd name="connsiteY575" fmla="*/ 2262283 h 10808782"/>
              <a:gd name="connsiteX576" fmla="*/ 5637521 w 25004707"/>
              <a:gd name="connsiteY576" fmla="*/ 2763912 h 10808782"/>
              <a:gd name="connsiteX577" fmla="*/ 6866517 w 25004707"/>
              <a:gd name="connsiteY577" fmla="*/ 2844465 h 10808782"/>
              <a:gd name="connsiteX578" fmla="*/ 5592415 w 25004707"/>
              <a:gd name="connsiteY578" fmla="*/ 3263937 h 10808782"/>
              <a:gd name="connsiteX579" fmla="*/ 5637489 w 25004707"/>
              <a:gd name="connsiteY579" fmla="*/ 2763896 h 10808782"/>
              <a:gd name="connsiteX580" fmla="*/ 4298128 w 25004707"/>
              <a:gd name="connsiteY580" fmla="*/ 2676113 h 10808782"/>
              <a:gd name="connsiteX581" fmla="*/ 5592415 w 25004707"/>
              <a:gd name="connsiteY581" fmla="*/ 3263937 h 10808782"/>
              <a:gd name="connsiteX582" fmla="*/ 5533291 w 25004707"/>
              <a:gd name="connsiteY582" fmla="*/ 3742335 h 10808782"/>
              <a:gd name="connsiteX583" fmla="*/ 5592415 w 25004707"/>
              <a:gd name="connsiteY583" fmla="*/ 3263937 h 10808782"/>
              <a:gd name="connsiteX584" fmla="*/ 5848183 w 25004707"/>
              <a:gd name="connsiteY584" fmla="*/ 3264220 h 10808782"/>
              <a:gd name="connsiteX585" fmla="*/ 6834674 w 25004707"/>
              <a:gd name="connsiteY585" fmla="*/ 3328898 h 10808782"/>
              <a:gd name="connsiteX586" fmla="*/ 5709640 w 25004707"/>
              <a:gd name="connsiteY586" fmla="*/ 821626 h 10808782"/>
              <a:gd name="connsiteX587" fmla="*/ 5677828 w 25004707"/>
              <a:gd name="connsiteY587" fmla="*/ 1306056 h 10808782"/>
              <a:gd name="connsiteX588" fmla="*/ 5622638 w 25004707"/>
              <a:gd name="connsiteY588" fmla="*/ 1302440 h 10808782"/>
              <a:gd name="connsiteX589" fmla="*/ 5501527 w 25004707"/>
              <a:gd name="connsiteY589" fmla="*/ 1263917 h 10808782"/>
              <a:gd name="connsiteX590" fmla="*/ 4424446 w 25004707"/>
              <a:gd name="connsiteY590" fmla="*/ 752908 h 10808782"/>
              <a:gd name="connsiteX591" fmla="*/ 5709640 w 25004707"/>
              <a:gd name="connsiteY591" fmla="*/ 821626 h 10808782"/>
              <a:gd name="connsiteX592" fmla="*/ 5741483 w 25004707"/>
              <a:gd name="connsiteY592" fmla="*/ 336712 h 10808782"/>
              <a:gd name="connsiteX593" fmla="*/ 5709640 w 25004707"/>
              <a:gd name="connsiteY593" fmla="*/ 821626 h 10808782"/>
              <a:gd name="connsiteX594" fmla="*/ 5509063 w 25004707"/>
              <a:gd name="connsiteY594" fmla="*/ 808462 h 10808782"/>
              <a:gd name="connsiteX595" fmla="*/ 4441500 w 25004707"/>
              <a:gd name="connsiteY595" fmla="*/ 493335 h 10808782"/>
              <a:gd name="connsiteX596" fmla="*/ 5136715 w 25004707"/>
              <a:gd name="connsiteY596" fmla="*/ 9546074 h 10808782"/>
              <a:gd name="connsiteX597" fmla="*/ 5168575 w 25004707"/>
              <a:gd name="connsiteY597" fmla="*/ 9061169 h 10808782"/>
              <a:gd name="connsiteX598" fmla="*/ 5136715 w 25004707"/>
              <a:gd name="connsiteY598" fmla="*/ 9546074 h 10808782"/>
              <a:gd name="connsiteX599" fmla="*/ 6420871 w 25004707"/>
              <a:gd name="connsiteY599" fmla="*/ 9630242 h 10808782"/>
              <a:gd name="connsiteX600" fmla="*/ 6452730 w 25004707"/>
              <a:gd name="connsiteY600" fmla="*/ 9145353 h 10808782"/>
              <a:gd name="connsiteX601" fmla="*/ 7736885 w 25004707"/>
              <a:gd name="connsiteY601" fmla="*/ 9229521 h 10808782"/>
              <a:gd name="connsiteX602" fmla="*/ 5136715 w 25004707"/>
              <a:gd name="connsiteY602" fmla="*/ 9546074 h 10808782"/>
              <a:gd name="connsiteX603" fmla="*/ 3852544 w 25004707"/>
              <a:gd name="connsiteY603" fmla="*/ 9461890 h 10808782"/>
              <a:gd name="connsiteX604" fmla="*/ 5486801 w 25004707"/>
              <a:gd name="connsiteY604" fmla="*/ 4214981 h 10808782"/>
              <a:gd name="connsiteX605" fmla="*/ 5491773 w 25004707"/>
              <a:gd name="connsiteY605" fmla="*/ 4139080 h 10808782"/>
              <a:gd name="connsiteX606" fmla="*/ 5497892 w 25004707"/>
              <a:gd name="connsiteY606" fmla="*/ 4062315 h 10808782"/>
              <a:gd name="connsiteX607" fmla="*/ 5533276 w 25004707"/>
              <a:gd name="connsiteY607" fmla="*/ 3742335 h 10808782"/>
              <a:gd name="connsiteX608" fmla="*/ 4193442 w 25004707"/>
              <a:gd name="connsiteY608" fmla="*/ 4269945 h 10808782"/>
              <a:gd name="connsiteX609" fmla="*/ 5327633 w 25004707"/>
              <a:gd name="connsiteY609" fmla="*/ 6638091 h 10808782"/>
              <a:gd name="connsiteX610" fmla="*/ 5359476 w 25004707"/>
              <a:gd name="connsiteY610" fmla="*/ 6153186 h 10808782"/>
              <a:gd name="connsiteX611" fmla="*/ 6643678 w 25004707"/>
              <a:gd name="connsiteY611" fmla="*/ 6237369 h 10808782"/>
              <a:gd name="connsiteX612" fmla="*/ 5327633 w 25004707"/>
              <a:gd name="connsiteY612" fmla="*/ 6638091 h 10808782"/>
              <a:gd name="connsiteX613" fmla="*/ 5295821 w 25004707"/>
              <a:gd name="connsiteY613" fmla="*/ 7122508 h 10808782"/>
              <a:gd name="connsiteX614" fmla="*/ 5327633 w 25004707"/>
              <a:gd name="connsiteY614" fmla="*/ 6638091 h 10808782"/>
              <a:gd name="connsiteX615" fmla="*/ 6611819 w 25004707"/>
              <a:gd name="connsiteY615" fmla="*/ 6722259 h 10808782"/>
              <a:gd name="connsiteX616" fmla="*/ 5327633 w 25004707"/>
              <a:gd name="connsiteY616" fmla="*/ 6638091 h 10808782"/>
              <a:gd name="connsiteX617" fmla="*/ 4043446 w 25004707"/>
              <a:gd name="connsiteY617" fmla="*/ 6553891 h 10808782"/>
              <a:gd name="connsiteX618" fmla="*/ 5295821 w 25004707"/>
              <a:gd name="connsiteY618" fmla="*/ 7122508 h 10808782"/>
              <a:gd name="connsiteX619" fmla="*/ 4011634 w 25004707"/>
              <a:gd name="connsiteY619" fmla="*/ 7038325 h 10808782"/>
              <a:gd name="connsiteX620" fmla="*/ 5295821 w 25004707"/>
              <a:gd name="connsiteY620" fmla="*/ 7122508 h 10808782"/>
              <a:gd name="connsiteX621" fmla="*/ 6579992 w 25004707"/>
              <a:gd name="connsiteY621" fmla="*/ 7206692 h 10808782"/>
              <a:gd name="connsiteX622" fmla="*/ 5391303 w 25004707"/>
              <a:gd name="connsiteY622" fmla="*/ 5668281 h 10808782"/>
              <a:gd name="connsiteX623" fmla="*/ 5359460 w 25004707"/>
              <a:gd name="connsiteY623" fmla="*/ 6153186 h 10808782"/>
              <a:gd name="connsiteX624" fmla="*/ 4075304 w 25004707"/>
              <a:gd name="connsiteY624" fmla="*/ 6069002 h 10808782"/>
              <a:gd name="connsiteX625" fmla="*/ 5676774 w 25004707"/>
              <a:gd name="connsiteY625" fmla="*/ 1305997 h 10808782"/>
              <a:gd name="connsiteX626" fmla="*/ 5661592 w 25004707"/>
              <a:gd name="connsiteY626" fmla="*/ 1780223 h 10808782"/>
              <a:gd name="connsiteX627" fmla="*/ 5295774 w 25004707"/>
              <a:gd name="connsiteY627" fmla="*/ 7122508 h 10808782"/>
              <a:gd name="connsiteX628" fmla="*/ 5263931 w 25004707"/>
              <a:gd name="connsiteY628" fmla="*/ 7607414 h 10808782"/>
              <a:gd name="connsiteX629" fmla="*/ 3979775 w 25004707"/>
              <a:gd name="connsiteY629" fmla="*/ 7523230 h 10808782"/>
              <a:gd name="connsiteX630" fmla="*/ 1666131 w 25004707"/>
              <a:gd name="connsiteY630" fmla="*/ 3477068 h 10808782"/>
              <a:gd name="connsiteX631" fmla="*/ 1697943 w 25004707"/>
              <a:gd name="connsiteY631" fmla="*/ 2992651 h 10808782"/>
              <a:gd name="connsiteX632" fmla="*/ 1666131 w 25004707"/>
              <a:gd name="connsiteY632" fmla="*/ 3477068 h 10808782"/>
              <a:gd name="connsiteX633" fmla="*/ 1634272 w 25004707"/>
              <a:gd name="connsiteY633" fmla="*/ 3961989 h 10808782"/>
              <a:gd name="connsiteX634" fmla="*/ 1666131 w 25004707"/>
              <a:gd name="connsiteY634" fmla="*/ 3477068 h 10808782"/>
              <a:gd name="connsiteX635" fmla="*/ 381954 w 25004707"/>
              <a:gd name="connsiteY635" fmla="*/ 3392900 h 10808782"/>
              <a:gd name="connsiteX636" fmla="*/ 1666131 w 25004707"/>
              <a:gd name="connsiteY636" fmla="*/ 3477068 h 10808782"/>
              <a:gd name="connsiteX637" fmla="*/ 2652607 w 25004707"/>
              <a:gd name="connsiteY637" fmla="*/ 3541731 h 10808782"/>
              <a:gd name="connsiteX638" fmla="*/ 2934679 w 25004707"/>
              <a:gd name="connsiteY638" fmla="*/ 3571987 h 10808782"/>
              <a:gd name="connsiteX639" fmla="*/ 1697943 w 25004707"/>
              <a:gd name="connsiteY639" fmla="*/ 2992651 h 10808782"/>
              <a:gd name="connsiteX640" fmla="*/ 1729801 w 25004707"/>
              <a:gd name="connsiteY640" fmla="*/ 2507730 h 10808782"/>
              <a:gd name="connsiteX641" fmla="*/ 1697943 w 25004707"/>
              <a:gd name="connsiteY641" fmla="*/ 2992651 h 10808782"/>
              <a:gd name="connsiteX642" fmla="*/ 403160 w 25004707"/>
              <a:gd name="connsiteY642" fmla="*/ 2907760 h 10808782"/>
              <a:gd name="connsiteX643" fmla="*/ 1602492 w 25004707"/>
              <a:gd name="connsiteY643" fmla="*/ 4446422 h 10808782"/>
              <a:gd name="connsiteX644" fmla="*/ 1634304 w 25004707"/>
              <a:gd name="connsiteY644" fmla="*/ 3961989 h 10808782"/>
              <a:gd name="connsiteX645" fmla="*/ 1602492 w 25004707"/>
              <a:gd name="connsiteY645" fmla="*/ 4446422 h 10808782"/>
              <a:gd name="connsiteX646" fmla="*/ 2886663 w 25004707"/>
              <a:gd name="connsiteY646" fmla="*/ 4530606 h 10808782"/>
              <a:gd name="connsiteX647" fmla="*/ 1602492 w 25004707"/>
              <a:gd name="connsiteY647" fmla="*/ 4446422 h 10808782"/>
              <a:gd name="connsiteX648" fmla="*/ 318315 w 25004707"/>
              <a:gd name="connsiteY648" fmla="*/ 4362239 h 10808782"/>
              <a:gd name="connsiteX649" fmla="*/ 1347818 w 25004707"/>
              <a:gd name="connsiteY649" fmla="*/ 8324201 h 10808782"/>
              <a:gd name="connsiteX650" fmla="*/ 1379664 w 25004707"/>
              <a:gd name="connsiteY650" fmla="*/ 7839312 h 10808782"/>
              <a:gd name="connsiteX651" fmla="*/ 1347818 w 25004707"/>
              <a:gd name="connsiteY651" fmla="*/ 8324201 h 10808782"/>
              <a:gd name="connsiteX652" fmla="*/ 2631997 w 25004707"/>
              <a:gd name="connsiteY652" fmla="*/ 8408384 h 10808782"/>
              <a:gd name="connsiteX653" fmla="*/ 2663840 w 25004707"/>
              <a:gd name="connsiteY653" fmla="*/ 7923495 h 10808782"/>
              <a:gd name="connsiteX654" fmla="*/ 1347818 w 25004707"/>
              <a:gd name="connsiteY654" fmla="*/ 8324201 h 10808782"/>
              <a:gd name="connsiteX655" fmla="*/ 63640 w 25004707"/>
              <a:gd name="connsiteY655" fmla="*/ 8240033 h 10808782"/>
              <a:gd name="connsiteX656" fmla="*/ 1411411 w 25004707"/>
              <a:gd name="connsiteY656" fmla="*/ 7354878 h 10808782"/>
              <a:gd name="connsiteX657" fmla="*/ 1443258 w 25004707"/>
              <a:gd name="connsiteY657" fmla="*/ 6869973 h 10808782"/>
              <a:gd name="connsiteX658" fmla="*/ 2727447 w 25004707"/>
              <a:gd name="connsiteY658" fmla="*/ 6954157 h 10808782"/>
              <a:gd name="connsiteX659" fmla="*/ 1411411 w 25004707"/>
              <a:gd name="connsiteY659" fmla="*/ 7354878 h 10808782"/>
              <a:gd name="connsiteX660" fmla="*/ 1379615 w 25004707"/>
              <a:gd name="connsiteY660" fmla="*/ 7839312 h 10808782"/>
              <a:gd name="connsiteX661" fmla="*/ 1411411 w 25004707"/>
              <a:gd name="connsiteY661" fmla="*/ 7354878 h 10808782"/>
              <a:gd name="connsiteX662" fmla="*/ 127234 w 25004707"/>
              <a:gd name="connsiteY662" fmla="*/ 7270695 h 10808782"/>
              <a:gd name="connsiteX663" fmla="*/ 1793456 w 25004707"/>
              <a:gd name="connsiteY663" fmla="*/ 1538423 h 10808782"/>
              <a:gd name="connsiteX664" fmla="*/ 1825315 w 25004707"/>
              <a:gd name="connsiteY664" fmla="*/ 1053519 h 10808782"/>
              <a:gd name="connsiteX665" fmla="*/ 1793456 w 25004707"/>
              <a:gd name="connsiteY665" fmla="*/ 1538423 h 10808782"/>
              <a:gd name="connsiteX666" fmla="*/ 509285 w 25004707"/>
              <a:gd name="connsiteY666" fmla="*/ 1454241 h 10808782"/>
              <a:gd name="connsiteX667" fmla="*/ 1793456 w 25004707"/>
              <a:gd name="connsiteY667" fmla="*/ 1538423 h 10808782"/>
              <a:gd name="connsiteX668" fmla="*/ 2244530 w 25004707"/>
              <a:gd name="connsiteY668" fmla="*/ 1567988 h 10808782"/>
              <a:gd name="connsiteX669" fmla="*/ 3063877 w 25004707"/>
              <a:gd name="connsiteY669" fmla="*/ 1613223 h 10808782"/>
              <a:gd name="connsiteX670" fmla="*/ 1825315 w 25004707"/>
              <a:gd name="connsiteY670" fmla="*/ 1053519 h 10808782"/>
              <a:gd name="connsiteX671" fmla="*/ 1857095 w 25004707"/>
              <a:gd name="connsiteY671" fmla="*/ 569070 h 10808782"/>
              <a:gd name="connsiteX672" fmla="*/ 1825315 w 25004707"/>
              <a:gd name="connsiteY672" fmla="*/ 1053519 h 10808782"/>
              <a:gd name="connsiteX673" fmla="*/ 541117 w 25004707"/>
              <a:gd name="connsiteY673" fmla="*/ 969340 h 10808782"/>
              <a:gd name="connsiteX674" fmla="*/ 1315958 w 25004707"/>
              <a:gd name="connsiteY674" fmla="*/ 8808634 h 10808782"/>
              <a:gd name="connsiteX675" fmla="*/ 1284111 w 25004707"/>
              <a:gd name="connsiteY675" fmla="*/ 9293539 h 10808782"/>
              <a:gd name="connsiteX676" fmla="*/ 2568295 w 25004707"/>
              <a:gd name="connsiteY676" fmla="*/ 9377707 h 10808782"/>
              <a:gd name="connsiteX677" fmla="*/ 1538806 w 25004707"/>
              <a:gd name="connsiteY677" fmla="*/ 5415746 h 10808782"/>
              <a:gd name="connsiteX678" fmla="*/ 1570617 w 25004707"/>
              <a:gd name="connsiteY678" fmla="*/ 4931312 h 10808782"/>
              <a:gd name="connsiteX679" fmla="*/ 1538806 w 25004707"/>
              <a:gd name="connsiteY679" fmla="*/ 5415746 h 10808782"/>
              <a:gd name="connsiteX680" fmla="*/ 1506961 w 25004707"/>
              <a:gd name="connsiteY680" fmla="*/ 5900650 h 10808782"/>
              <a:gd name="connsiteX681" fmla="*/ 1538806 w 25004707"/>
              <a:gd name="connsiteY681" fmla="*/ 5415746 h 10808782"/>
              <a:gd name="connsiteX682" fmla="*/ 254622 w 25004707"/>
              <a:gd name="connsiteY682" fmla="*/ 5331577 h 10808782"/>
              <a:gd name="connsiteX683" fmla="*/ 1570617 w 25004707"/>
              <a:gd name="connsiteY683" fmla="*/ 4931312 h 10808782"/>
              <a:gd name="connsiteX684" fmla="*/ 1602461 w 25004707"/>
              <a:gd name="connsiteY684" fmla="*/ 4446407 h 10808782"/>
              <a:gd name="connsiteX685" fmla="*/ 1570617 w 25004707"/>
              <a:gd name="connsiteY685" fmla="*/ 4931312 h 10808782"/>
              <a:gd name="connsiteX686" fmla="*/ 286431 w 25004707"/>
              <a:gd name="connsiteY686" fmla="*/ 4847128 h 10808782"/>
              <a:gd name="connsiteX687" fmla="*/ 1729786 w 25004707"/>
              <a:gd name="connsiteY687" fmla="*/ 2507761 h 10808782"/>
              <a:gd name="connsiteX688" fmla="*/ 1761597 w 25004707"/>
              <a:gd name="connsiteY688" fmla="*/ 2023328 h 10808782"/>
              <a:gd name="connsiteX689" fmla="*/ 2414287 w 25004707"/>
              <a:gd name="connsiteY689" fmla="*/ 2066111 h 10808782"/>
              <a:gd name="connsiteX690" fmla="*/ 2740663 w 25004707"/>
              <a:gd name="connsiteY690" fmla="*/ 2087031 h 10808782"/>
              <a:gd name="connsiteX691" fmla="*/ 3004360 w 25004707"/>
              <a:gd name="connsiteY691" fmla="*/ 2088776 h 10808782"/>
              <a:gd name="connsiteX692" fmla="*/ 1729786 w 25004707"/>
              <a:gd name="connsiteY692" fmla="*/ 2507761 h 10808782"/>
              <a:gd name="connsiteX693" fmla="*/ 2958782 w 25004707"/>
              <a:gd name="connsiteY693" fmla="*/ 2588330 h 10808782"/>
              <a:gd name="connsiteX694" fmla="*/ 1729786 w 25004707"/>
              <a:gd name="connsiteY694" fmla="*/ 2507761 h 10808782"/>
              <a:gd name="connsiteX695" fmla="*/ 434989 w 25004707"/>
              <a:gd name="connsiteY695" fmla="*/ 2422886 h 10808782"/>
              <a:gd name="connsiteX696" fmla="*/ 1475135 w 25004707"/>
              <a:gd name="connsiteY696" fmla="*/ 6385540 h 10808782"/>
              <a:gd name="connsiteX697" fmla="*/ 1443319 w 25004707"/>
              <a:gd name="connsiteY697" fmla="*/ 6869973 h 10808782"/>
              <a:gd name="connsiteX698" fmla="*/ 159142 w 25004707"/>
              <a:gd name="connsiteY698" fmla="*/ 6785789 h 10808782"/>
              <a:gd name="connsiteX699" fmla="*/ 1475135 w 25004707"/>
              <a:gd name="connsiteY699" fmla="*/ 6385540 h 10808782"/>
              <a:gd name="connsiteX700" fmla="*/ 1506961 w 25004707"/>
              <a:gd name="connsiteY700" fmla="*/ 5900650 h 10808782"/>
              <a:gd name="connsiteX701" fmla="*/ 1475135 w 25004707"/>
              <a:gd name="connsiteY701" fmla="*/ 6385540 h 10808782"/>
              <a:gd name="connsiteX702" fmla="*/ 190938 w 25004707"/>
              <a:gd name="connsiteY702" fmla="*/ 6301372 h 10808782"/>
              <a:gd name="connsiteX703" fmla="*/ 1857095 w 25004707"/>
              <a:gd name="connsiteY703" fmla="*/ 569070 h 10808782"/>
              <a:gd name="connsiteX704" fmla="*/ 1888954 w 25004707"/>
              <a:gd name="connsiteY704" fmla="*/ 84169 h 10808782"/>
              <a:gd name="connsiteX705" fmla="*/ 1857095 w 25004707"/>
              <a:gd name="connsiteY705" fmla="*/ 569070 h 10808782"/>
              <a:gd name="connsiteX706" fmla="*/ 3141266 w 25004707"/>
              <a:gd name="connsiteY706" fmla="*/ 653251 h 10808782"/>
              <a:gd name="connsiteX707" fmla="*/ 3173109 w 25004707"/>
              <a:gd name="connsiteY707" fmla="*/ 168350 h 10808782"/>
              <a:gd name="connsiteX708" fmla="*/ 1857095 w 25004707"/>
              <a:gd name="connsiteY708" fmla="*/ 569070 h 10808782"/>
              <a:gd name="connsiteX709" fmla="*/ 572924 w 25004707"/>
              <a:gd name="connsiteY709" fmla="*/ 484891 h 10808782"/>
              <a:gd name="connsiteX710" fmla="*/ 1379615 w 25004707"/>
              <a:gd name="connsiteY710" fmla="*/ 7839312 h 10808782"/>
              <a:gd name="connsiteX711" fmla="*/ 95437 w 25004707"/>
              <a:gd name="connsiteY711" fmla="*/ 7755128 h 10808782"/>
              <a:gd name="connsiteX712" fmla="*/ 1379615 w 25004707"/>
              <a:gd name="connsiteY712" fmla="*/ 7839312 h 10808782"/>
              <a:gd name="connsiteX713" fmla="*/ 2663793 w 25004707"/>
              <a:gd name="connsiteY713" fmla="*/ 7923495 h 10808782"/>
              <a:gd name="connsiteX714" fmla="*/ 1634272 w 25004707"/>
              <a:gd name="connsiteY714" fmla="*/ 3961989 h 10808782"/>
              <a:gd name="connsiteX715" fmla="*/ 2918475 w 25004707"/>
              <a:gd name="connsiteY715" fmla="*/ 4046173 h 10808782"/>
              <a:gd name="connsiteX716" fmla="*/ 1634272 w 25004707"/>
              <a:gd name="connsiteY716" fmla="*/ 3961989 h 10808782"/>
              <a:gd name="connsiteX717" fmla="*/ 350101 w 25004707"/>
              <a:gd name="connsiteY717" fmla="*/ 3877805 h 10808782"/>
              <a:gd name="connsiteX718" fmla="*/ 1506961 w 25004707"/>
              <a:gd name="connsiteY718" fmla="*/ 5900650 h 10808782"/>
              <a:gd name="connsiteX719" fmla="*/ 222779 w 25004707"/>
              <a:gd name="connsiteY719" fmla="*/ 5816467 h 10808782"/>
              <a:gd name="connsiteX720" fmla="*/ 1506961 w 25004707"/>
              <a:gd name="connsiteY720" fmla="*/ 5900650 h 10808782"/>
              <a:gd name="connsiteX721" fmla="*/ 2791118 w 25004707"/>
              <a:gd name="connsiteY721" fmla="*/ 5984834 h 10808782"/>
              <a:gd name="connsiteX722" fmla="*/ 1793441 w 25004707"/>
              <a:gd name="connsiteY722" fmla="*/ 1538407 h 10808782"/>
              <a:gd name="connsiteX723" fmla="*/ 1761597 w 25004707"/>
              <a:gd name="connsiteY723" fmla="*/ 2023296 h 10808782"/>
              <a:gd name="connsiteX724" fmla="*/ 477423 w 25004707"/>
              <a:gd name="connsiteY724" fmla="*/ 1939128 h 10808782"/>
              <a:gd name="connsiteX725" fmla="*/ 1347747 w 25004707"/>
              <a:gd name="connsiteY725" fmla="*/ 8324185 h 10808782"/>
              <a:gd name="connsiteX726" fmla="*/ 1315932 w 25004707"/>
              <a:gd name="connsiteY726" fmla="*/ 8808618 h 10808782"/>
              <a:gd name="connsiteX727" fmla="*/ 31754 w 25004707"/>
              <a:gd name="connsiteY727" fmla="*/ 8724434 h 10808782"/>
              <a:gd name="connsiteX728" fmla="*/ 2918475 w 25004707"/>
              <a:gd name="connsiteY728" fmla="*/ 4046173 h 10808782"/>
              <a:gd name="connsiteX729" fmla="*/ 2886663 w 25004707"/>
              <a:gd name="connsiteY729" fmla="*/ 4530606 h 10808782"/>
              <a:gd name="connsiteX730" fmla="*/ 2918475 w 25004707"/>
              <a:gd name="connsiteY730" fmla="*/ 4046173 h 10808782"/>
              <a:gd name="connsiteX731" fmla="*/ 2923446 w 25004707"/>
              <a:gd name="connsiteY731" fmla="*/ 3970272 h 10808782"/>
              <a:gd name="connsiteX732" fmla="*/ 2934176 w 25004707"/>
              <a:gd name="connsiteY732" fmla="*/ 3571956 h 10808782"/>
              <a:gd name="connsiteX733" fmla="*/ 2886663 w 25004707"/>
              <a:gd name="connsiteY733" fmla="*/ 4530606 h 10808782"/>
              <a:gd name="connsiteX734" fmla="*/ 3087240 w 25004707"/>
              <a:gd name="connsiteY734" fmla="*/ 4543731 h 10808782"/>
              <a:gd name="connsiteX735" fmla="*/ 4154818 w 25004707"/>
              <a:gd name="connsiteY735" fmla="*/ 4858838 h 10808782"/>
              <a:gd name="connsiteX736" fmla="*/ 2958782 w 25004707"/>
              <a:gd name="connsiteY736" fmla="*/ 2588330 h 10808782"/>
              <a:gd name="connsiteX737" fmla="*/ 3003841 w 25004707"/>
              <a:gd name="connsiteY737" fmla="*/ 2088289 h 10808782"/>
              <a:gd name="connsiteX738" fmla="*/ 3062980 w 25004707"/>
              <a:gd name="connsiteY738" fmla="*/ 1609875 h 10808782"/>
              <a:gd name="connsiteX739" fmla="*/ 2958782 w 25004707"/>
              <a:gd name="connsiteY739" fmla="*/ 2588330 h 10808782"/>
              <a:gd name="connsiteX740" fmla="*/ 2938062 w 25004707"/>
              <a:gd name="connsiteY740" fmla="*/ 3089943 h 10808782"/>
              <a:gd name="connsiteX741" fmla="*/ 4229533 w 25004707"/>
              <a:gd name="connsiteY741" fmla="*/ 3720409 h 10808782"/>
              <a:gd name="connsiteX742" fmla="*/ 4298128 w 25004707"/>
              <a:gd name="connsiteY742" fmla="*/ 2676113 h 10808782"/>
              <a:gd name="connsiteX743" fmla="*/ 2958782 w 25004707"/>
              <a:gd name="connsiteY743" fmla="*/ 2588330 h 10808782"/>
              <a:gd name="connsiteX744" fmla="*/ 4298128 w 25004707"/>
              <a:gd name="connsiteY744" fmla="*/ 2676113 h 10808782"/>
              <a:gd name="connsiteX745" fmla="*/ 3141329 w 25004707"/>
              <a:gd name="connsiteY745" fmla="*/ 653273 h 10808782"/>
              <a:gd name="connsiteX746" fmla="*/ 3109502 w 25004707"/>
              <a:gd name="connsiteY746" fmla="*/ 1137705 h 10808782"/>
              <a:gd name="connsiteX747" fmla="*/ 3109502 w 25004707"/>
              <a:gd name="connsiteY747" fmla="*/ 1137705 h 10808782"/>
              <a:gd name="connsiteX748" fmla="*/ 3063043 w 25004707"/>
              <a:gd name="connsiteY748" fmla="*/ 1609891 h 10808782"/>
              <a:gd name="connsiteX749" fmla="*/ 4402830 w 25004707"/>
              <a:gd name="connsiteY749" fmla="*/ 1082261 h 10808782"/>
              <a:gd name="connsiteX750" fmla="*/ 3109502 w 25004707"/>
              <a:gd name="connsiteY750" fmla="*/ 1137705 h 10808782"/>
              <a:gd name="connsiteX751" fmla="*/ 1825331 w 25004707"/>
              <a:gd name="connsiteY751" fmla="*/ 1053526 h 10808782"/>
              <a:gd name="connsiteX752" fmla="*/ 2938125 w 25004707"/>
              <a:gd name="connsiteY752" fmla="*/ 3089943 h 10808782"/>
              <a:gd name="connsiteX753" fmla="*/ 2934176 w 25004707"/>
              <a:gd name="connsiteY753" fmla="*/ 3571956 h 10808782"/>
              <a:gd name="connsiteX754" fmla="*/ 2934176 w 25004707"/>
              <a:gd name="connsiteY754" fmla="*/ 3571956 h 10808782"/>
              <a:gd name="connsiteX755" fmla="*/ 4193489 w 25004707"/>
              <a:gd name="connsiteY755" fmla="*/ 4269945 h 10808782"/>
              <a:gd name="connsiteX756" fmla="*/ 4229580 w 25004707"/>
              <a:gd name="connsiteY756" fmla="*/ 3720393 h 10808782"/>
              <a:gd name="connsiteX757" fmla="*/ 2854836 w 25004707"/>
              <a:gd name="connsiteY757" fmla="*/ 5015496 h 10808782"/>
              <a:gd name="connsiteX758" fmla="*/ 2823024 w 25004707"/>
              <a:gd name="connsiteY758" fmla="*/ 5499929 h 10808782"/>
              <a:gd name="connsiteX759" fmla="*/ 2854836 w 25004707"/>
              <a:gd name="connsiteY759" fmla="*/ 5015496 h 10808782"/>
              <a:gd name="connsiteX760" fmla="*/ 2886695 w 25004707"/>
              <a:gd name="connsiteY760" fmla="*/ 4530606 h 10808782"/>
              <a:gd name="connsiteX761" fmla="*/ 2854836 w 25004707"/>
              <a:gd name="connsiteY761" fmla="*/ 5015496 h 10808782"/>
              <a:gd name="connsiteX762" fmla="*/ 1570665 w 25004707"/>
              <a:gd name="connsiteY762" fmla="*/ 4931328 h 10808782"/>
              <a:gd name="connsiteX763" fmla="*/ 2823024 w 25004707"/>
              <a:gd name="connsiteY763" fmla="*/ 5499929 h 10808782"/>
              <a:gd name="connsiteX764" fmla="*/ 4107179 w 25004707"/>
              <a:gd name="connsiteY764" fmla="*/ 5584097 h 10808782"/>
              <a:gd name="connsiteX765" fmla="*/ 2823024 w 25004707"/>
              <a:gd name="connsiteY765" fmla="*/ 5499929 h 10808782"/>
              <a:gd name="connsiteX766" fmla="*/ 1538853 w 25004707"/>
              <a:gd name="connsiteY766" fmla="*/ 5415746 h 10808782"/>
              <a:gd name="connsiteX767" fmla="*/ 2663793 w 25004707"/>
              <a:gd name="connsiteY767" fmla="*/ 7923495 h 10808782"/>
              <a:gd name="connsiteX768" fmla="*/ 2695604 w 25004707"/>
              <a:gd name="connsiteY768" fmla="*/ 7439062 h 10808782"/>
              <a:gd name="connsiteX769" fmla="*/ 3979775 w 25004707"/>
              <a:gd name="connsiteY769" fmla="*/ 7523230 h 10808782"/>
              <a:gd name="connsiteX770" fmla="*/ 2663793 w 25004707"/>
              <a:gd name="connsiteY770" fmla="*/ 7923495 h 10808782"/>
              <a:gd name="connsiteX771" fmla="*/ 3947948 w 25004707"/>
              <a:gd name="connsiteY771" fmla="*/ 8007663 h 10808782"/>
              <a:gd name="connsiteX772" fmla="*/ 3979775 w 25004707"/>
              <a:gd name="connsiteY772" fmla="*/ 7523230 h 10808782"/>
              <a:gd name="connsiteX773" fmla="*/ 2568295 w 25004707"/>
              <a:gd name="connsiteY773" fmla="*/ 9377707 h 10808782"/>
              <a:gd name="connsiteX774" fmla="*/ 2600138 w 25004707"/>
              <a:gd name="connsiteY774" fmla="*/ 8892802 h 10808782"/>
              <a:gd name="connsiteX775" fmla="*/ 3884340 w 25004707"/>
              <a:gd name="connsiteY775" fmla="*/ 8976986 h 10808782"/>
              <a:gd name="connsiteX776" fmla="*/ 3916152 w 25004707"/>
              <a:gd name="connsiteY776" fmla="*/ 8492552 h 10808782"/>
              <a:gd name="connsiteX777" fmla="*/ 2568295 w 25004707"/>
              <a:gd name="connsiteY777" fmla="*/ 9377707 h 10808782"/>
              <a:gd name="connsiteX778" fmla="*/ 3852450 w 25004707"/>
              <a:gd name="connsiteY778" fmla="*/ 9461875 h 10808782"/>
              <a:gd name="connsiteX779" fmla="*/ 3884293 w 25004707"/>
              <a:gd name="connsiteY779" fmla="*/ 8976986 h 10808782"/>
              <a:gd name="connsiteX780" fmla="*/ 2822961 w 25004707"/>
              <a:gd name="connsiteY780" fmla="*/ 5499929 h 10808782"/>
              <a:gd name="connsiteX781" fmla="*/ 2791118 w 25004707"/>
              <a:gd name="connsiteY781" fmla="*/ 5984834 h 10808782"/>
              <a:gd name="connsiteX782" fmla="*/ 2791118 w 25004707"/>
              <a:gd name="connsiteY782" fmla="*/ 5984834 h 10808782"/>
              <a:gd name="connsiteX783" fmla="*/ 2759275 w 25004707"/>
              <a:gd name="connsiteY783" fmla="*/ 6469723 h 10808782"/>
              <a:gd name="connsiteX784" fmla="*/ 2791118 w 25004707"/>
              <a:gd name="connsiteY784" fmla="*/ 5984834 h 10808782"/>
              <a:gd name="connsiteX785" fmla="*/ 4075304 w 25004707"/>
              <a:gd name="connsiteY785" fmla="*/ 6069002 h 10808782"/>
              <a:gd name="connsiteX786" fmla="*/ 2759275 w 25004707"/>
              <a:gd name="connsiteY786" fmla="*/ 6469723 h 10808782"/>
              <a:gd name="connsiteX787" fmla="*/ 2727447 w 25004707"/>
              <a:gd name="connsiteY787" fmla="*/ 6954157 h 10808782"/>
              <a:gd name="connsiteX788" fmla="*/ 2759275 w 25004707"/>
              <a:gd name="connsiteY788" fmla="*/ 6469723 h 10808782"/>
              <a:gd name="connsiteX789" fmla="*/ 1475099 w 25004707"/>
              <a:gd name="connsiteY789" fmla="*/ 6385555 h 10808782"/>
              <a:gd name="connsiteX790" fmla="*/ 2759275 w 25004707"/>
              <a:gd name="connsiteY790" fmla="*/ 6469723 h 10808782"/>
              <a:gd name="connsiteX791" fmla="*/ 4043446 w 25004707"/>
              <a:gd name="connsiteY791" fmla="*/ 6553891 h 10808782"/>
              <a:gd name="connsiteX792" fmla="*/ 2727479 w 25004707"/>
              <a:gd name="connsiteY792" fmla="*/ 6954157 h 10808782"/>
              <a:gd name="connsiteX793" fmla="*/ 2695636 w 25004707"/>
              <a:gd name="connsiteY793" fmla="*/ 7439062 h 10808782"/>
              <a:gd name="connsiteX794" fmla="*/ 1411460 w 25004707"/>
              <a:gd name="connsiteY794" fmla="*/ 7354878 h 10808782"/>
              <a:gd name="connsiteX795" fmla="*/ 2727447 w 25004707"/>
              <a:gd name="connsiteY795" fmla="*/ 6954157 h 10808782"/>
              <a:gd name="connsiteX796" fmla="*/ 4011634 w 25004707"/>
              <a:gd name="connsiteY796" fmla="*/ 7038325 h 10808782"/>
              <a:gd name="connsiteX797" fmla="*/ 4298128 w 25004707"/>
              <a:gd name="connsiteY797" fmla="*/ 2676113 h 10808782"/>
              <a:gd name="connsiteX798" fmla="*/ 4366723 w 25004707"/>
              <a:gd name="connsiteY798" fmla="*/ 1631817 h 10808782"/>
              <a:gd name="connsiteX799" fmla="*/ 4043446 w 25004707"/>
              <a:gd name="connsiteY799" fmla="*/ 6553891 h 10808782"/>
              <a:gd name="connsiteX800" fmla="*/ 4011634 w 25004707"/>
              <a:gd name="connsiteY800" fmla="*/ 7038325 h 10808782"/>
              <a:gd name="connsiteX801" fmla="*/ 4043446 w 25004707"/>
              <a:gd name="connsiteY801" fmla="*/ 6553891 h 10808782"/>
              <a:gd name="connsiteX802" fmla="*/ 4075304 w 25004707"/>
              <a:gd name="connsiteY802" fmla="*/ 6069002 h 10808782"/>
              <a:gd name="connsiteX803" fmla="*/ 4011634 w 25004707"/>
              <a:gd name="connsiteY803" fmla="*/ 7038325 h 10808782"/>
              <a:gd name="connsiteX804" fmla="*/ 3979775 w 25004707"/>
              <a:gd name="connsiteY804" fmla="*/ 7523230 h 10808782"/>
              <a:gd name="connsiteX805" fmla="*/ 4457312 w 25004707"/>
              <a:gd name="connsiteY805" fmla="*/ 252523 h 10808782"/>
              <a:gd name="connsiteX806" fmla="*/ 4441500 w 25004707"/>
              <a:gd name="connsiteY806" fmla="*/ 493335 h 10808782"/>
              <a:gd name="connsiteX807" fmla="*/ 4441500 w 25004707"/>
              <a:gd name="connsiteY807" fmla="*/ 493335 h 10808782"/>
              <a:gd name="connsiteX808" fmla="*/ 3341890 w 25004707"/>
              <a:gd name="connsiteY808" fmla="*/ 666397 h 10808782"/>
              <a:gd name="connsiteX809" fmla="*/ 3141314 w 25004707"/>
              <a:gd name="connsiteY809" fmla="*/ 653248 h 10808782"/>
              <a:gd name="connsiteX810" fmla="*/ 4193505 w 25004707"/>
              <a:gd name="connsiteY810" fmla="*/ 4269945 h 10808782"/>
              <a:gd name="connsiteX811" fmla="*/ 4171904 w 25004707"/>
              <a:gd name="connsiteY811" fmla="*/ 4598837 h 10808782"/>
              <a:gd name="connsiteX812" fmla="*/ 4402830 w 25004707"/>
              <a:gd name="connsiteY812" fmla="*/ 1082261 h 10808782"/>
              <a:gd name="connsiteX813" fmla="*/ 4424415 w 25004707"/>
              <a:gd name="connsiteY813" fmla="*/ 753372 h 10808782"/>
              <a:gd name="connsiteX814" fmla="*/ 3289752 w 25004707"/>
              <a:gd name="connsiteY814" fmla="*/ 1119395 h 10808782"/>
              <a:gd name="connsiteX815" fmla="*/ 3109439 w 25004707"/>
              <a:gd name="connsiteY815" fmla="*/ 1138162 h 10808782"/>
              <a:gd name="connsiteX816" fmla="*/ 4366723 w 25004707"/>
              <a:gd name="connsiteY816" fmla="*/ 1631817 h 10808782"/>
              <a:gd name="connsiteX817" fmla="*/ 3003872 w 25004707"/>
              <a:gd name="connsiteY817" fmla="*/ 2088273 h 10808782"/>
              <a:gd name="connsiteX818" fmla="*/ 4402766 w 25004707"/>
              <a:gd name="connsiteY818" fmla="*/ 1082272 h 10808782"/>
              <a:gd name="connsiteX819" fmla="*/ 4366676 w 25004707"/>
              <a:gd name="connsiteY819" fmla="*/ 1631817 h 10808782"/>
              <a:gd name="connsiteX820" fmla="*/ 4107148 w 25004707"/>
              <a:gd name="connsiteY820" fmla="*/ 5584097 h 10808782"/>
              <a:gd name="connsiteX821" fmla="*/ 4075304 w 25004707"/>
              <a:gd name="connsiteY821" fmla="*/ 6069002 h 10808782"/>
              <a:gd name="connsiteX822" fmla="*/ 4136254 w 25004707"/>
              <a:gd name="connsiteY822" fmla="*/ 5141363 h 10808782"/>
              <a:gd name="connsiteX823" fmla="*/ 4107179 w 25004707"/>
              <a:gd name="connsiteY823" fmla="*/ 5584097 h 10808782"/>
              <a:gd name="connsiteX824" fmla="*/ 4136254 w 25004707"/>
              <a:gd name="connsiteY824" fmla="*/ 5141363 h 10808782"/>
              <a:gd name="connsiteX825" fmla="*/ 4154818 w 25004707"/>
              <a:gd name="connsiteY825" fmla="*/ 4858838 h 10808782"/>
              <a:gd name="connsiteX826" fmla="*/ 4136254 w 25004707"/>
              <a:gd name="connsiteY826" fmla="*/ 5141363 h 10808782"/>
              <a:gd name="connsiteX827" fmla="*/ 4901023 w 25004707"/>
              <a:gd name="connsiteY827" fmla="*/ 5149598 h 10808782"/>
              <a:gd name="connsiteX828" fmla="*/ 5423193 w 25004707"/>
              <a:gd name="connsiteY828" fmla="*/ 5183816 h 10808782"/>
              <a:gd name="connsiteX829" fmla="*/ 4136254 w 25004707"/>
              <a:gd name="connsiteY829" fmla="*/ 5141363 h 10808782"/>
              <a:gd name="connsiteX830" fmla="*/ 3509586 w 25004707"/>
              <a:gd name="connsiteY830" fmla="*/ 5059317 h 10808782"/>
              <a:gd name="connsiteX831" fmla="*/ 2854836 w 25004707"/>
              <a:gd name="connsiteY831" fmla="*/ 5015464 h 10808782"/>
              <a:gd name="connsiteX832" fmla="*/ 3948026 w 25004707"/>
              <a:gd name="connsiteY832" fmla="*/ 8007663 h 10808782"/>
              <a:gd name="connsiteX833" fmla="*/ 3916184 w 25004707"/>
              <a:gd name="connsiteY833" fmla="*/ 8492568 h 10808782"/>
              <a:gd name="connsiteX834" fmla="*/ 3916184 w 25004707"/>
              <a:gd name="connsiteY834" fmla="*/ 8492568 h 10808782"/>
              <a:gd name="connsiteX835" fmla="*/ 2632012 w 25004707"/>
              <a:gd name="connsiteY835" fmla="*/ 8408369 h 10808782"/>
              <a:gd name="connsiteX836" fmla="*/ 2600201 w 25004707"/>
              <a:gd name="connsiteY836" fmla="*/ 8892802 h 10808782"/>
              <a:gd name="connsiteX837" fmla="*/ 1316024 w 25004707"/>
              <a:gd name="connsiteY837" fmla="*/ 8808634 h 10808782"/>
              <a:gd name="connsiteX838" fmla="*/ 4154818 w 25004707"/>
              <a:gd name="connsiteY838" fmla="*/ 4858838 h 10808782"/>
              <a:gd name="connsiteX839" fmla="*/ 4171888 w 25004707"/>
              <a:gd name="connsiteY839" fmla="*/ 4598837 h 10808782"/>
              <a:gd name="connsiteX840" fmla="*/ 4441469 w 25004707"/>
              <a:gd name="connsiteY840" fmla="*/ 493350 h 10808782"/>
              <a:gd name="connsiteX841" fmla="*/ 4424383 w 25004707"/>
              <a:gd name="connsiteY841" fmla="*/ 753369 h 10808782"/>
              <a:gd name="connsiteX842" fmla="*/ 4171888 w 25004707"/>
              <a:gd name="connsiteY842" fmla="*/ 4598837 h 10808782"/>
              <a:gd name="connsiteX843" fmla="*/ 5486817 w 25004707"/>
              <a:gd name="connsiteY843" fmla="*/ 4214493 h 10808782"/>
              <a:gd name="connsiteX844" fmla="*/ 4171888 w 25004707"/>
              <a:gd name="connsiteY844" fmla="*/ 4598837 h 10808782"/>
              <a:gd name="connsiteX845" fmla="*/ 2918475 w 25004707"/>
              <a:gd name="connsiteY845" fmla="*/ 4046141 h 10808782"/>
              <a:gd name="connsiteX846" fmla="*/ 6516337 w 25004707"/>
              <a:gd name="connsiteY846" fmla="*/ 8176030 h 10808782"/>
              <a:gd name="connsiteX847" fmla="*/ 6484494 w 25004707"/>
              <a:gd name="connsiteY847" fmla="*/ 8660920 h 10808782"/>
              <a:gd name="connsiteX848" fmla="*/ 5200323 w 25004707"/>
              <a:gd name="connsiteY848" fmla="*/ 8576751 h 10808782"/>
              <a:gd name="connsiteX849" fmla="*/ 6516337 w 25004707"/>
              <a:gd name="connsiteY849" fmla="*/ 8176030 h 10808782"/>
              <a:gd name="connsiteX850" fmla="*/ 6548180 w 25004707"/>
              <a:gd name="connsiteY850" fmla="*/ 7691597 h 10808782"/>
              <a:gd name="connsiteX851" fmla="*/ 7832335 w 25004707"/>
              <a:gd name="connsiteY851" fmla="*/ 7775781 h 10808782"/>
              <a:gd name="connsiteX852" fmla="*/ 6516337 w 25004707"/>
              <a:gd name="connsiteY852" fmla="*/ 8176030 h 10808782"/>
              <a:gd name="connsiteX853" fmla="*/ 5232182 w 25004707"/>
              <a:gd name="connsiteY853" fmla="*/ 8091847 h 10808782"/>
              <a:gd name="connsiteX854" fmla="*/ 6516337 w 25004707"/>
              <a:gd name="connsiteY854" fmla="*/ 8176030 h 10808782"/>
              <a:gd name="connsiteX855" fmla="*/ 7800540 w 25004707"/>
              <a:gd name="connsiteY855" fmla="*/ 8260199 h 10808782"/>
              <a:gd name="connsiteX856" fmla="*/ 6484447 w 25004707"/>
              <a:gd name="connsiteY856" fmla="*/ 8660904 h 10808782"/>
              <a:gd name="connsiteX857" fmla="*/ 6452635 w 25004707"/>
              <a:gd name="connsiteY857" fmla="*/ 9145338 h 10808782"/>
              <a:gd name="connsiteX858" fmla="*/ 5168449 w 25004707"/>
              <a:gd name="connsiteY858" fmla="*/ 9061154 h 10808782"/>
              <a:gd name="connsiteX859" fmla="*/ 6707364 w 25004707"/>
              <a:gd name="connsiteY859" fmla="*/ 5268031 h 10808782"/>
              <a:gd name="connsiteX860" fmla="*/ 6675537 w 25004707"/>
              <a:gd name="connsiteY860" fmla="*/ 5752465 h 10808782"/>
              <a:gd name="connsiteX861" fmla="*/ 6675537 w 25004707"/>
              <a:gd name="connsiteY861" fmla="*/ 5752465 h 10808782"/>
              <a:gd name="connsiteX862" fmla="*/ 6643678 w 25004707"/>
              <a:gd name="connsiteY862" fmla="*/ 6237369 h 10808782"/>
              <a:gd name="connsiteX863" fmla="*/ 6675537 w 25004707"/>
              <a:gd name="connsiteY863" fmla="*/ 5752465 h 10808782"/>
              <a:gd name="connsiteX864" fmla="*/ 7959724 w 25004707"/>
              <a:gd name="connsiteY864" fmla="*/ 5836648 h 10808782"/>
              <a:gd name="connsiteX865" fmla="*/ 6675537 w 25004707"/>
              <a:gd name="connsiteY865" fmla="*/ 5752465 h 10808782"/>
              <a:gd name="connsiteX866" fmla="*/ 5391366 w 25004707"/>
              <a:gd name="connsiteY866" fmla="*/ 5668297 h 10808782"/>
              <a:gd name="connsiteX867" fmla="*/ 6739145 w 25004707"/>
              <a:gd name="connsiteY867" fmla="*/ 4783126 h 10808782"/>
              <a:gd name="connsiteX868" fmla="*/ 6707301 w 25004707"/>
              <a:gd name="connsiteY868" fmla="*/ 5268031 h 10808782"/>
              <a:gd name="connsiteX869" fmla="*/ 5423115 w 25004707"/>
              <a:gd name="connsiteY869" fmla="*/ 5183847 h 10808782"/>
              <a:gd name="connsiteX870" fmla="*/ 6771003 w 25004707"/>
              <a:gd name="connsiteY870" fmla="*/ 4298708 h 10808782"/>
              <a:gd name="connsiteX871" fmla="*/ 6802846 w 25004707"/>
              <a:gd name="connsiteY871" fmla="*/ 3813819 h 10808782"/>
              <a:gd name="connsiteX872" fmla="*/ 8087017 w 25004707"/>
              <a:gd name="connsiteY872" fmla="*/ 3897971 h 10808782"/>
              <a:gd name="connsiteX873" fmla="*/ 8118845 w 25004707"/>
              <a:gd name="connsiteY873" fmla="*/ 3413538 h 10808782"/>
              <a:gd name="connsiteX874" fmla="*/ 6771003 w 25004707"/>
              <a:gd name="connsiteY874" fmla="*/ 4298708 h 10808782"/>
              <a:gd name="connsiteX875" fmla="*/ 6739176 w 25004707"/>
              <a:gd name="connsiteY875" fmla="*/ 4783142 h 10808782"/>
              <a:gd name="connsiteX876" fmla="*/ 6962031 w 25004707"/>
              <a:gd name="connsiteY876" fmla="*/ 1390234 h 10808782"/>
              <a:gd name="connsiteX877" fmla="*/ 6930187 w 25004707"/>
              <a:gd name="connsiteY877" fmla="*/ 1875142 h 10808782"/>
              <a:gd name="connsiteX878" fmla="*/ 6962031 w 25004707"/>
              <a:gd name="connsiteY878" fmla="*/ 1390234 h 10808782"/>
              <a:gd name="connsiteX879" fmla="*/ 6993842 w 25004707"/>
              <a:gd name="connsiteY879" fmla="*/ 905794 h 10808782"/>
              <a:gd name="connsiteX880" fmla="*/ 6962031 w 25004707"/>
              <a:gd name="connsiteY880" fmla="*/ 1390234 h 10808782"/>
              <a:gd name="connsiteX881" fmla="*/ 5677875 w 25004707"/>
              <a:gd name="connsiteY881" fmla="*/ 1306052 h 10808782"/>
              <a:gd name="connsiteX882" fmla="*/ 6962031 w 25004707"/>
              <a:gd name="connsiteY882" fmla="*/ 1390234 h 10808782"/>
              <a:gd name="connsiteX883" fmla="*/ 8246217 w 25004707"/>
              <a:gd name="connsiteY883" fmla="*/ 1474414 h 10808782"/>
              <a:gd name="connsiteX884" fmla="*/ 6930187 w 25004707"/>
              <a:gd name="connsiteY884" fmla="*/ 1875142 h 10808782"/>
              <a:gd name="connsiteX885" fmla="*/ 8214374 w 25004707"/>
              <a:gd name="connsiteY885" fmla="*/ 1959310 h 10808782"/>
              <a:gd name="connsiteX886" fmla="*/ 8246217 w 25004707"/>
              <a:gd name="connsiteY886" fmla="*/ 1474414 h 10808782"/>
              <a:gd name="connsiteX887" fmla="*/ 7025685 w 25004707"/>
              <a:gd name="connsiteY887" fmla="*/ 420894 h 10808782"/>
              <a:gd name="connsiteX888" fmla="*/ 6993842 w 25004707"/>
              <a:gd name="connsiteY888" fmla="*/ 905794 h 10808782"/>
              <a:gd name="connsiteX889" fmla="*/ 6993842 w 25004707"/>
              <a:gd name="connsiteY889" fmla="*/ 905794 h 10808782"/>
              <a:gd name="connsiteX890" fmla="*/ 5709671 w 25004707"/>
              <a:gd name="connsiteY890" fmla="*/ 821615 h 10808782"/>
              <a:gd name="connsiteX891" fmla="*/ 6993842 w 25004707"/>
              <a:gd name="connsiteY891" fmla="*/ 905794 h 10808782"/>
              <a:gd name="connsiteX892" fmla="*/ 8278013 w 25004707"/>
              <a:gd name="connsiteY892" fmla="*/ 989967 h 10808782"/>
              <a:gd name="connsiteX893" fmla="*/ 8309856 w 25004707"/>
              <a:gd name="connsiteY893" fmla="*/ 505066 h 10808782"/>
              <a:gd name="connsiteX894" fmla="*/ 6739176 w 25004707"/>
              <a:gd name="connsiteY894" fmla="*/ 4783142 h 10808782"/>
              <a:gd name="connsiteX895" fmla="*/ 8023347 w 25004707"/>
              <a:gd name="connsiteY895" fmla="*/ 4867310 h 10808782"/>
              <a:gd name="connsiteX896" fmla="*/ 6611819 w 25004707"/>
              <a:gd name="connsiteY896" fmla="*/ 6722259 h 10808782"/>
              <a:gd name="connsiteX897" fmla="*/ 6579992 w 25004707"/>
              <a:gd name="connsiteY897" fmla="*/ 7206692 h 10808782"/>
              <a:gd name="connsiteX898" fmla="*/ 6611819 w 25004707"/>
              <a:gd name="connsiteY898" fmla="*/ 6722259 h 10808782"/>
              <a:gd name="connsiteX899" fmla="*/ 6643647 w 25004707"/>
              <a:gd name="connsiteY899" fmla="*/ 6237369 h 10808782"/>
              <a:gd name="connsiteX900" fmla="*/ 6611819 w 25004707"/>
              <a:gd name="connsiteY900" fmla="*/ 6722259 h 10808782"/>
              <a:gd name="connsiteX901" fmla="*/ 7895990 w 25004707"/>
              <a:gd name="connsiteY901" fmla="*/ 6806442 h 10808782"/>
              <a:gd name="connsiteX902" fmla="*/ 6579992 w 25004707"/>
              <a:gd name="connsiteY902" fmla="*/ 7206692 h 10808782"/>
              <a:gd name="connsiteX903" fmla="*/ 6548133 w 25004707"/>
              <a:gd name="connsiteY903" fmla="*/ 7691613 h 10808782"/>
              <a:gd name="connsiteX904" fmla="*/ 5263978 w 25004707"/>
              <a:gd name="connsiteY904" fmla="*/ 7607414 h 10808782"/>
              <a:gd name="connsiteX905" fmla="*/ 5232150 w 25004707"/>
              <a:gd name="connsiteY905" fmla="*/ 8091847 h 10808782"/>
              <a:gd name="connsiteX906" fmla="*/ 3947979 w 25004707"/>
              <a:gd name="connsiteY906" fmla="*/ 8007663 h 10808782"/>
              <a:gd name="connsiteX907" fmla="*/ 6643678 w 25004707"/>
              <a:gd name="connsiteY907" fmla="*/ 6237369 h 10808782"/>
              <a:gd name="connsiteX908" fmla="*/ 7927849 w 25004707"/>
              <a:gd name="connsiteY908" fmla="*/ 6321553 h 10808782"/>
              <a:gd name="connsiteX909" fmla="*/ 6898344 w 25004707"/>
              <a:gd name="connsiteY909" fmla="*/ 2360031 h 10808782"/>
              <a:gd name="connsiteX910" fmla="*/ 6866517 w 25004707"/>
              <a:gd name="connsiteY910" fmla="*/ 2844465 h 10808782"/>
              <a:gd name="connsiteX911" fmla="*/ 6866517 w 25004707"/>
              <a:gd name="connsiteY911" fmla="*/ 2844465 h 10808782"/>
              <a:gd name="connsiteX912" fmla="*/ 8150688 w 25004707"/>
              <a:gd name="connsiteY912" fmla="*/ 2928648 h 10808782"/>
              <a:gd name="connsiteX913" fmla="*/ 6866517 w 25004707"/>
              <a:gd name="connsiteY913" fmla="*/ 2844465 h 10808782"/>
              <a:gd name="connsiteX914" fmla="*/ 6802862 w 25004707"/>
              <a:gd name="connsiteY914" fmla="*/ 3813787 h 10808782"/>
              <a:gd name="connsiteX915" fmla="*/ 7832335 w 25004707"/>
              <a:gd name="connsiteY915" fmla="*/ 7775781 h 10808782"/>
              <a:gd name="connsiteX916" fmla="*/ 7864178 w 25004707"/>
              <a:gd name="connsiteY916" fmla="*/ 7290876 h 10808782"/>
              <a:gd name="connsiteX917" fmla="*/ 7832335 w 25004707"/>
              <a:gd name="connsiteY917" fmla="*/ 7775781 h 10808782"/>
              <a:gd name="connsiteX918" fmla="*/ 7800540 w 25004707"/>
              <a:gd name="connsiteY918" fmla="*/ 8260199 h 10808782"/>
              <a:gd name="connsiteX919" fmla="*/ 7832335 w 25004707"/>
              <a:gd name="connsiteY919" fmla="*/ 7775781 h 10808782"/>
              <a:gd name="connsiteX920" fmla="*/ 9116522 w 25004707"/>
              <a:gd name="connsiteY920" fmla="*/ 7859965 h 10808782"/>
              <a:gd name="connsiteX921" fmla="*/ 7864178 w 25004707"/>
              <a:gd name="connsiteY921" fmla="*/ 7290876 h 10808782"/>
              <a:gd name="connsiteX922" fmla="*/ 7895990 w 25004707"/>
              <a:gd name="connsiteY922" fmla="*/ 6806442 h 10808782"/>
              <a:gd name="connsiteX923" fmla="*/ 7864178 w 25004707"/>
              <a:gd name="connsiteY923" fmla="*/ 7290876 h 10808782"/>
              <a:gd name="connsiteX924" fmla="*/ 6580023 w 25004707"/>
              <a:gd name="connsiteY924" fmla="*/ 7206692 h 10808782"/>
              <a:gd name="connsiteX925" fmla="*/ 7864178 w 25004707"/>
              <a:gd name="connsiteY925" fmla="*/ 7290876 h 10808782"/>
              <a:gd name="connsiteX926" fmla="*/ 9148365 w 25004707"/>
              <a:gd name="connsiteY926" fmla="*/ 7375028 h 10808782"/>
              <a:gd name="connsiteX927" fmla="*/ 9180177 w 25004707"/>
              <a:gd name="connsiteY927" fmla="*/ 6890626 h 10808782"/>
              <a:gd name="connsiteX928" fmla="*/ 8023347 w 25004707"/>
              <a:gd name="connsiteY928" fmla="*/ 4867310 h 10808782"/>
              <a:gd name="connsiteX929" fmla="*/ 7991504 w 25004707"/>
              <a:gd name="connsiteY929" fmla="*/ 5352199 h 10808782"/>
              <a:gd name="connsiteX930" fmla="*/ 6707317 w 25004707"/>
              <a:gd name="connsiteY930" fmla="*/ 5268031 h 10808782"/>
              <a:gd name="connsiteX931" fmla="*/ 8023347 w 25004707"/>
              <a:gd name="connsiteY931" fmla="*/ 4867310 h 10808782"/>
              <a:gd name="connsiteX932" fmla="*/ 8055159 w 25004707"/>
              <a:gd name="connsiteY932" fmla="*/ 4382892 h 10808782"/>
              <a:gd name="connsiteX933" fmla="*/ 8023347 w 25004707"/>
              <a:gd name="connsiteY933" fmla="*/ 4867310 h 10808782"/>
              <a:gd name="connsiteX934" fmla="*/ 9307518 w 25004707"/>
              <a:gd name="connsiteY934" fmla="*/ 4951493 h 10808782"/>
              <a:gd name="connsiteX935" fmla="*/ 9339345 w 25004707"/>
              <a:gd name="connsiteY935" fmla="*/ 4467060 h 10808782"/>
              <a:gd name="connsiteX936" fmla="*/ 8150735 w 25004707"/>
              <a:gd name="connsiteY936" fmla="*/ 2928633 h 10808782"/>
              <a:gd name="connsiteX937" fmla="*/ 8118892 w 25004707"/>
              <a:gd name="connsiteY937" fmla="*/ 3413522 h 10808782"/>
              <a:gd name="connsiteX938" fmla="*/ 8118892 w 25004707"/>
              <a:gd name="connsiteY938" fmla="*/ 3413522 h 10808782"/>
              <a:gd name="connsiteX939" fmla="*/ 6834705 w 25004707"/>
              <a:gd name="connsiteY939" fmla="*/ 3329354 h 10808782"/>
              <a:gd name="connsiteX940" fmla="*/ 8118892 w 25004707"/>
              <a:gd name="connsiteY940" fmla="*/ 3413522 h 10808782"/>
              <a:gd name="connsiteX941" fmla="*/ 9403063 w 25004707"/>
              <a:gd name="connsiteY941" fmla="*/ 3497721 h 10808782"/>
              <a:gd name="connsiteX942" fmla="*/ 7927849 w 25004707"/>
              <a:gd name="connsiteY942" fmla="*/ 6321553 h 10808782"/>
              <a:gd name="connsiteX943" fmla="*/ 7895990 w 25004707"/>
              <a:gd name="connsiteY943" fmla="*/ 6806442 h 10808782"/>
              <a:gd name="connsiteX944" fmla="*/ 7927849 w 25004707"/>
              <a:gd name="connsiteY944" fmla="*/ 6321553 h 10808782"/>
              <a:gd name="connsiteX945" fmla="*/ 7959692 w 25004707"/>
              <a:gd name="connsiteY945" fmla="*/ 5836632 h 10808782"/>
              <a:gd name="connsiteX946" fmla="*/ 7895990 w 25004707"/>
              <a:gd name="connsiteY946" fmla="*/ 6806442 h 10808782"/>
              <a:gd name="connsiteX947" fmla="*/ 9180177 w 25004707"/>
              <a:gd name="connsiteY947" fmla="*/ 6890626 h 10808782"/>
              <a:gd name="connsiteX948" fmla="*/ 7736885 w 25004707"/>
              <a:gd name="connsiteY948" fmla="*/ 9229521 h 10808782"/>
              <a:gd name="connsiteX949" fmla="*/ 7705010 w 25004707"/>
              <a:gd name="connsiteY949" fmla="*/ 9714426 h 10808782"/>
              <a:gd name="connsiteX950" fmla="*/ 7736885 w 25004707"/>
              <a:gd name="connsiteY950" fmla="*/ 9229521 h 10808782"/>
              <a:gd name="connsiteX951" fmla="*/ 9021040 w 25004707"/>
              <a:gd name="connsiteY951" fmla="*/ 9313690 h 10808782"/>
              <a:gd name="connsiteX952" fmla="*/ 7736885 w 25004707"/>
              <a:gd name="connsiteY952" fmla="*/ 9229521 h 10808782"/>
              <a:gd name="connsiteX953" fmla="*/ 7800540 w 25004707"/>
              <a:gd name="connsiteY953" fmla="*/ 8260199 h 10808782"/>
              <a:gd name="connsiteX954" fmla="*/ 8087049 w 25004707"/>
              <a:gd name="connsiteY954" fmla="*/ 3897987 h 10808782"/>
              <a:gd name="connsiteX955" fmla="*/ 8055206 w 25004707"/>
              <a:gd name="connsiteY955" fmla="*/ 4382892 h 10808782"/>
              <a:gd name="connsiteX956" fmla="*/ 8055206 w 25004707"/>
              <a:gd name="connsiteY956" fmla="*/ 4382892 h 10808782"/>
              <a:gd name="connsiteX957" fmla="*/ 6771019 w 25004707"/>
              <a:gd name="connsiteY957" fmla="*/ 4298708 h 10808782"/>
              <a:gd name="connsiteX958" fmla="*/ 8055206 w 25004707"/>
              <a:gd name="connsiteY958" fmla="*/ 4382892 h 10808782"/>
              <a:gd name="connsiteX959" fmla="*/ 9339392 w 25004707"/>
              <a:gd name="connsiteY959" fmla="*/ 4467060 h 10808782"/>
              <a:gd name="connsiteX960" fmla="*/ 7959724 w 25004707"/>
              <a:gd name="connsiteY960" fmla="*/ 5836648 h 10808782"/>
              <a:gd name="connsiteX961" fmla="*/ 7991535 w 25004707"/>
              <a:gd name="connsiteY961" fmla="*/ 5352214 h 10808782"/>
              <a:gd name="connsiteX962" fmla="*/ 9275706 w 25004707"/>
              <a:gd name="connsiteY962" fmla="*/ 5436398 h 10808782"/>
              <a:gd name="connsiteX963" fmla="*/ 7959724 w 25004707"/>
              <a:gd name="connsiteY963" fmla="*/ 5836648 h 10808782"/>
              <a:gd name="connsiteX964" fmla="*/ 9243879 w 25004707"/>
              <a:gd name="connsiteY964" fmla="*/ 5920832 h 10808782"/>
              <a:gd name="connsiteX965" fmla="*/ 7705010 w 25004707"/>
              <a:gd name="connsiteY965" fmla="*/ 9714426 h 10808782"/>
              <a:gd name="connsiteX966" fmla="*/ 6420839 w 25004707"/>
              <a:gd name="connsiteY966" fmla="*/ 9630242 h 10808782"/>
              <a:gd name="connsiteX967" fmla="*/ 7705010 w 25004707"/>
              <a:gd name="connsiteY967" fmla="*/ 9714426 h 10808782"/>
              <a:gd name="connsiteX968" fmla="*/ 8989196 w 25004707"/>
              <a:gd name="connsiteY968" fmla="*/ 9798594 h 10808782"/>
              <a:gd name="connsiteX969" fmla="*/ 9021040 w 25004707"/>
              <a:gd name="connsiteY969" fmla="*/ 9313690 h 10808782"/>
              <a:gd name="connsiteX970" fmla="*/ 8246217 w 25004707"/>
              <a:gd name="connsiteY970" fmla="*/ 1474414 h 10808782"/>
              <a:gd name="connsiteX971" fmla="*/ 8278029 w 25004707"/>
              <a:gd name="connsiteY971" fmla="*/ 989981 h 10808782"/>
              <a:gd name="connsiteX972" fmla="*/ 9562184 w 25004707"/>
              <a:gd name="connsiteY972" fmla="*/ 1074155 h 10808782"/>
              <a:gd name="connsiteX973" fmla="*/ 7800540 w 25004707"/>
              <a:gd name="connsiteY973" fmla="*/ 8260199 h 10808782"/>
              <a:gd name="connsiteX974" fmla="*/ 9084726 w 25004707"/>
              <a:gd name="connsiteY974" fmla="*/ 8344382 h 10808782"/>
              <a:gd name="connsiteX975" fmla="*/ 8182500 w 25004707"/>
              <a:gd name="connsiteY975" fmla="*/ 2444199 h 10808782"/>
              <a:gd name="connsiteX976" fmla="*/ 8214343 w 25004707"/>
              <a:gd name="connsiteY976" fmla="*/ 1959294 h 10808782"/>
              <a:gd name="connsiteX977" fmla="*/ 9498529 w 25004707"/>
              <a:gd name="connsiteY977" fmla="*/ 2043493 h 10808782"/>
              <a:gd name="connsiteX978" fmla="*/ 8182500 w 25004707"/>
              <a:gd name="connsiteY978" fmla="*/ 2444199 h 10808782"/>
              <a:gd name="connsiteX979" fmla="*/ 8150688 w 25004707"/>
              <a:gd name="connsiteY979" fmla="*/ 2928648 h 10808782"/>
              <a:gd name="connsiteX980" fmla="*/ 8182500 w 25004707"/>
              <a:gd name="connsiteY980" fmla="*/ 2444199 h 10808782"/>
              <a:gd name="connsiteX981" fmla="*/ 9466686 w 25004707"/>
              <a:gd name="connsiteY981" fmla="*/ 2528399 h 10808782"/>
              <a:gd name="connsiteX982" fmla="*/ 8182500 w 25004707"/>
              <a:gd name="connsiteY982" fmla="*/ 2444199 h 10808782"/>
              <a:gd name="connsiteX983" fmla="*/ 6898329 w 25004707"/>
              <a:gd name="connsiteY983" fmla="*/ 2360015 h 10808782"/>
              <a:gd name="connsiteX984" fmla="*/ 8150688 w 25004707"/>
              <a:gd name="connsiteY984" fmla="*/ 2928648 h 10808782"/>
              <a:gd name="connsiteX985" fmla="*/ 9434859 w 25004707"/>
              <a:gd name="connsiteY985" fmla="*/ 3012832 h 10808782"/>
              <a:gd name="connsiteX986" fmla="*/ 9275706 w 25004707"/>
              <a:gd name="connsiteY986" fmla="*/ 5436398 h 10808782"/>
              <a:gd name="connsiteX987" fmla="*/ 9243879 w 25004707"/>
              <a:gd name="connsiteY987" fmla="*/ 5920832 h 10808782"/>
              <a:gd name="connsiteX988" fmla="*/ 9243879 w 25004707"/>
              <a:gd name="connsiteY988" fmla="*/ 5920832 h 10808782"/>
              <a:gd name="connsiteX989" fmla="*/ 9212035 w 25004707"/>
              <a:gd name="connsiteY989" fmla="*/ 6405721 h 10808782"/>
              <a:gd name="connsiteX990" fmla="*/ 9212035 w 25004707"/>
              <a:gd name="connsiteY990" fmla="*/ 6405721 h 10808782"/>
              <a:gd name="connsiteX991" fmla="*/ 9180177 w 25004707"/>
              <a:gd name="connsiteY991" fmla="*/ 6890626 h 10808782"/>
              <a:gd name="connsiteX992" fmla="*/ 9212035 w 25004707"/>
              <a:gd name="connsiteY992" fmla="*/ 6405721 h 10808782"/>
              <a:gd name="connsiteX993" fmla="*/ 7927865 w 25004707"/>
              <a:gd name="connsiteY993" fmla="*/ 6321538 h 10808782"/>
              <a:gd name="connsiteX994" fmla="*/ 9371235 w 25004707"/>
              <a:gd name="connsiteY994" fmla="*/ 3982171 h 10808782"/>
              <a:gd name="connsiteX995" fmla="*/ 9339392 w 25004707"/>
              <a:gd name="connsiteY995" fmla="*/ 4467060 h 10808782"/>
              <a:gd name="connsiteX996" fmla="*/ 9562184 w 25004707"/>
              <a:gd name="connsiteY996" fmla="*/ 1074155 h 10808782"/>
              <a:gd name="connsiteX997" fmla="*/ 9530372 w 25004707"/>
              <a:gd name="connsiteY997" fmla="*/ 1558589 h 10808782"/>
              <a:gd name="connsiteX998" fmla="*/ 9562184 w 25004707"/>
              <a:gd name="connsiteY998" fmla="*/ 1074155 h 10808782"/>
              <a:gd name="connsiteX999" fmla="*/ 9594027 w 25004707"/>
              <a:gd name="connsiteY999" fmla="*/ 589247 h 10808782"/>
              <a:gd name="connsiteX1000" fmla="*/ 9530372 w 25004707"/>
              <a:gd name="connsiteY1000" fmla="*/ 1558589 h 10808782"/>
              <a:gd name="connsiteX1001" fmla="*/ 9498529 w 25004707"/>
              <a:gd name="connsiteY1001" fmla="*/ 2043493 h 10808782"/>
              <a:gd name="connsiteX1002" fmla="*/ 9530372 w 25004707"/>
              <a:gd name="connsiteY1002" fmla="*/ 1558589 h 10808782"/>
              <a:gd name="connsiteX1003" fmla="*/ 8246186 w 25004707"/>
              <a:gd name="connsiteY1003" fmla="*/ 1474408 h 10808782"/>
              <a:gd name="connsiteX1004" fmla="*/ 9116522 w 25004707"/>
              <a:gd name="connsiteY1004" fmla="*/ 7859965 h 10808782"/>
              <a:gd name="connsiteX1005" fmla="*/ 9084726 w 25004707"/>
              <a:gd name="connsiteY1005" fmla="*/ 8344382 h 10808782"/>
              <a:gd name="connsiteX1006" fmla="*/ 9403063 w 25004707"/>
              <a:gd name="connsiteY1006" fmla="*/ 3497721 h 10808782"/>
              <a:gd name="connsiteX1007" fmla="*/ 9371251 w 25004707"/>
              <a:gd name="connsiteY1007" fmla="*/ 3982155 h 10808782"/>
              <a:gd name="connsiteX1008" fmla="*/ 9403063 w 25004707"/>
              <a:gd name="connsiteY1008" fmla="*/ 3497721 h 10808782"/>
              <a:gd name="connsiteX1009" fmla="*/ 9434921 w 25004707"/>
              <a:gd name="connsiteY1009" fmla="*/ 3012801 h 10808782"/>
              <a:gd name="connsiteX1010" fmla="*/ 9371251 w 25004707"/>
              <a:gd name="connsiteY1010" fmla="*/ 3982155 h 10808782"/>
              <a:gd name="connsiteX1011" fmla="*/ 8087081 w 25004707"/>
              <a:gd name="connsiteY1011" fmla="*/ 3897971 h 10808782"/>
              <a:gd name="connsiteX1012" fmla="*/ 9498529 w 25004707"/>
              <a:gd name="connsiteY1012" fmla="*/ 2043493 h 10808782"/>
              <a:gd name="connsiteX1013" fmla="*/ 9466686 w 25004707"/>
              <a:gd name="connsiteY1013" fmla="*/ 2528399 h 10808782"/>
              <a:gd name="connsiteX1014" fmla="*/ 9466686 w 25004707"/>
              <a:gd name="connsiteY1014" fmla="*/ 2528399 h 10808782"/>
              <a:gd name="connsiteX1015" fmla="*/ 9434859 w 25004707"/>
              <a:gd name="connsiteY1015" fmla="*/ 3012832 h 10808782"/>
              <a:gd name="connsiteX1016" fmla="*/ 9021040 w 25004707"/>
              <a:gd name="connsiteY1016" fmla="*/ 9313690 h 10808782"/>
              <a:gd name="connsiteX1017" fmla="*/ 9052851 w 25004707"/>
              <a:gd name="connsiteY1017" fmla="*/ 8829272 h 10808782"/>
              <a:gd name="connsiteX1018" fmla="*/ 9084726 w 25004707"/>
              <a:gd name="connsiteY1018" fmla="*/ 8344382 h 10808782"/>
              <a:gd name="connsiteX1019" fmla="*/ 9052883 w 25004707"/>
              <a:gd name="connsiteY1019" fmla="*/ 8829287 h 10808782"/>
              <a:gd name="connsiteX1020" fmla="*/ 9052883 w 25004707"/>
              <a:gd name="connsiteY1020" fmla="*/ 8829287 h 10808782"/>
              <a:gd name="connsiteX1021" fmla="*/ 6484525 w 25004707"/>
              <a:gd name="connsiteY1021" fmla="*/ 8660920 h 10808782"/>
              <a:gd name="connsiteX1022" fmla="*/ 11589397 w 25004707"/>
              <a:gd name="connsiteY1022" fmla="*/ 9482057 h 10808782"/>
              <a:gd name="connsiteX1023" fmla="*/ 11621209 w 25004707"/>
              <a:gd name="connsiteY1023" fmla="*/ 8997623 h 10808782"/>
              <a:gd name="connsiteX1024" fmla="*/ 11589397 w 25004707"/>
              <a:gd name="connsiteY1024" fmla="*/ 9482057 h 10808782"/>
              <a:gd name="connsiteX1025" fmla="*/ 11557539 w 25004707"/>
              <a:gd name="connsiteY1025" fmla="*/ 9966962 h 10808782"/>
              <a:gd name="connsiteX1026" fmla="*/ 10273352 w 25004707"/>
              <a:gd name="connsiteY1026" fmla="*/ 9882778 h 10808782"/>
              <a:gd name="connsiteX1027" fmla="*/ 11589397 w 25004707"/>
              <a:gd name="connsiteY1027" fmla="*/ 9482057 h 10808782"/>
              <a:gd name="connsiteX1028" fmla="*/ 12873584 w 25004707"/>
              <a:gd name="connsiteY1028" fmla="*/ 9566240 h 10808782"/>
              <a:gd name="connsiteX1029" fmla="*/ 11589397 w 25004707"/>
              <a:gd name="connsiteY1029" fmla="*/ 9482057 h 10808782"/>
              <a:gd name="connsiteX1030" fmla="*/ 10305227 w 25004707"/>
              <a:gd name="connsiteY1030" fmla="*/ 9397873 h 10808782"/>
              <a:gd name="connsiteX1031" fmla="*/ 11621209 w 25004707"/>
              <a:gd name="connsiteY1031" fmla="*/ 8997623 h 10808782"/>
              <a:gd name="connsiteX1032" fmla="*/ 11653068 w 25004707"/>
              <a:gd name="connsiteY1032" fmla="*/ 8512733 h 10808782"/>
              <a:gd name="connsiteX1033" fmla="*/ 11621209 w 25004707"/>
              <a:gd name="connsiteY1033" fmla="*/ 8997623 h 10808782"/>
              <a:gd name="connsiteX1034" fmla="*/ 10337038 w 25004707"/>
              <a:gd name="connsiteY1034" fmla="*/ 8913455 h 10808782"/>
              <a:gd name="connsiteX1035" fmla="*/ 12098730 w 25004707"/>
              <a:gd name="connsiteY1035" fmla="*/ 1726956 h 10808782"/>
              <a:gd name="connsiteX1036" fmla="*/ 12066887 w 25004707"/>
              <a:gd name="connsiteY1036" fmla="*/ 2211845 h 10808782"/>
              <a:gd name="connsiteX1037" fmla="*/ 12098730 w 25004707"/>
              <a:gd name="connsiteY1037" fmla="*/ 1726956 h 10808782"/>
              <a:gd name="connsiteX1038" fmla="*/ 12130541 w 25004707"/>
              <a:gd name="connsiteY1038" fmla="*/ 1242500 h 10808782"/>
              <a:gd name="connsiteX1039" fmla="*/ 12098730 w 25004707"/>
              <a:gd name="connsiteY1039" fmla="*/ 1726956 h 10808782"/>
              <a:gd name="connsiteX1040" fmla="*/ 13382917 w 25004707"/>
              <a:gd name="connsiteY1040" fmla="*/ 1811140 h 10808782"/>
              <a:gd name="connsiteX1041" fmla="*/ 12066887 w 25004707"/>
              <a:gd name="connsiteY1041" fmla="*/ 2211845 h 10808782"/>
              <a:gd name="connsiteX1042" fmla="*/ 12035043 w 25004707"/>
              <a:gd name="connsiteY1042" fmla="*/ 2696735 h 10808782"/>
              <a:gd name="connsiteX1043" fmla="*/ 12066887 w 25004707"/>
              <a:gd name="connsiteY1043" fmla="*/ 2211845 h 10808782"/>
              <a:gd name="connsiteX1044" fmla="*/ 13351074 w 25004707"/>
              <a:gd name="connsiteY1044" fmla="*/ 2296029 h 10808782"/>
              <a:gd name="connsiteX1045" fmla="*/ 13382917 w 25004707"/>
              <a:gd name="connsiteY1045" fmla="*/ 1811140 h 10808782"/>
              <a:gd name="connsiteX1046" fmla="*/ 11684864 w 25004707"/>
              <a:gd name="connsiteY1046" fmla="*/ 8028316 h 10808782"/>
              <a:gd name="connsiteX1047" fmla="*/ 11700769 w 25004707"/>
              <a:gd name="connsiteY1047" fmla="*/ 7786092 h 10808782"/>
              <a:gd name="connsiteX1048" fmla="*/ 11645721 w 25004707"/>
              <a:gd name="connsiteY1048" fmla="*/ 7561345 h 10808782"/>
              <a:gd name="connsiteX1049" fmla="*/ 11684864 w 25004707"/>
              <a:gd name="connsiteY1049" fmla="*/ 8028316 h 10808782"/>
              <a:gd name="connsiteX1050" fmla="*/ 11653068 w 25004707"/>
              <a:gd name="connsiteY1050" fmla="*/ 8512733 h 10808782"/>
              <a:gd name="connsiteX1051" fmla="*/ 12162401 w 25004707"/>
              <a:gd name="connsiteY1051" fmla="*/ 757600 h 10808782"/>
              <a:gd name="connsiteX1052" fmla="*/ 12130541 w 25004707"/>
              <a:gd name="connsiteY1052" fmla="*/ 1242500 h 10808782"/>
              <a:gd name="connsiteX1053" fmla="*/ 12130541 w 25004707"/>
              <a:gd name="connsiteY1053" fmla="*/ 1242500 h 10808782"/>
              <a:gd name="connsiteX1054" fmla="*/ 13414713 w 25004707"/>
              <a:gd name="connsiteY1054" fmla="*/ 1326681 h 10808782"/>
              <a:gd name="connsiteX1055" fmla="*/ 11971389 w 25004707"/>
              <a:gd name="connsiteY1055" fmla="*/ 3666073 h 10808782"/>
              <a:gd name="connsiteX1056" fmla="*/ 11939593 w 25004707"/>
              <a:gd name="connsiteY1056" fmla="*/ 4150506 h 10808782"/>
              <a:gd name="connsiteX1057" fmla="*/ 11971389 w 25004707"/>
              <a:gd name="connsiteY1057" fmla="*/ 3666073 h 10808782"/>
              <a:gd name="connsiteX1058" fmla="*/ 10687203 w 25004707"/>
              <a:gd name="connsiteY1058" fmla="*/ 3581889 h 10808782"/>
              <a:gd name="connsiteX1059" fmla="*/ 11971389 w 25004707"/>
              <a:gd name="connsiteY1059" fmla="*/ 3666073 h 10808782"/>
              <a:gd name="connsiteX1060" fmla="*/ 12035043 w 25004707"/>
              <a:gd name="connsiteY1060" fmla="*/ 2696750 h 10808782"/>
              <a:gd name="connsiteX1061" fmla="*/ 11939562 w 25004707"/>
              <a:gd name="connsiteY1061" fmla="*/ 4150506 h 10808782"/>
              <a:gd name="connsiteX1062" fmla="*/ 11923656 w 25004707"/>
              <a:gd name="connsiteY1062" fmla="*/ 4392731 h 10808782"/>
              <a:gd name="connsiteX1063" fmla="*/ 11839674 w 25004707"/>
              <a:gd name="connsiteY1063" fmla="*/ 4608362 h 10808782"/>
              <a:gd name="connsiteX1064" fmla="*/ 11939593 w 25004707"/>
              <a:gd name="connsiteY1064" fmla="*/ 4150506 h 10808782"/>
              <a:gd name="connsiteX1065" fmla="*/ 12272294 w 25004707"/>
              <a:gd name="connsiteY1065" fmla="*/ 4172322 h 10808782"/>
              <a:gd name="connsiteX1066" fmla="*/ 13140632 w 25004707"/>
              <a:gd name="connsiteY1066" fmla="*/ 4177462 h 10808782"/>
              <a:gd name="connsiteX1067" fmla="*/ 11123456 w 25004707"/>
              <a:gd name="connsiteY1067" fmla="*/ 6044043 h 10808782"/>
              <a:gd name="connsiteX1068" fmla="*/ 11191500 w 25004707"/>
              <a:gd name="connsiteY1068" fmla="*/ 6598074 h 10808782"/>
              <a:gd name="connsiteX1069" fmla="*/ 10491927 w 25004707"/>
              <a:gd name="connsiteY1069" fmla="*/ 6490078 h 10808782"/>
              <a:gd name="connsiteX1070" fmla="*/ 11123456 w 25004707"/>
              <a:gd name="connsiteY1070" fmla="*/ 6044043 h 10808782"/>
              <a:gd name="connsiteX1071" fmla="*/ 11503937 w 25004707"/>
              <a:gd name="connsiteY1071" fmla="*/ 6068971 h 10808782"/>
              <a:gd name="connsiteX1072" fmla="*/ 11646287 w 25004707"/>
              <a:gd name="connsiteY1072" fmla="*/ 7561361 h 10808782"/>
              <a:gd name="connsiteX1073" fmla="*/ 11412797 w 25004707"/>
              <a:gd name="connsiteY1073" fmla="*/ 7108001 h 10808782"/>
              <a:gd name="connsiteX1074" fmla="*/ 11130048 w 25004707"/>
              <a:gd name="connsiteY1074" fmla="*/ 7039111 h 10808782"/>
              <a:gd name="connsiteX1075" fmla="*/ 10846071 w 25004707"/>
              <a:gd name="connsiteY1075" fmla="*/ 7005444 h 10808782"/>
              <a:gd name="connsiteX1076" fmla="*/ 10464379 w 25004707"/>
              <a:gd name="connsiteY1076" fmla="*/ 6974779 h 10808782"/>
              <a:gd name="connsiteX1077" fmla="*/ 11191531 w 25004707"/>
              <a:gd name="connsiteY1077" fmla="*/ 6598058 h 10808782"/>
              <a:gd name="connsiteX1078" fmla="*/ 11412813 w 25004707"/>
              <a:gd name="connsiteY1078" fmla="*/ 7107545 h 10808782"/>
              <a:gd name="connsiteX1079" fmla="*/ 12088126 w 25004707"/>
              <a:gd name="connsiteY1079" fmla="*/ 7357425 h 10808782"/>
              <a:gd name="connsiteX1080" fmla="*/ 12035043 w 25004707"/>
              <a:gd name="connsiteY1080" fmla="*/ 2696735 h 10808782"/>
              <a:gd name="connsiteX1081" fmla="*/ 13319230 w 25004707"/>
              <a:gd name="connsiteY1081" fmla="*/ 2780918 h 10808782"/>
              <a:gd name="connsiteX1082" fmla="*/ 11840162 w 25004707"/>
              <a:gd name="connsiteY1082" fmla="*/ 4608393 h 10808782"/>
              <a:gd name="connsiteX1083" fmla="*/ 11549389 w 25004707"/>
              <a:gd name="connsiteY1083" fmla="*/ 5027378 h 10808782"/>
              <a:gd name="connsiteX1084" fmla="*/ 11263368 w 25004707"/>
              <a:gd name="connsiteY1084" fmla="*/ 5504110 h 10808782"/>
              <a:gd name="connsiteX1085" fmla="*/ 11123440 w 25004707"/>
              <a:gd name="connsiteY1085" fmla="*/ 6044498 h 10808782"/>
              <a:gd name="connsiteX1086" fmla="*/ 11549436 w 25004707"/>
              <a:gd name="connsiteY1086" fmla="*/ 5027394 h 10808782"/>
              <a:gd name="connsiteX1087" fmla="*/ 11263415 w 25004707"/>
              <a:gd name="connsiteY1087" fmla="*/ 5503623 h 10808782"/>
              <a:gd name="connsiteX1088" fmla="*/ 11752593 w 25004707"/>
              <a:gd name="connsiteY1088" fmla="*/ 5391241 h 10808782"/>
              <a:gd name="connsiteX1089" fmla="*/ 12251684 w 25004707"/>
              <a:gd name="connsiteY1089" fmla="*/ 4867812 h 10808782"/>
              <a:gd name="connsiteX1090" fmla="*/ 13275399 w 25004707"/>
              <a:gd name="connsiteY1090" fmla="*/ 4617321 h 10808782"/>
              <a:gd name="connsiteX1091" fmla="*/ 13140664 w 25004707"/>
              <a:gd name="connsiteY1091" fmla="*/ 4177494 h 10808782"/>
              <a:gd name="connsiteX1092" fmla="*/ 12761818 w 25004707"/>
              <a:gd name="connsiteY1092" fmla="*/ 4492837 h 10808782"/>
              <a:gd name="connsiteX1093" fmla="*/ 11661721 w 25004707"/>
              <a:gd name="connsiteY1093" fmla="*/ 6773813 h 10808782"/>
              <a:gd name="connsiteX1094" fmla="*/ 11503858 w 25004707"/>
              <a:gd name="connsiteY1094" fmla="*/ 6069442 h 10808782"/>
              <a:gd name="connsiteX1095" fmla="*/ 12905427 w 25004707"/>
              <a:gd name="connsiteY1095" fmla="*/ 9081823 h 10808782"/>
              <a:gd name="connsiteX1096" fmla="*/ 12937271 w 25004707"/>
              <a:gd name="connsiteY1096" fmla="*/ 8596917 h 10808782"/>
              <a:gd name="connsiteX1097" fmla="*/ 12905427 w 25004707"/>
              <a:gd name="connsiteY1097" fmla="*/ 9081823 h 10808782"/>
              <a:gd name="connsiteX1098" fmla="*/ 14190133 w 25004707"/>
              <a:gd name="connsiteY1098" fmla="*/ 9166037 h 10808782"/>
              <a:gd name="connsiteX1099" fmla="*/ 12905427 w 25004707"/>
              <a:gd name="connsiteY1099" fmla="*/ 9081823 h 10808782"/>
              <a:gd name="connsiteX1100" fmla="*/ 11621240 w 25004707"/>
              <a:gd name="connsiteY1100" fmla="*/ 8997639 h 10808782"/>
              <a:gd name="connsiteX1101" fmla="*/ 12251620 w 25004707"/>
              <a:gd name="connsiteY1101" fmla="*/ 4868269 h 10808782"/>
              <a:gd name="connsiteX1102" fmla="*/ 12762275 w 25004707"/>
              <a:gd name="connsiteY1102" fmla="*/ 4493340 h 10808782"/>
              <a:gd name="connsiteX1103" fmla="*/ 11503937 w 25004707"/>
              <a:gd name="connsiteY1103" fmla="*/ 6068971 h 10808782"/>
              <a:gd name="connsiteX1104" fmla="*/ 11752562 w 25004707"/>
              <a:gd name="connsiteY1104" fmla="*/ 5391257 h 10808782"/>
              <a:gd name="connsiteX1105" fmla="*/ 11503937 w 25004707"/>
              <a:gd name="connsiteY1105" fmla="*/ 6068971 h 10808782"/>
              <a:gd name="connsiteX1106" fmla="*/ 11995302 w 25004707"/>
              <a:gd name="connsiteY1106" fmla="*/ 6101176 h 10808782"/>
              <a:gd name="connsiteX1107" fmla="*/ 13319215 w 25004707"/>
              <a:gd name="connsiteY1107" fmla="*/ 2780934 h 10808782"/>
              <a:gd name="connsiteX1108" fmla="*/ 13287403 w 25004707"/>
              <a:gd name="connsiteY1108" fmla="*/ 3265368 h 10808782"/>
              <a:gd name="connsiteX1109" fmla="*/ 10719045 w 25004707"/>
              <a:gd name="connsiteY1109" fmla="*/ 3097000 h 10808782"/>
              <a:gd name="connsiteX1110" fmla="*/ 12879185 w 25004707"/>
              <a:gd name="connsiteY1110" fmla="*/ 8157877 h 10808782"/>
              <a:gd name="connsiteX1111" fmla="*/ 12953113 w 25004707"/>
              <a:gd name="connsiteY1111" fmla="*/ 8354693 h 10808782"/>
              <a:gd name="connsiteX1112" fmla="*/ 12937192 w 25004707"/>
              <a:gd name="connsiteY1112" fmla="*/ 8596917 h 10808782"/>
              <a:gd name="connsiteX1113" fmla="*/ 11653021 w 25004707"/>
              <a:gd name="connsiteY1113" fmla="*/ 8512733 h 10808782"/>
              <a:gd name="connsiteX1114" fmla="*/ 13351074 w 25004707"/>
              <a:gd name="connsiteY1114" fmla="*/ 2296013 h 10808782"/>
              <a:gd name="connsiteX1115" fmla="*/ 13319230 w 25004707"/>
              <a:gd name="connsiteY1115" fmla="*/ 2780918 h 10808782"/>
              <a:gd name="connsiteX1116" fmla="*/ 13319230 w 25004707"/>
              <a:gd name="connsiteY1116" fmla="*/ 2780918 h 10808782"/>
              <a:gd name="connsiteX1117" fmla="*/ 14603952 w 25004707"/>
              <a:gd name="connsiteY1117" fmla="*/ 2865118 h 10808782"/>
              <a:gd name="connsiteX1118" fmla="*/ 14635795 w 25004707"/>
              <a:gd name="connsiteY1118" fmla="*/ 2380244 h 10808782"/>
              <a:gd name="connsiteX1119" fmla="*/ 13382917 w 25004707"/>
              <a:gd name="connsiteY1119" fmla="*/ 1811140 h 10808782"/>
              <a:gd name="connsiteX1120" fmla="*/ 13414713 w 25004707"/>
              <a:gd name="connsiteY1120" fmla="*/ 1326681 h 10808782"/>
              <a:gd name="connsiteX1121" fmla="*/ 13382917 w 25004707"/>
              <a:gd name="connsiteY1121" fmla="*/ 1811140 h 10808782"/>
              <a:gd name="connsiteX1122" fmla="*/ 14667607 w 25004707"/>
              <a:gd name="connsiteY1122" fmla="*/ 1895339 h 10808782"/>
              <a:gd name="connsiteX1123" fmla="*/ 13287451 w 25004707"/>
              <a:gd name="connsiteY1123" fmla="*/ 3265336 h 10808782"/>
              <a:gd name="connsiteX1124" fmla="*/ 13255607 w 25004707"/>
              <a:gd name="connsiteY1124" fmla="*/ 3750241 h 10808782"/>
              <a:gd name="connsiteX1125" fmla="*/ 11971436 w 25004707"/>
              <a:gd name="connsiteY1125" fmla="*/ 3666057 h 10808782"/>
              <a:gd name="connsiteX1126" fmla="*/ 13140585 w 25004707"/>
              <a:gd name="connsiteY1126" fmla="*/ 4177934 h 10808782"/>
              <a:gd name="connsiteX1127" fmla="*/ 13239622 w 25004707"/>
              <a:gd name="connsiteY1127" fmla="*/ 3992450 h 10808782"/>
              <a:gd name="connsiteX1128" fmla="*/ 13255529 w 25004707"/>
              <a:gd name="connsiteY1128" fmla="*/ 3750241 h 10808782"/>
              <a:gd name="connsiteX1129" fmla="*/ 14206023 w 25004707"/>
              <a:gd name="connsiteY1129" fmla="*/ 3811147 h 10808782"/>
              <a:gd name="connsiteX1130" fmla="*/ 14533910 w 25004707"/>
              <a:gd name="connsiteY1130" fmla="*/ 3825576 h 10808782"/>
              <a:gd name="connsiteX1131" fmla="*/ 14311810 w 25004707"/>
              <a:gd name="connsiteY1131" fmla="*/ 4099440 h 10808782"/>
              <a:gd name="connsiteX1132" fmla="*/ 12544864 w 25004707"/>
              <a:gd name="connsiteY1132" fmla="*/ 7795774 h 10808782"/>
              <a:gd name="connsiteX1133" fmla="*/ 12879217 w 25004707"/>
              <a:gd name="connsiteY1133" fmla="*/ 8157877 h 10808782"/>
              <a:gd name="connsiteX1134" fmla="*/ 14029580 w 25004707"/>
              <a:gd name="connsiteY1134" fmla="*/ 8388549 h 10808782"/>
              <a:gd name="connsiteX1135" fmla="*/ 12545383 w 25004707"/>
              <a:gd name="connsiteY1135" fmla="*/ 7795805 h 10808782"/>
              <a:gd name="connsiteX1136" fmla="*/ 12088126 w 25004707"/>
              <a:gd name="connsiteY1136" fmla="*/ 7357425 h 10808782"/>
              <a:gd name="connsiteX1137" fmla="*/ 12088126 w 25004707"/>
              <a:gd name="connsiteY1137" fmla="*/ 7357425 h 10808782"/>
              <a:gd name="connsiteX1138" fmla="*/ 11661799 w 25004707"/>
              <a:gd name="connsiteY1138" fmla="*/ 6773325 h 10808782"/>
              <a:gd name="connsiteX1139" fmla="*/ 12088126 w 25004707"/>
              <a:gd name="connsiteY1139" fmla="*/ 7357425 h 10808782"/>
              <a:gd name="connsiteX1140" fmla="*/ 13070307 w 25004707"/>
              <a:gd name="connsiteY1140" fmla="*/ 7739410 h 10808782"/>
              <a:gd name="connsiteX1141" fmla="*/ 12873584 w 25004707"/>
              <a:gd name="connsiteY1141" fmla="*/ 9566240 h 10808782"/>
              <a:gd name="connsiteX1142" fmla="*/ 12905396 w 25004707"/>
              <a:gd name="connsiteY1142" fmla="*/ 9081806 h 10808782"/>
              <a:gd name="connsiteX1143" fmla="*/ 12873584 w 25004707"/>
              <a:gd name="connsiteY1143" fmla="*/ 9566240 h 10808782"/>
              <a:gd name="connsiteX1144" fmla="*/ 14158290 w 25004707"/>
              <a:gd name="connsiteY1144" fmla="*/ 9650455 h 10808782"/>
              <a:gd name="connsiteX1145" fmla="*/ 12873631 w 25004707"/>
              <a:gd name="connsiteY1145" fmla="*/ 9566240 h 10808782"/>
              <a:gd name="connsiteX1146" fmla="*/ 12841773 w 25004707"/>
              <a:gd name="connsiteY1146" fmla="*/ 10051145 h 10808782"/>
              <a:gd name="connsiteX1147" fmla="*/ 11557601 w 25004707"/>
              <a:gd name="connsiteY1147" fmla="*/ 9966962 h 10808782"/>
              <a:gd name="connsiteX1148" fmla="*/ 13446556 w 25004707"/>
              <a:gd name="connsiteY1148" fmla="*/ 841781 h 10808782"/>
              <a:gd name="connsiteX1149" fmla="*/ 13414713 w 25004707"/>
              <a:gd name="connsiteY1149" fmla="*/ 1326681 h 10808782"/>
              <a:gd name="connsiteX1150" fmla="*/ 14190133 w 25004707"/>
              <a:gd name="connsiteY1150" fmla="*/ 9166037 h 10808782"/>
              <a:gd name="connsiteX1151" fmla="*/ 14206039 w 25004707"/>
              <a:gd name="connsiteY1151" fmla="*/ 8923813 h 10808782"/>
              <a:gd name="connsiteX1152" fmla="*/ 14214503 w 25004707"/>
              <a:gd name="connsiteY1152" fmla="*/ 8689589 h 10808782"/>
              <a:gd name="connsiteX1153" fmla="*/ 14190133 w 25004707"/>
              <a:gd name="connsiteY1153" fmla="*/ 9166037 h 10808782"/>
              <a:gd name="connsiteX1154" fmla="*/ 14158290 w 25004707"/>
              <a:gd name="connsiteY1154" fmla="*/ 9650455 h 10808782"/>
              <a:gd name="connsiteX1155" fmla="*/ 14190133 w 25004707"/>
              <a:gd name="connsiteY1155" fmla="*/ 9166037 h 10808782"/>
              <a:gd name="connsiteX1156" fmla="*/ 15474273 w 25004707"/>
              <a:gd name="connsiteY1156" fmla="*/ 9250206 h 10808782"/>
              <a:gd name="connsiteX1157" fmla="*/ 14603889 w 25004707"/>
              <a:gd name="connsiteY1157" fmla="*/ 2865133 h 10808782"/>
              <a:gd name="connsiteX1158" fmla="*/ 14572062 w 25004707"/>
              <a:gd name="connsiteY1158" fmla="*/ 3349567 h 10808782"/>
              <a:gd name="connsiteX1159" fmla="*/ 14572062 w 25004707"/>
              <a:gd name="connsiteY1159" fmla="*/ 3349567 h 10808782"/>
              <a:gd name="connsiteX1160" fmla="*/ 13287355 w 25004707"/>
              <a:gd name="connsiteY1160" fmla="*/ 3265352 h 10808782"/>
              <a:gd name="connsiteX1161" fmla="*/ 14572062 w 25004707"/>
              <a:gd name="connsiteY1161" fmla="*/ 3349567 h 10808782"/>
              <a:gd name="connsiteX1162" fmla="*/ 15856264 w 25004707"/>
              <a:gd name="connsiteY1162" fmla="*/ 3433766 h 10808782"/>
              <a:gd name="connsiteX1163" fmla="*/ 14731277 w 25004707"/>
              <a:gd name="connsiteY1163" fmla="*/ 925990 h 10808782"/>
              <a:gd name="connsiteX1164" fmla="*/ 14699434 w 25004707"/>
              <a:gd name="connsiteY1164" fmla="*/ 1410890 h 10808782"/>
              <a:gd name="connsiteX1165" fmla="*/ 14699434 w 25004707"/>
              <a:gd name="connsiteY1165" fmla="*/ 1410890 h 10808782"/>
              <a:gd name="connsiteX1166" fmla="*/ 14667607 w 25004707"/>
              <a:gd name="connsiteY1166" fmla="*/ 1895339 h 10808782"/>
              <a:gd name="connsiteX1167" fmla="*/ 14699434 w 25004707"/>
              <a:gd name="connsiteY1167" fmla="*/ 1410890 h 10808782"/>
              <a:gd name="connsiteX1168" fmla="*/ 15983542 w 25004707"/>
              <a:gd name="connsiteY1168" fmla="*/ 1495075 h 10808782"/>
              <a:gd name="connsiteX1169" fmla="*/ 14699434 w 25004707"/>
              <a:gd name="connsiteY1169" fmla="*/ 1410890 h 10808782"/>
              <a:gd name="connsiteX1170" fmla="*/ 13414728 w 25004707"/>
              <a:gd name="connsiteY1170" fmla="*/ 1326676 h 10808782"/>
              <a:gd name="connsiteX1171" fmla="*/ 14029580 w 25004707"/>
              <a:gd name="connsiteY1171" fmla="*/ 8388549 h 10808782"/>
              <a:gd name="connsiteX1172" fmla="*/ 13647070 w 25004707"/>
              <a:gd name="connsiteY1172" fmla="*/ 8118803 h 10808782"/>
              <a:gd name="connsiteX1173" fmla="*/ 14029580 w 25004707"/>
              <a:gd name="connsiteY1173" fmla="*/ 8388549 h 10808782"/>
              <a:gd name="connsiteX1174" fmla="*/ 15397386 w 25004707"/>
              <a:gd name="connsiteY1174" fmla="*/ 8603361 h 10808782"/>
              <a:gd name="connsiteX1175" fmla="*/ 14126447 w 25004707"/>
              <a:gd name="connsiteY1175" fmla="*/ 10135345 h 10808782"/>
              <a:gd name="connsiteX1176" fmla="*/ 14158290 w 25004707"/>
              <a:gd name="connsiteY1176" fmla="*/ 9650455 h 10808782"/>
              <a:gd name="connsiteX1177" fmla="*/ 14126447 w 25004707"/>
              <a:gd name="connsiteY1177" fmla="*/ 10135345 h 10808782"/>
              <a:gd name="connsiteX1178" fmla="*/ 15410602 w 25004707"/>
              <a:gd name="connsiteY1178" fmla="*/ 10219528 h 10808782"/>
              <a:gd name="connsiteX1179" fmla="*/ 14126447 w 25004707"/>
              <a:gd name="connsiteY1179" fmla="*/ 10135345 h 10808782"/>
              <a:gd name="connsiteX1180" fmla="*/ 12841741 w 25004707"/>
              <a:gd name="connsiteY1180" fmla="*/ 10051145 h 10808782"/>
              <a:gd name="connsiteX1181" fmla="*/ 14158290 w 25004707"/>
              <a:gd name="connsiteY1181" fmla="*/ 9650455 h 10808782"/>
              <a:gd name="connsiteX1182" fmla="*/ 15442445 w 25004707"/>
              <a:gd name="connsiteY1182" fmla="*/ 9734623 h 10808782"/>
              <a:gd name="connsiteX1183" fmla="*/ 14667607 w 25004707"/>
              <a:gd name="connsiteY1183" fmla="*/ 1895339 h 10808782"/>
              <a:gd name="connsiteX1184" fmla="*/ 15951762 w 25004707"/>
              <a:gd name="connsiteY1184" fmla="*/ 1979523 h 10808782"/>
              <a:gd name="connsiteX1185" fmla="*/ 14667638 w 25004707"/>
              <a:gd name="connsiteY1185" fmla="*/ 1895339 h 10808782"/>
              <a:gd name="connsiteX1186" fmla="*/ 14635795 w 25004707"/>
              <a:gd name="connsiteY1186" fmla="*/ 2380244 h 10808782"/>
              <a:gd name="connsiteX1187" fmla="*/ 14635795 w 25004707"/>
              <a:gd name="connsiteY1187" fmla="*/ 2380244 h 10808782"/>
              <a:gd name="connsiteX1188" fmla="*/ 13351089 w 25004707"/>
              <a:gd name="connsiteY1188" fmla="*/ 2296029 h 10808782"/>
              <a:gd name="connsiteX1189" fmla="*/ 14030052 w 25004707"/>
              <a:gd name="connsiteY1189" fmla="*/ 8388596 h 10808782"/>
              <a:gd name="connsiteX1190" fmla="*/ 14214425 w 25004707"/>
              <a:gd name="connsiteY1190" fmla="*/ 8689101 h 10808782"/>
              <a:gd name="connsiteX1191" fmla="*/ 12937176 w 25004707"/>
              <a:gd name="connsiteY1191" fmla="*/ 8596886 h 10808782"/>
              <a:gd name="connsiteX1192" fmla="*/ 14572109 w 25004707"/>
              <a:gd name="connsiteY1192" fmla="*/ 3349551 h 10808782"/>
              <a:gd name="connsiteX1193" fmla="*/ 14556188 w 25004707"/>
              <a:gd name="connsiteY1193" fmla="*/ 3591776 h 10808782"/>
              <a:gd name="connsiteX1194" fmla="*/ 14533957 w 25004707"/>
              <a:gd name="connsiteY1194" fmla="*/ 3825104 h 10808782"/>
              <a:gd name="connsiteX1195" fmla="*/ 15812999 w 25004707"/>
              <a:gd name="connsiteY1195" fmla="*/ 3865656 h 10808782"/>
              <a:gd name="connsiteX1196" fmla="*/ 15695947 w 25004707"/>
              <a:gd name="connsiteY1196" fmla="*/ 4065002 h 10808782"/>
              <a:gd name="connsiteX1197" fmla="*/ 14311842 w 25004707"/>
              <a:gd name="connsiteY1197" fmla="*/ 4099440 h 10808782"/>
              <a:gd name="connsiteX1198" fmla="*/ 11994799 w 25004707"/>
              <a:gd name="connsiteY1198" fmla="*/ 6101616 h 10808782"/>
              <a:gd name="connsiteX1199" fmla="*/ 12359705 w 25004707"/>
              <a:gd name="connsiteY1199" fmla="*/ 7093871 h 10808782"/>
              <a:gd name="connsiteX1200" fmla="*/ 13070307 w 25004707"/>
              <a:gd name="connsiteY1200" fmla="*/ 7739882 h 10808782"/>
              <a:gd name="connsiteX1201" fmla="*/ 12486354 w 25004707"/>
              <a:gd name="connsiteY1201" fmla="*/ 5165033 h 10808782"/>
              <a:gd name="connsiteX1202" fmla="*/ 13275368 w 25004707"/>
              <a:gd name="connsiteY1202" fmla="*/ 4617305 h 10808782"/>
              <a:gd name="connsiteX1203" fmla="*/ 12486354 w 25004707"/>
              <a:gd name="connsiteY1203" fmla="*/ 5165033 h 10808782"/>
              <a:gd name="connsiteX1204" fmla="*/ 11752027 w 25004707"/>
              <a:gd name="connsiteY1204" fmla="*/ 5391210 h 10808782"/>
              <a:gd name="connsiteX1205" fmla="*/ 13275368 w 25004707"/>
              <a:gd name="connsiteY1205" fmla="*/ 4617305 h 10808782"/>
              <a:gd name="connsiteX1206" fmla="*/ 13897330 w 25004707"/>
              <a:gd name="connsiteY1206" fmla="*/ 4316485 h 10808782"/>
              <a:gd name="connsiteX1207" fmla="*/ 13275368 w 25004707"/>
              <a:gd name="connsiteY1207" fmla="*/ 4617305 h 10808782"/>
              <a:gd name="connsiteX1208" fmla="*/ 15121623 w 25004707"/>
              <a:gd name="connsiteY1208" fmla="*/ 4395796 h 10808782"/>
              <a:gd name="connsiteX1209" fmla="*/ 11995302 w 25004707"/>
              <a:gd name="connsiteY1209" fmla="*/ 6101176 h 10808782"/>
              <a:gd name="connsiteX1210" fmla="*/ 12486872 w 25004707"/>
              <a:gd name="connsiteY1210" fmla="*/ 5165065 h 10808782"/>
              <a:gd name="connsiteX1211" fmla="*/ 11995302 w 25004707"/>
              <a:gd name="connsiteY1211" fmla="*/ 6101176 h 10808782"/>
              <a:gd name="connsiteX1212" fmla="*/ 13443441 w 25004707"/>
              <a:gd name="connsiteY1212" fmla="*/ 6196111 h 10808782"/>
              <a:gd name="connsiteX1213" fmla="*/ 14385691 w 25004707"/>
              <a:gd name="connsiteY1213" fmla="*/ 4808195 h 10808782"/>
              <a:gd name="connsiteX1214" fmla="*/ 15121623 w 25004707"/>
              <a:gd name="connsiteY1214" fmla="*/ 4395796 h 10808782"/>
              <a:gd name="connsiteX1215" fmla="*/ 13897330 w 25004707"/>
              <a:gd name="connsiteY1215" fmla="*/ 4316485 h 10808782"/>
              <a:gd name="connsiteX1216" fmla="*/ 14311857 w 25004707"/>
              <a:gd name="connsiteY1216" fmla="*/ 4098984 h 10808782"/>
              <a:gd name="connsiteX1217" fmla="*/ 13897330 w 25004707"/>
              <a:gd name="connsiteY1217" fmla="*/ 4316485 h 10808782"/>
              <a:gd name="connsiteX1218" fmla="*/ 12762306 w 25004707"/>
              <a:gd name="connsiteY1218" fmla="*/ 4492884 h 10808782"/>
              <a:gd name="connsiteX1219" fmla="*/ 11840209 w 25004707"/>
              <a:gd name="connsiteY1219" fmla="*/ 4608409 h 10808782"/>
              <a:gd name="connsiteX1220" fmla="*/ 13647557 w 25004707"/>
              <a:gd name="connsiteY1220" fmla="*/ 8119305 h 10808782"/>
              <a:gd name="connsiteX1221" fmla="*/ 13070260 w 25004707"/>
              <a:gd name="connsiteY1221" fmla="*/ 7739866 h 10808782"/>
              <a:gd name="connsiteX1222" fmla="*/ 15121623 w 25004707"/>
              <a:gd name="connsiteY1222" fmla="*/ 4395796 h 10808782"/>
              <a:gd name="connsiteX1223" fmla="*/ 15490320 w 25004707"/>
              <a:gd name="connsiteY1223" fmla="*/ 4210579 h 10808782"/>
              <a:gd name="connsiteX1224" fmla="*/ 15121623 w 25004707"/>
              <a:gd name="connsiteY1224" fmla="*/ 4395796 h 10808782"/>
              <a:gd name="connsiteX1225" fmla="*/ 17654676 w 25004707"/>
              <a:gd name="connsiteY1225" fmla="*/ 4542536 h 10808782"/>
              <a:gd name="connsiteX1226" fmla="*/ 15489786 w 25004707"/>
              <a:gd name="connsiteY1226" fmla="*/ 4210564 h 10808782"/>
              <a:gd name="connsiteX1227" fmla="*/ 15695475 w 25004707"/>
              <a:gd name="connsiteY1227" fmla="*/ 4065002 h 10808782"/>
              <a:gd name="connsiteX1228" fmla="*/ 14871157 w 25004707"/>
              <a:gd name="connsiteY1228" fmla="*/ 8200471 h 10808782"/>
              <a:gd name="connsiteX1229" fmla="*/ 15212479 w 25004707"/>
              <a:gd name="connsiteY1229" fmla="*/ 8432228 h 10808782"/>
              <a:gd name="connsiteX1230" fmla="*/ 17080274 w 25004707"/>
              <a:gd name="connsiteY1230" fmla="*/ 8565010 h 10808782"/>
              <a:gd name="connsiteX1231" fmla="*/ 14196065 w 25004707"/>
              <a:gd name="connsiteY1231" fmla="*/ 7695574 h 10808782"/>
              <a:gd name="connsiteX1232" fmla="*/ 13443425 w 25004707"/>
              <a:gd name="connsiteY1232" fmla="*/ 6196566 h 10808782"/>
              <a:gd name="connsiteX1233" fmla="*/ 14196065 w 25004707"/>
              <a:gd name="connsiteY1233" fmla="*/ 7695574 h 10808782"/>
              <a:gd name="connsiteX1234" fmla="*/ 12359657 w 25004707"/>
              <a:gd name="connsiteY1234" fmla="*/ 7093855 h 10808782"/>
              <a:gd name="connsiteX1235" fmla="*/ 14196065 w 25004707"/>
              <a:gd name="connsiteY1235" fmla="*/ 7695574 h 10808782"/>
              <a:gd name="connsiteX1236" fmla="*/ 18066716 w 25004707"/>
              <a:gd name="connsiteY1236" fmla="*/ 7989289 h 10808782"/>
              <a:gd name="connsiteX1237" fmla="*/ 14196048 w 25004707"/>
              <a:gd name="connsiteY1237" fmla="*/ 7695558 h 10808782"/>
              <a:gd name="connsiteX1238" fmla="*/ 14871692 w 25004707"/>
              <a:gd name="connsiteY1238" fmla="*/ 8200488 h 10808782"/>
              <a:gd name="connsiteX1239" fmla="*/ 13070244 w 25004707"/>
              <a:gd name="connsiteY1239" fmla="*/ 7739850 h 10808782"/>
              <a:gd name="connsiteX1240" fmla="*/ 15397921 w 25004707"/>
              <a:gd name="connsiteY1240" fmla="*/ 8603409 h 10808782"/>
              <a:gd name="connsiteX1241" fmla="*/ 15213046 w 25004707"/>
              <a:gd name="connsiteY1241" fmla="*/ 8432244 h 10808782"/>
              <a:gd name="connsiteX1242" fmla="*/ 15397921 w 25004707"/>
              <a:gd name="connsiteY1242" fmla="*/ 8603409 h 10808782"/>
              <a:gd name="connsiteX1243" fmla="*/ 15487834 w 25004707"/>
              <a:gd name="connsiteY1243" fmla="*/ 8816336 h 10808782"/>
              <a:gd name="connsiteX1244" fmla="*/ 14214487 w 25004707"/>
              <a:gd name="connsiteY1244" fmla="*/ 8689086 h 10808782"/>
              <a:gd name="connsiteX1245" fmla="*/ 15397921 w 25004707"/>
              <a:gd name="connsiteY1245" fmla="*/ 8603409 h 10808782"/>
              <a:gd name="connsiteX1246" fmla="*/ 16902492 w 25004707"/>
              <a:gd name="connsiteY1246" fmla="*/ 8707695 h 10808782"/>
              <a:gd name="connsiteX1247" fmla="*/ 15410602 w 25004707"/>
              <a:gd name="connsiteY1247" fmla="*/ 10219528 h 10808782"/>
              <a:gd name="connsiteX1248" fmla="*/ 15442445 w 25004707"/>
              <a:gd name="connsiteY1248" fmla="*/ 9734623 h 10808782"/>
              <a:gd name="connsiteX1249" fmla="*/ 15442445 w 25004707"/>
              <a:gd name="connsiteY1249" fmla="*/ 9734623 h 10808782"/>
              <a:gd name="connsiteX1250" fmla="*/ 15474273 w 25004707"/>
              <a:gd name="connsiteY1250" fmla="*/ 9250206 h 10808782"/>
              <a:gd name="connsiteX1251" fmla="*/ 15474273 w 25004707"/>
              <a:gd name="connsiteY1251" fmla="*/ 9250206 h 10808782"/>
              <a:gd name="connsiteX1252" fmla="*/ 15487866 w 25004707"/>
              <a:gd name="connsiteY1252" fmla="*/ 8816336 h 10808782"/>
              <a:gd name="connsiteX1253" fmla="*/ 15888044 w 25004707"/>
              <a:gd name="connsiteY1253" fmla="*/ 2949333 h 10808782"/>
              <a:gd name="connsiteX1254" fmla="*/ 15856264 w 25004707"/>
              <a:gd name="connsiteY1254" fmla="*/ 3433766 h 10808782"/>
              <a:gd name="connsiteX1255" fmla="*/ 15856264 w 25004707"/>
              <a:gd name="connsiteY1255" fmla="*/ 3433766 h 10808782"/>
              <a:gd name="connsiteX1256" fmla="*/ 15812999 w 25004707"/>
              <a:gd name="connsiteY1256" fmla="*/ 3865671 h 10808782"/>
              <a:gd name="connsiteX1257" fmla="*/ 17124954 w 25004707"/>
              <a:gd name="connsiteY1257" fmla="*/ 3949352 h 10808782"/>
              <a:gd name="connsiteX1258" fmla="*/ 15919982 w 25004707"/>
              <a:gd name="connsiteY1258" fmla="*/ 2464396 h 10808782"/>
              <a:gd name="connsiteX1259" fmla="*/ 15888044 w 25004707"/>
              <a:gd name="connsiteY1259" fmla="*/ 2949301 h 10808782"/>
              <a:gd name="connsiteX1260" fmla="*/ 14603921 w 25004707"/>
              <a:gd name="connsiteY1260" fmla="*/ 2865118 h 10808782"/>
              <a:gd name="connsiteX1261" fmla="*/ 15919982 w 25004707"/>
              <a:gd name="connsiteY1261" fmla="*/ 2464396 h 10808782"/>
              <a:gd name="connsiteX1262" fmla="*/ 15951762 w 25004707"/>
              <a:gd name="connsiteY1262" fmla="*/ 1979523 h 10808782"/>
              <a:gd name="connsiteX1263" fmla="*/ 15919982 w 25004707"/>
              <a:gd name="connsiteY1263" fmla="*/ 2464396 h 10808782"/>
              <a:gd name="connsiteX1264" fmla="*/ 14635747 w 25004707"/>
              <a:gd name="connsiteY1264" fmla="*/ 2380244 h 10808782"/>
              <a:gd name="connsiteX1265" fmla="*/ 16015479 w 25004707"/>
              <a:gd name="connsiteY1265" fmla="*/ 1010175 h 10808782"/>
              <a:gd name="connsiteX1266" fmla="*/ 15983542 w 25004707"/>
              <a:gd name="connsiteY1266" fmla="*/ 1495075 h 10808782"/>
              <a:gd name="connsiteX1267" fmla="*/ 15951762 w 25004707"/>
              <a:gd name="connsiteY1267" fmla="*/ 1979523 h 10808782"/>
              <a:gd name="connsiteX1268" fmla="*/ 15983542 w 25004707"/>
              <a:gd name="connsiteY1268" fmla="*/ 1495086 h 10808782"/>
              <a:gd name="connsiteX1269" fmla="*/ 24431722 w 25004707"/>
              <a:gd name="connsiteY1269" fmla="*/ 10323878 h 10808782"/>
              <a:gd name="connsiteX1270" fmla="*/ 24442890 w 25004707"/>
              <a:gd name="connsiteY1270" fmla="*/ 10324617 h 10808782"/>
              <a:gd name="connsiteX1271" fmla="*/ 24474672 w 25004707"/>
              <a:gd name="connsiteY1271" fmla="*/ 9840199 h 10808782"/>
              <a:gd name="connsiteX1272" fmla="*/ 24463658 w 25004707"/>
              <a:gd name="connsiteY1272" fmla="*/ 9839460 h 10808782"/>
              <a:gd name="connsiteX1273" fmla="*/ 11684880 w 25004707"/>
              <a:gd name="connsiteY1273" fmla="*/ 8028300 h 10808782"/>
              <a:gd name="connsiteX1274" fmla="*/ 12879185 w 25004707"/>
              <a:gd name="connsiteY1274" fmla="*/ 8158364 h 10808782"/>
              <a:gd name="connsiteX1275" fmla="*/ 20674580 w 25004707"/>
              <a:gd name="connsiteY1275" fmla="*/ 8617586 h 10808782"/>
              <a:gd name="connsiteX1276" fmla="*/ 20341988 w 25004707"/>
              <a:gd name="connsiteY1276" fmla="*/ 8595770 h 10808782"/>
              <a:gd name="connsiteX1277" fmla="*/ 19488328 w 25004707"/>
              <a:gd name="connsiteY1277" fmla="*/ 8602418 h 10808782"/>
              <a:gd name="connsiteX1278" fmla="*/ 11646271 w 25004707"/>
              <a:gd name="connsiteY1278" fmla="*/ 7561376 h 10808782"/>
              <a:gd name="connsiteX1279" fmla="*/ 12545352 w 25004707"/>
              <a:gd name="connsiteY1279" fmla="*/ 7796293 h 10808782"/>
              <a:gd name="connsiteX1280" fmla="*/ 10432568 w 25004707"/>
              <a:gd name="connsiteY1280" fmla="*/ 7459228 h 10808782"/>
              <a:gd name="connsiteX1281" fmla="*/ 11645783 w 25004707"/>
              <a:gd name="connsiteY1281" fmla="*/ 7560874 h 10808782"/>
              <a:gd name="connsiteX1282" fmla="*/ 19877714 w 25004707"/>
              <a:gd name="connsiteY1282" fmla="*/ 8295736 h 10808782"/>
              <a:gd name="connsiteX1283" fmla="*/ 18710818 w 25004707"/>
              <a:gd name="connsiteY1283" fmla="*/ 8471900 h 10808782"/>
              <a:gd name="connsiteX1284" fmla="*/ 12545414 w 25004707"/>
              <a:gd name="connsiteY1284" fmla="*/ 7795821 h 10808782"/>
              <a:gd name="connsiteX1285" fmla="*/ 13647621 w 25004707"/>
              <a:gd name="connsiteY1285" fmla="*/ 8118850 h 10808782"/>
              <a:gd name="connsiteX1286" fmla="*/ 18710188 w 25004707"/>
              <a:gd name="connsiteY1286" fmla="*/ 8471883 h 10808782"/>
              <a:gd name="connsiteX1287" fmla="*/ 17080274 w 25004707"/>
              <a:gd name="connsiteY1287" fmla="*/ 8564539 h 10808782"/>
              <a:gd name="connsiteX1288" fmla="*/ 20800442 w 25004707"/>
              <a:gd name="connsiteY1288" fmla="*/ 8170357 h 10808782"/>
              <a:gd name="connsiteX1289" fmla="*/ 19877714 w 25004707"/>
              <a:gd name="connsiteY1289" fmla="*/ 8295264 h 10808782"/>
              <a:gd name="connsiteX1290" fmla="*/ 13647557 w 25004707"/>
              <a:gd name="connsiteY1290" fmla="*/ 8119337 h 10808782"/>
              <a:gd name="connsiteX1291" fmla="*/ 15213031 w 25004707"/>
              <a:gd name="connsiteY1291" fmla="*/ 8432275 h 10808782"/>
              <a:gd name="connsiteX1292" fmla="*/ 24570168 w 25004707"/>
              <a:gd name="connsiteY1292" fmla="*/ 8385956 h 10808782"/>
              <a:gd name="connsiteX1293" fmla="*/ 24558998 w 25004707"/>
              <a:gd name="connsiteY1293" fmla="*/ 8385217 h 10808782"/>
              <a:gd name="connsiteX1294" fmla="*/ 11191453 w 25004707"/>
              <a:gd name="connsiteY1294" fmla="*/ 6598058 h 10808782"/>
              <a:gd name="connsiteX1295" fmla="*/ 11661705 w 25004707"/>
              <a:gd name="connsiteY1295" fmla="*/ 6773325 h 10808782"/>
              <a:gd name="connsiteX1296" fmla="*/ 11661752 w 25004707"/>
              <a:gd name="connsiteY1296" fmla="*/ 6773797 h 10808782"/>
              <a:gd name="connsiteX1297" fmla="*/ 12360192 w 25004707"/>
              <a:gd name="connsiteY1297" fmla="*/ 7093886 h 10808782"/>
              <a:gd name="connsiteX1298" fmla="*/ 21415434 w 25004707"/>
              <a:gd name="connsiteY1298" fmla="*/ 7277170 h 10808782"/>
              <a:gd name="connsiteX1299" fmla="*/ 20922056 w 25004707"/>
              <a:gd name="connsiteY1299" fmla="*/ 7397268 h 10808782"/>
              <a:gd name="connsiteX1300" fmla="*/ 20922686 w 25004707"/>
              <a:gd name="connsiteY1300" fmla="*/ 7397316 h 10808782"/>
              <a:gd name="connsiteX1301" fmla="*/ 20142814 w 25004707"/>
              <a:gd name="connsiteY1301" fmla="*/ 7635564 h 10808782"/>
              <a:gd name="connsiteX1302" fmla="*/ 24622718 w 25004707"/>
              <a:gd name="connsiteY1302" fmla="*/ 7415894 h 10808782"/>
              <a:gd name="connsiteX1303" fmla="*/ 24633886 w 25004707"/>
              <a:gd name="connsiteY1303" fmla="*/ 7416633 h 10808782"/>
              <a:gd name="connsiteX1304" fmla="*/ 20142814 w 25004707"/>
              <a:gd name="connsiteY1304" fmla="*/ 7635108 h 10808782"/>
              <a:gd name="connsiteX1305" fmla="*/ 18066244 w 25004707"/>
              <a:gd name="connsiteY1305" fmla="*/ 7988802 h 10808782"/>
              <a:gd name="connsiteX1306" fmla="*/ 24665668 w 25004707"/>
              <a:gd name="connsiteY1306" fmla="*/ 6931728 h 10808782"/>
              <a:gd name="connsiteX1307" fmla="*/ 24654654 w 25004707"/>
              <a:gd name="connsiteY1307" fmla="*/ 6931005 h 10808782"/>
              <a:gd name="connsiteX1308" fmla="*/ 18998254 w 25004707"/>
              <a:gd name="connsiteY1308" fmla="*/ 6560194 h 10808782"/>
              <a:gd name="connsiteX1309" fmla="*/ 13443409 w 25004707"/>
              <a:gd name="connsiteY1309" fmla="*/ 6196079 h 10808782"/>
              <a:gd name="connsiteX1310" fmla="*/ 9275737 w 25004707"/>
              <a:gd name="connsiteY1310" fmla="*/ 5436398 h 10808782"/>
              <a:gd name="connsiteX1311" fmla="*/ 10227192 w 25004707"/>
              <a:gd name="connsiteY1311" fmla="*/ 5498766 h 10808782"/>
              <a:gd name="connsiteX1312" fmla="*/ 10555661 w 25004707"/>
              <a:gd name="connsiteY1312" fmla="*/ 5520299 h 10808782"/>
              <a:gd name="connsiteX1313" fmla="*/ 10555676 w 25004707"/>
              <a:gd name="connsiteY1313" fmla="*/ 5519796 h 10808782"/>
              <a:gd name="connsiteX1314" fmla="*/ 11263383 w 25004707"/>
              <a:gd name="connsiteY1314" fmla="*/ 5504063 h 10808782"/>
              <a:gd name="connsiteX1315" fmla="*/ 24761164 w 25004707"/>
              <a:gd name="connsiteY1315" fmla="*/ 5477971 h 10808782"/>
              <a:gd name="connsiteX1316" fmla="*/ 24749994 w 25004707"/>
              <a:gd name="connsiteY1316" fmla="*/ 5477249 h 10808782"/>
              <a:gd name="connsiteX1317" fmla="*/ 15489769 w 25004707"/>
              <a:gd name="connsiteY1317" fmla="*/ 4210548 h 10808782"/>
              <a:gd name="connsiteX1318" fmla="*/ 13896795 w 25004707"/>
              <a:gd name="connsiteY1318" fmla="*/ 4316454 h 10808782"/>
              <a:gd name="connsiteX1319" fmla="*/ 11840225 w 25004707"/>
              <a:gd name="connsiteY1319" fmla="*/ 4608393 h 10808782"/>
              <a:gd name="connsiteX1320" fmla="*/ 11564650 w 25004707"/>
              <a:gd name="connsiteY1320" fmla="*/ 4609163 h 10808782"/>
              <a:gd name="connsiteX1321" fmla="*/ 10623579 w 25004707"/>
              <a:gd name="connsiteY1321" fmla="*/ 4550772 h 10808782"/>
              <a:gd name="connsiteX1322" fmla="*/ 17200786 w 25004707"/>
              <a:gd name="connsiteY1322" fmla="*/ 4157957 h 10808782"/>
              <a:gd name="connsiteX1323" fmla="*/ 15695475 w 25004707"/>
              <a:gd name="connsiteY1323" fmla="*/ 4064971 h 10808782"/>
              <a:gd name="connsiteX1324" fmla="*/ 24792944 w 25004707"/>
              <a:gd name="connsiteY1324" fmla="*/ 4993051 h 10808782"/>
              <a:gd name="connsiteX1325" fmla="*/ 24781932 w 25004707"/>
              <a:gd name="connsiteY1325" fmla="*/ 4992328 h 10808782"/>
              <a:gd name="connsiteX1326" fmla="*/ 14311291 w 25004707"/>
              <a:gd name="connsiteY1326" fmla="*/ 4099408 h 10808782"/>
              <a:gd name="connsiteX1327" fmla="*/ 13140600 w 25004707"/>
              <a:gd name="connsiteY1327" fmla="*/ 4177934 h 10808782"/>
              <a:gd name="connsiteX1328" fmla="*/ 5533323 w 25004707"/>
              <a:gd name="connsiteY1328" fmla="*/ 3742335 h 10808782"/>
              <a:gd name="connsiteX1329" fmla="*/ 5816937 w 25004707"/>
              <a:gd name="connsiteY1329" fmla="*/ 3749157 h 10808782"/>
              <a:gd name="connsiteX1330" fmla="*/ 6803413 w 25004707"/>
              <a:gd name="connsiteY1330" fmla="*/ 3813819 h 10808782"/>
              <a:gd name="connsiteX1331" fmla="*/ 17402166 w 25004707"/>
              <a:gd name="connsiteY1331" fmla="*/ 8385657 h 10808782"/>
              <a:gd name="connsiteX1332" fmla="*/ 14871708 w 25004707"/>
              <a:gd name="connsiteY1332" fmla="*/ 8200471 h 10808782"/>
              <a:gd name="connsiteX1333" fmla="*/ 21113996 w 25004707"/>
              <a:gd name="connsiteY1333" fmla="*/ 7756165 h 10808782"/>
              <a:gd name="connsiteX1334" fmla="*/ 20402560 w 25004707"/>
              <a:gd name="connsiteY1334" fmla="*/ 7924564 h 10808782"/>
              <a:gd name="connsiteX1335" fmla="*/ 24729384 w 25004707"/>
              <a:gd name="connsiteY1335" fmla="*/ 5962405 h 10808782"/>
              <a:gd name="connsiteX1336" fmla="*/ 24718214 w 25004707"/>
              <a:gd name="connsiteY1336" fmla="*/ 5961666 h 10808782"/>
              <a:gd name="connsiteX1337" fmla="*/ 12251605 w 25004707"/>
              <a:gd name="connsiteY1337" fmla="*/ 4868284 h 10808782"/>
              <a:gd name="connsiteX1338" fmla="*/ 11549373 w 25004707"/>
              <a:gd name="connsiteY1338" fmla="*/ 5027865 h 10808782"/>
              <a:gd name="connsiteX1339" fmla="*/ 4229596 w 25004707"/>
              <a:gd name="connsiteY1339" fmla="*/ 3720409 h 10808782"/>
              <a:gd name="connsiteX1340" fmla="*/ 5592446 w 25004707"/>
              <a:gd name="connsiteY1340" fmla="*/ 3263937 h 10808782"/>
              <a:gd name="connsiteX1341" fmla="*/ 1697927 w 25004707"/>
              <a:gd name="connsiteY1341" fmla="*/ 2992635 h 10808782"/>
              <a:gd name="connsiteX1342" fmla="*/ 2684403 w 25004707"/>
              <a:gd name="connsiteY1342" fmla="*/ 3057297 h 10808782"/>
              <a:gd name="connsiteX1343" fmla="*/ 2938046 w 25004707"/>
              <a:gd name="connsiteY1343" fmla="*/ 3090399 h 10808782"/>
              <a:gd name="connsiteX1344" fmla="*/ 24824882 w 25004707"/>
              <a:gd name="connsiteY1344" fmla="*/ 4508602 h 10808782"/>
              <a:gd name="connsiteX1345" fmla="*/ 24813712 w 25004707"/>
              <a:gd name="connsiteY1345" fmla="*/ 4507879 h 10808782"/>
              <a:gd name="connsiteX1346" fmla="*/ 24888442 w 25004707"/>
              <a:gd name="connsiteY1346" fmla="*/ 3539279 h 10808782"/>
              <a:gd name="connsiteX1347" fmla="*/ 24877430 w 25004707"/>
              <a:gd name="connsiteY1347" fmla="*/ 3538556 h 10808782"/>
              <a:gd name="connsiteX1348" fmla="*/ 24920380 w 25004707"/>
              <a:gd name="connsiteY1348" fmla="*/ 3054405 h 10808782"/>
              <a:gd name="connsiteX1349" fmla="*/ 24909210 w 25004707"/>
              <a:gd name="connsiteY1349" fmla="*/ 3053682 h 10808782"/>
              <a:gd name="connsiteX1350" fmla="*/ 24984098 w 25004707"/>
              <a:gd name="connsiteY1350" fmla="*/ 2085067 h 10808782"/>
              <a:gd name="connsiteX1351" fmla="*/ 24972926 w 25004707"/>
              <a:gd name="connsiteY1351" fmla="*/ 2084328 h 10808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</a:cxnLst>
            <a:rect l="l" t="t" r="r" b="b"/>
            <a:pathLst>
              <a:path w="25004707" h="10808782">
                <a:moveTo>
                  <a:pt x="24781932" y="4992328"/>
                </a:moveTo>
                <a:lnTo>
                  <a:pt x="24813712" y="4507894"/>
                </a:lnTo>
                <a:moveTo>
                  <a:pt x="24781932" y="4992328"/>
                </a:moveTo>
                <a:lnTo>
                  <a:pt x="24749994" y="5477249"/>
                </a:lnTo>
                <a:moveTo>
                  <a:pt x="24781932" y="4992328"/>
                </a:moveTo>
                <a:lnTo>
                  <a:pt x="23497668" y="4908160"/>
                </a:lnTo>
                <a:lnTo>
                  <a:pt x="23465886" y="5393065"/>
                </a:lnTo>
                <a:moveTo>
                  <a:pt x="24813712" y="4507894"/>
                </a:moveTo>
                <a:lnTo>
                  <a:pt x="24845492" y="4022989"/>
                </a:lnTo>
                <a:moveTo>
                  <a:pt x="24813712" y="4507894"/>
                </a:moveTo>
                <a:lnTo>
                  <a:pt x="23529446" y="4423711"/>
                </a:lnTo>
                <a:moveTo>
                  <a:pt x="24718214" y="5961666"/>
                </a:moveTo>
                <a:lnTo>
                  <a:pt x="24686276" y="6446571"/>
                </a:lnTo>
                <a:lnTo>
                  <a:pt x="23402168" y="6362388"/>
                </a:lnTo>
                <a:moveTo>
                  <a:pt x="24718214" y="5961666"/>
                </a:moveTo>
                <a:lnTo>
                  <a:pt x="24749994" y="5477249"/>
                </a:lnTo>
                <a:moveTo>
                  <a:pt x="24718214" y="5961666"/>
                </a:moveTo>
                <a:lnTo>
                  <a:pt x="23433948" y="5877498"/>
                </a:lnTo>
                <a:moveTo>
                  <a:pt x="24749994" y="5477249"/>
                </a:moveTo>
                <a:lnTo>
                  <a:pt x="23465886" y="5393065"/>
                </a:lnTo>
                <a:moveTo>
                  <a:pt x="24940990" y="2568777"/>
                </a:moveTo>
                <a:lnTo>
                  <a:pt x="24909210" y="3053682"/>
                </a:lnTo>
                <a:lnTo>
                  <a:pt x="23624944" y="2969499"/>
                </a:lnTo>
                <a:moveTo>
                  <a:pt x="24877430" y="3538571"/>
                </a:moveTo>
                <a:lnTo>
                  <a:pt x="24845492" y="4023005"/>
                </a:lnTo>
                <a:moveTo>
                  <a:pt x="24845492" y="4023005"/>
                </a:moveTo>
                <a:lnTo>
                  <a:pt x="24856664" y="4023744"/>
                </a:lnTo>
                <a:moveTo>
                  <a:pt x="24845492" y="4023005"/>
                </a:moveTo>
                <a:lnTo>
                  <a:pt x="23561384" y="3938837"/>
                </a:lnTo>
                <a:moveTo>
                  <a:pt x="24940990" y="2568777"/>
                </a:moveTo>
                <a:lnTo>
                  <a:pt x="23656882" y="2484594"/>
                </a:lnTo>
                <a:lnTo>
                  <a:pt x="23624944" y="2969499"/>
                </a:lnTo>
                <a:moveTo>
                  <a:pt x="24940990" y="2568777"/>
                </a:moveTo>
                <a:lnTo>
                  <a:pt x="24952160" y="2569500"/>
                </a:lnTo>
                <a:moveTo>
                  <a:pt x="24940990" y="2568777"/>
                </a:moveTo>
                <a:lnTo>
                  <a:pt x="25004708" y="1599423"/>
                </a:lnTo>
                <a:lnTo>
                  <a:pt x="5763304" y="338142"/>
                </a:lnTo>
                <a:cubicBezTo>
                  <a:pt x="5433766" y="316539"/>
                  <a:pt x="631905" y="1774"/>
                  <a:pt x="631905" y="1774"/>
                </a:cubicBezTo>
                <a:lnTo>
                  <a:pt x="604841" y="0"/>
                </a:lnTo>
                <a:lnTo>
                  <a:pt x="0" y="9209356"/>
                </a:lnTo>
                <a:lnTo>
                  <a:pt x="1284177" y="9293539"/>
                </a:lnTo>
                <a:moveTo>
                  <a:pt x="24909210" y="3053651"/>
                </a:moveTo>
                <a:lnTo>
                  <a:pt x="24877430" y="3538556"/>
                </a:lnTo>
                <a:lnTo>
                  <a:pt x="23593164" y="3454388"/>
                </a:lnTo>
                <a:moveTo>
                  <a:pt x="24590780" y="7900799"/>
                </a:moveTo>
                <a:lnTo>
                  <a:pt x="24622718" y="7415910"/>
                </a:lnTo>
                <a:moveTo>
                  <a:pt x="24590780" y="7900799"/>
                </a:moveTo>
                <a:lnTo>
                  <a:pt x="23306672" y="7816615"/>
                </a:lnTo>
                <a:lnTo>
                  <a:pt x="23274890" y="8301049"/>
                </a:lnTo>
                <a:lnTo>
                  <a:pt x="21990782" y="8216849"/>
                </a:lnTo>
                <a:cubicBezTo>
                  <a:pt x="21990782" y="8216849"/>
                  <a:pt x="21573078" y="8189485"/>
                  <a:pt x="21466882" y="8182522"/>
                </a:cubicBezTo>
                <a:cubicBezTo>
                  <a:pt x="21222396" y="8166490"/>
                  <a:pt x="20955724" y="8169257"/>
                  <a:pt x="20799970" y="8169870"/>
                </a:cubicBezTo>
                <a:moveTo>
                  <a:pt x="24590780" y="7900799"/>
                </a:moveTo>
                <a:lnTo>
                  <a:pt x="24601948" y="7901538"/>
                </a:lnTo>
                <a:moveTo>
                  <a:pt x="24622718" y="7415910"/>
                </a:moveTo>
                <a:lnTo>
                  <a:pt x="24654496" y="6931005"/>
                </a:lnTo>
                <a:moveTo>
                  <a:pt x="24622718" y="7415910"/>
                </a:moveTo>
                <a:lnTo>
                  <a:pt x="23338452" y="7331710"/>
                </a:lnTo>
                <a:moveTo>
                  <a:pt x="24558998" y="8385232"/>
                </a:moveTo>
                <a:lnTo>
                  <a:pt x="24527218" y="8870137"/>
                </a:lnTo>
                <a:lnTo>
                  <a:pt x="23242952" y="8785953"/>
                </a:lnTo>
                <a:moveTo>
                  <a:pt x="24558998" y="8385232"/>
                </a:moveTo>
                <a:lnTo>
                  <a:pt x="24590780" y="7900799"/>
                </a:lnTo>
                <a:moveTo>
                  <a:pt x="24558998" y="8385232"/>
                </a:moveTo>
                <a:lnTo>
                  <a:pt x="23274890" y="8301049"/>
                </a:lnTo>
                <a:lnTo>
                  <a:pt x="23242952" y="8785953"/>
                </a:lnTo>
                <a:moveTo>
                  <a:pt x="24654496" y="6931005"/>
                </a:moveTo>
                <a:lnTo>
                  <a:pt x="24686434" y="6446571"/>
                </a:lnTo>
                <a:lnTo>
                  <a:pt x="24697448" y="6447294"/>
                </a:lnTo>
                <a:moveTo>
                  <a:pt x="24654496" y="6931005"/>
                </a:moveTo>
                <a:lnTo>
                  <a:pt x="23370388" y="6846837"/>
                </a:lnTo>
                <a:moveTo>
                  <a:pt x="24463500" y="9839444"/>
                </a:moveTo>
                <a:lnTo>
                  <a:pt x="24431722" y="10323878"/>
                </a:lnTo>
                <a:lnTo>
                  <a:pt x="23147614" y="10239694"/>
                </a:lnTo>
                <a:moveTo>
                  <a:pt x="23338608" y="7331726"/>
                </a:moveTo>
                <a:lnTo>
                  <a:pt x="23306672" y="7816631"/>
                </a:lnTo>
                <a:lnTo>
                  <a:pt x="22022564" y="7732447"/>
                </a:lnTo>
                <a:moveTo>
                  <a:pt x="23242952" y="8785953"/>
                </a:moveTo>
                <a:lnTo>
                  <a:pt x="23211172" y="9270371"/>
                </a:lnTo>
                <a:moveTo>
                  <a:pt x="23242952" y="8785953"/>
                </a:moveTo>
                <a:lnTo>
                  <a:pt x="21958844" y="8701770"/>
                </a:lnTo>
                <a:moveTo>
                  <a:pt x="23433948" y="5877498"/>
                </a:moveTo>
                <a:lnTo>
                  <a:pt x="23465886" y="5393065"/>
                </a:lnTo>
                <a:moveTo>
                  <a:pt x="23433948" y="5877498"/>
                </a:moveTo>
                <a:lnTo>
                  <a:pt x="22149840" y="5793299"/>
                </a:lnTo>
                <a:cubicBezTo>
                  <a:pt x="22139300" y="5953996"/>
                  <a:pt x="22133164" y="6038761"/>
                  <a:pt x="22138828" y="6277685"/>
                </a:cubicBezTo>
                <a:moveTo>
                  <a:pt x="23465886" y="5393065"/>
                </a:moveTo>
                <a:lnTo>
                  <a:pt x="22181622" y="5308881"/>
                </a:lnTo>
                <a:moveTo>
                  <a:pt x="23115676" y="10724599"/>
                </a:moveTo>
                <a:lnTo>
                  <a:pt x="23147614" y="10239709"/>
                </a:lnTo>
                <a:moveTo>
                  <a:pt x="23115676" y="10724599"/>
                </a:moveTo>
                <a:lnTo>
                  <a:pt x="24399940" y="10808782"/>
                </a:lnTo>
                <a:lnTo>
                  <a:pt x="24431722" y="10323878"/>
                </a:lnTo>
                <a:moveTo>
                  <a:pt x="23115676" y="10724599"/>
                </a:moveTo>
                <a:lnTo>
                  <a:pt x="21831568" y="10640431"/>
                </a:lnTo>
                <a:moveTo>
                  <a:pt x="23147614" y="10239709"/>
                </a:moveTo>
                <a:lnTo>
                  <a:pt x="23179392" y="9755261"/>
                </a:lnTo>
                <a:moveTo>
                  <a:pt x="23147614" y="10239709"/>
                </a:moveTo>
                <a:lnTo>
                  <a:pt x="21863348" y="10155526"/>
                </a:lnTo>
                <a:moveTo>
                  <a:pt x="23720600" y="1515244"/>
                </a:moveTo>
                <a:lnTo>
                  <a:pt x="23688662" y="2000144"/>
                </a:lnTo>
                <a:moveTo>
                  <a:pt x="23688662" y="2000144"/>
                </a:moveTo>
                <a:lnTo>
                  <a:pt x="24972772" y="2084312"/>
                </a:lnTo>
                <a:moveTo>
                  <a:pt x="23688662" y="2000144"/>
                </a:moveTo>
                <a:lnTo>
                  <a:pt x="22404554" y="1915976"/>
                </a:lnTo>
                <a:moveTo>
                  <a:pt x="23179392" y="9755261"/>
                </a:moveTo>
                <a:lnTo>
                  <a:pt x="23211172" y="9270387"/>
                </a:lnTo>
                <a:moveTo>
                  <a:pt x="23179392" y="9755261"/>
                </a:moveTo>
                <a:lnTo>
                  <a:pt x="21895126" y="9671092"/>
                </a:lnTo>
                <a:lnTo>
                  <a:pt x="21863348" y="10155526"/>
                </a:lnTo>
                <a:moveTo>
                  <a:pt x="23179392" y="9755261"/>
                </a:moveTo>
                <a:lnTo>
                  <a:pt x="24463500" y="9839460"/>
                </a:lnTo>
                <a:lnTo>
                  <a:pt x="24495438" y="9354555"/>
                </a:lnTo>
                <a:lnTo>
                  <a:pt x="24506452" y="9355294"/>
                </a:lnTo>
                <a:moveTo>
                  <a:pt x="23593164" y="3454388"/>
                </a:moveTo>
                <a:lnTo>
                  <a:pt x="23625102" y="2969483"/>
                </a:lnTo>
                <a:moveTo>
                  <a:pt x="23593164" y="3454388"/>
                </a:moveTo>
                <a:lnTo>
                  <a:pt x="22309056" y="3370204"/>
                </a:lnTo>
                <a:moveTo>
                  <a:pt x="23624944" y="2969499"/>
                </a:moveTo>
                <a:lnTo>
                  <a:pt x="22340836" y="2885315"/>
                </a:lnTo>
                <a:moveTo>
                  <a:pt x="23593164" y="3454388"/>
                </a:moveTo>
                <a:lnTo>
                  <a:pt x="23561384" y="3938821"/>
                </a:lnTo>
                <a:lnTo>
                  <a:pt x="22277118" y="3854653"/>
                </a:lnTo>
                <a:moveTo>
                  <a:pt x="23434106" y="5877482"/>
                </a:moveTo>
                <a:lnTo>
                  <a:pt x="23402168" y="6362388"/>
                </a:lnTo>
                <a:lnTo>
                  <a:pt x="22450808" y="6300020"/>
                </a:lnTo>
                <a:cubicBezTo>
                  <a:pt x="22261858" y="6287634"/>
                  <a:pt x="22138828" y="6277685"/>
                  <a:pt x="22138828" y="6277685"/>
                </a:cubicBezTo>
                <a:moveTo>
                  <a:pt x="23370388" y="6846837"/>
                </a:moveTo>
                <a:lnTo>
                  <a:pt x="23402168" y="6362404"/>
                </a:lnTo>
                <a:moveTo>
                  <a:pt x="23370388" y="6846837"/>
                </a:moveTo>
                <a:lnTo>
                  <a:pt x="23338452" y="7331710"/>
                </a:lnTo>
                <a:moveTo>
                  <a:pt x="23370388" y="6846837"/>
                </a:moveTo>
                <a:lnTo>
                  <a:pt x="22133950" y="6765781"/>
                </a:lnTo>
                <a:moveTo>
                  <a:pt x="23529604" y="4423711"/>
                </a:moveTo>
                <a:lnTo>
                  <a:pt x="23561384" y="3938806"/>
                </a:lnTo>
                <a:moveTo>
                  <a:pt x="23529604" y="4423711"/>
                </a:moveTo>
                <a:lnTo>
                  <a:pt x="23497668" y="4908160"/>
                </a:lnTo>
                <a:lnTo>
                  <a:pt x="22213560" y="4823976"/>
                </a:lnTo>
                <a:moveTo>
                  <a:pt x="23529604" y="4423711"/>
                </a:moveTo>
                <a:lnTo>
                  <a:pt x="22245338" y="4339527"/>
                </a:lnTo>
                <a:moveTo>
                  <a:pt x="23338452" y="7331710"/>
                </a:moveTo>
                <a:lnTo>
                  <a:pt x="22387090" y="7269358"/>
                </a:lnTo>
                <a:cubicBezTo>
                  <a:pt x="22198140" y="7256973"/>
                  <a:pt x="22074952" y="7250780"/>
                  <a:pt x="22074952" y="7250780"/>
                </a:cubicBezTo>
                <a:moveTo>
                  <a:pt x="23688662" y="2000160"/>
                </a:moveTo>
                <a:lnTo>
                  <a:pt x="23656882" y="2484594"/>
                </a:lnTo>
                <a:lnTo>
                  <a:pt x="22372618" y="2400410"/>
                </a:lnTo>
                <a:moveTo>
                  <a:pt x="23211172" y="9270371"/>
                </a:moveTo>
                <a:lnTo>
                  <a:pt x="24495438" y="9354555"/>
                </a:lnTo>
                <a:lnTo>
                  <a:pt x="24527218" y="8870122"/>
                </a:lnTo>
                <a:lnTo>
                  <a:pt x="24538388" y="8870860"/>
                </a:lnTo>
                <a:moveTo>
                  <a:pt x="23211172" y="9270371"/>
                </a:moveTo>
                <a:lnTo>
                  <a:pt x="21927064" y="9186203"/>
                </a:lnTo>
                <a:moveTo>
                  <a:pt x="21831568" y="10640431"/>
                </a:moveTo>
                <a:lnTo>
                  <a:pt x="21863348" y="10155526"/>
                </a:lnTo>
                <a:moveTo>
                  <a:pt x="21831568" y="10640431"/>
                </a:moveTo>
                <a:lnTo>
                  <a:pt x="20547302" y="10556248"/>
                </a:lnTo>
                <a:moveTo>
                  <a:pt x="21863348" y="10155526"/>
                </a:moveTo>
                <a:lnTo>
                  <a:pt x="20579240" y="10071342"/>
                </a:lnTo>
                <a:moveTo>
                  <a:pt x="22340836" y="2885299"/>
                </a:moveTo>
                <a:lnTo>
                  <a:pt x="22308898" y="3370204"/>
                </a:lnTo>
                <a:lnTo>
                  <a:pt x="21024790" y="3286020"/>
                </a:lnTo>
                <a:moveTo>
                  <a:pt x="22277118" y="3854653"/>
                </a:moveTo>
                <a:lnTo>
                  <a:pt x="22308898" y="3370220"/>
                </a:lnTo>
                <a:moveTo>
                  <a:pt x="22277118" y="3854653"/>
                </a:moveTo>
                <a:lnTo>
                  <a:pt x="20993010" y="3770469"/>
                </a:lnTo>
                <a:moveTo>
                  <a:pt x="21927064" y="9186203"/>
                </a:moveTo>
                <a:lnTo>
                  <a:pt x="21895126" y="9671109"/>
                </a:lnTo>
                <a:lnTo>
                  <a:pt x="20611018" y="9586925"/>
                </a:lnTo>
                <a:moveTo>
                  <a:pt x="21927064" y="9186203"/>
                </a:moveTo>
                <a:lnTo>
                  <a:pt x="21958844" y="8701770"/>
                </a:lnTo>
                <a:moveTo>
                  <a:pt x="21927064" y="9186203"/>
                </a:moveTo>
                <a:lnTo>
                  <a:pt x="20642800" y="9102019"/>
                </a:lnTo>
                <a:moveTo>
                  <a:pt x="22436334" y="1431070"/>
                </a:moveTo>
                <a:lnTo>
                  <a:pt x="22404554" y="1915976"/>
                </a:lnTo>
                <a:moveTo>
                  <a:pt x="22404554" y="1915976"/>
                </a:moveTo>
                <a:lnTo>
                  <a:pt x="21120288" y="1831793"/>
                </a:lnTo>
                <a:moveTo>
                  <a:pt x="22022564" y="7732431"/>
                </a:moveTo>
                <a:lnTo>
                  <a:pt x="22074952" y="7250780"/>
                </a:lnTo>
                <a:moveTo>
                  <a:pt x="22022564" y="7732431"/>
                </a:moveTo>
                <a:cubicBezTo>
                  <a:pt x="21593216" y="7704297"/>
                  <a:pt x="21304678" y="7722561"/>
                  <a:pt x="21113838" y="7756637"/>
                </a:cubicBezTo>
                <a:moveTo>
                  <a:pt x="22022564" y="7732431"/>
                </a:moveTo>
                <a:lnTo>
                  <a:pt x="21958844" y="8701770"/>
                </a:lnTo>
                <a:moveTo>
                  <a:pt x="22181622" y="5308897"/>
                </a:moveTo>
                <a:lnTo>
                  <a:pt x="22149840" y="5793330"/>
                </a:lnTo>
                <a:cubicBezTo>
                  <a:pt x="21856424" y="5773620"/>
                  <a:pt x="21532644" y="5736873"/>
                  <a:pt x="21252128" y="5650708"/>
                </a:cubicBezTo>
                <a:cubicBezTo>
                  <a:pt x="21357540" y="5840185"/>
                  <a:pt x="21418582" y="5988638"/>
                  <a:pt x="21488592" y="6165430"/>
                </a:cubicBezTo>
                <a:cubicBezTo>
                  <a:pt x="21381138" y="6137688"/>
                  <a:pt x="21161352" y="6067761"/>
                  <a:pt x="21015036" y="5981942"/>
                </a:cubicBezTo>
                <a:moveTo>
                  <a:pt x="22074952" y="7250780"/>
                </a:moveTo>
                <a:cubicBezTo>
                  <a:pt x="22082190" y="7163280"/>
                  <a:pt x="22118848" y="6995808"/>
                  <a:pt x="22133950" y="6766253"/>
                </a:cubicBezTo>
                <a:moveTo>
                  <a:pt x="22138828" y="6277685"/>
                </a:moveTo>
                <a:cubicBezTo>
                  <a:pt x="22133478" y="6440143"/>
                  <a:pt x="22152202" y="6487956"/>
                  <a:pt x="22133950" y="6765781"/>
                </a:cubicBezTo>
                <a:lnTo>
                  <a:pt x="21562380" y="6728310"/>
                </a:lnTo>
                <a:moveTo>
                  <a:pt x="22138828" y="6277685"/>
                </a:moveTo>
                <a:cubicBezTo>
                  <a:pt x="21841164" y="6258180"/>
                  <a:pt x="21640728" y="6210209"/>
                  <a:pt x="21488592" y="6165414"/>
                </a:cubicBezTo>
                <a:moveTo>
                  <a:pt x="22245338" y="4339527"/>
                </a:moveTo>
                <a:lnTo>
                  <a:pt x="22277276" y="3854622"/>
                </a:lnTo>
                <a:moveTo>
                  <a:pt x="22245338" y="4339527"/>
                </a:moveTo>
                <a:lnTo>
                  <a:pt x="20961230" y="4255359"/>
                </a:lnTo>
                <a:moveTo>
                  <a:pt x="21958844" y="8701770"/>
                </a:moveTo>
                <a:lnTo>
                  <a:pt x="20674580" y="8617586"/>
                </a:lnTo>
                <a:lnTo>
                  <a:pt x="20642800" y="9102019"/>
                </a:lnTo>
                <a:moveTo>
                  <a:pt x="22181622" y="5308881"/>
                </a:moveTo>
                <a:lnTo>
                  <a:pt x="22213560" y="4823992"/>
                </a:lnTo>
                <a:moveTo>
                  <a:pt x="22181622" y="5308881"/>
                </a:moveTo>
                <a:lnTo>
                  <a:pt x="21849030" y="5287081"/>
                </a:lnTo>
                <a:cubicBezTo>
                  <a:pt x="21563480" y="5268361"/>
                  <a:pt x="21279506" y="5234222"/>
                  <a:pt x="20995686" y="5199596"/>
                </a:cubicBezTo>
                <a:cubicBezTo>
                  <a:pt x="21087250" y="5355233"/>
                  <a:pt x="21157262" y="5465209"/>
                  <a:pt x="21252128" y="5651180"/>
                </a:cubicBezTo>
                <a:cubicBezTo>
                  <a:pt x="21018026" y="5564309"/>
                  <a:pt x="20878162" y="5518916"/>
                  <a:pt x="20568856" y="5391367"/>
                </a:cubicBezTo>
                <a:cubicBezTo>
                  <a:pt x="20753400" y="5568599"/>
                  <a:pt x="20900344" y="5766437"/>
                  <a:pt x="21015666" y="5981974"/>
                </a:cubicBezTo>
                <a:moveTo>
                  <a:pt x="22245338" y="4339543"/>
                </a:moveTo>
                <a:lnTo>
                  <a:pt x="22213560" y="4823976"/>
                </a:lnTo>
                <a:lnTo>
                  <a:pt x="20929452" y="4739792"/>
                </a:lnTo>
                <a:moveTo>
                  <a:pt x="22372774" y="2400425"/>
                </a:moveTo>
                <a:lnTo>
                  <a:pt x="22340836" y="2885315"/>
                </a:lnTo>
                <a:moveTo>
                  <a:pt x="22340836" y="2885315"/>
                </a:moveTo>
                <a:lnTo>
                  <a:pt x="21056728" y="2801147"/>
                </a:lnTo>
                <a:moveTo>
                  <a:pt x="22404398" y="1915976"/>
                </a:moveTo>
                <a:lnTo>
                  <a:pt x="22372618" y="2400410"/>
                </a:lnTo>
                <a:moveTo>
                  <a:pt x="22372618" y="2400410"/>
                </a:moveTo>
                <a:lnTo>
                  <a:pt x="21088510" y="2316226"/>
                </a:lnTo>
                <a:moveTo>
                  <a:pt x="20579240" y="10071342"/>
                </a:moveTo>
                <a:lnTo>
                  <a:pt x="20611018" y="9586909"/>
                </a:lnTo>
                <a:moveTo>
                  <a:pt x="20579240" y="10071342"/>
                </a:moveTo>
                <a:lnTo>
                  <a:pt x="19294974" y="9987158"/>
                </a:lnTo>
                <a:moveTo>
                  <a:pt x="21562380" y="6728766"/>
                </a:moveTo>
                <a:cubicBezTo>
                  <a:pt x="21551366" y="6897903"/>
                  <a:pt x="21513608" y="7106696"/>
                  <a:pt x="21415592" y="7277186"/>
                </a:cubicBezTo>
                <a:cubicBezTo>
                  <a:pt x="21613040" y="7231777"/>
                  <a:pt x="21816462" y="7233821"/>
                  <a:pt x="22074952" y="7250749"/>
                </a:cubicBezTo>
                <a:moveTo>
                  <a:pt x="20993010" y="3770469"/>
                </a:moveTo>
                <a:lnTo>
                  <a:pt x="21024790" y="3286052"/>
                </a:lnTo>
                <a:moveTo>
                  <a:pt x="20993010" y="3770469"/>
                </a:moveTo>
                <a:lnTo>
                  <a:pt x="19708746" y="3686286"/>
                </a:lnTo>
                <a:moveTo>
                  <a:pt x="20929294" y="4739792"/>
                </a:moveTo>
                <a:cubicBezTo>
                  <a:pt x="20917964" y="4912199"/>
                  <a:pt x="20908998" y="5049006"/>
                  <a:pt x="20995528" y="5199596"/>
                </a:cubicBezTo>
                <a:cubicBezTo>
                  <a:pt x="20674894" y="5140467"/>
                  <a:pt x="20423800" y="5069423"/>
                  <a:pt x="20097030" y="4955313"/>
                </a:cubicBezTo>
                <a:moveTo>
                  <a:pt x="20642800" y="9102019"/>
                </a:moveTo>
                <a:lnTo>
                  <a:pt x="20611018" y="9586925"/>
                </a:lnTo>
                <a:lnTo>
                  <a:pt x="19326754" y="9502741"/>
                </a:lnTo>
                <a:moveTo>
                  <a:pt x="20642800" y="9102019"/>
                </a:moveTo>
                <a:lnTo>
                  <a:pt x="19358692" y="9017836"/>
                </a:lnTo>
                <a:moveTo>
                  <a:pt x="20961230" y="4255359"/>
                </a:moveTo>
                <a:lnTo>
                  <a:pt x="20929294" y="4739792"/>
                </a:lnTo>
                <a:cubicBezTo>
                  <a:pt x="20497428" y="4711469"/>
                  <a:pt x="19951818" y="4635710"/>
                  <a:pt x="19750594" y="4599921"/>
                </a:cubicBezTo>
                <a:moveTo>
                  <a:pt x="20961230" y="4255359"/>
                </a:moveTo>
                <a:lnTo>
                  <a:pt x="20993010" y="3770454"/>
                </a:lnTo>
                <a:moveTo>
                  <a:pt x="20961230" y="4255359"/>
                </a:moveTo>
                <a:lnTo>
                  <a:pt x="19676964" y="4171175"/>
                </a:lnTo>
                <a:moveTo>
                  <a:pt x="21120288" y="1831808"/>
                </a:moveTo>
                <a:lnTo>
                  <a:pt x="21088510" y="2316226"/>
                </a:lnTo>
                <a:moveTo>
                  <a:pt x="21088510" y="2316226"/>
                </a:moveTo>
                <a:lnTo>
                  <a:pt x="21056728" y="2801131"/>
                </a:lnTo>
                <a:moveTo>
                  <a:pt x="21088510" y="2316226"/>
                </a:moveTo>
                <a:lnTo>
                  <a:pt x="19804244" y="2232058"/>
                </a:lnTo>
                <a:moveTo>
                  <a:pt x="21152226" y="1346888"/>
                </a:moveTo>
                <a:lnTo>
                  <a:pt x="21120288" y="1831793"/>
                </a:lnTo>
                <a:moveTo>
                  <a:pt x="21120288" y="1831793"/>
                </a:moveTo>
                <a:lnTo>
                  <a:pt x="19836180" y="1747609"/>
                </a:lnTo>
                <a:moveTo>
                  <a:pt x="21056728" y="2801131"/>
                </a:moveTo>
                <a:lnTo>
                  <a:pt x="21024790" y="3286020"/>
                </a:lnTo>
                <a:moveTo>
                  <a:pt x="21056728" y="2801131"/>
                </a:moveTo>
                <a:lnTo>
                  <a:pt x="19772464" y="2716963"/>
                </a:lnTo>
                <a:moveTo>
                  <a:pt x="21024790" y="3286020"/>
                </a:moveTo>
                <a:lnTo>
                  <a:pt x="19740684" y="3201853"/>
                </a:lnTo>
                <a:moveTo>
                  <a:pt x="21488592" y="6165430"/>
                </a:moveTo>
                <a:cubicBezTo>
                  <a:pt x="21553254" y="6373877"/>
                  <a:pt x="21574808" y="6539981"/>
                  <a:pt x="21562380" y="6728310"/>
                </a:cubicBezTo>
                <a:lnTo>
                  <a:pt x="21184006" y="6703508"/>
                </a:lnTo>
                <a:moveTo>
                  <a:pt x="20674736" y="8617602"/>
                </a:moveTo>
                <a:lnTo>
                  <a:pt x="20690628" y="8375378"/>
                </a:lnTo>
                <a:cubicBezTo>
                  <a:pt x="20698494" y="8254037"/>
                  <a:pt x="20800442" y="8170860"/>
                  <a:pt x="20800442" y="8170860"/>
                </a:cubicBezTo>
                <a:moveTo>
                  <a:pt x="21113838" y="7756165"/>
                </a:moveTo>
                <a:cubicBezTo>
                  <a:pt x="21242846" y="7593346"/>
                  <a:pt x="21324500" y="7452846"/>
                  <a:pt x="21415434" y="7276714"/>
                </a:cubicBezTo>
                <a:moveTo>
                  <a:pt x="20579240" y="10071342"/>
                </a:moveTo>
                <a:lnTo>
                  <a:pt x="20547302" y="10556248"/>
                </a:lnTo>
                <a:lnTo>
                  <a:pt x="19263194" y="10472064"/>
                </a:lnTo>
                <a:moveTo>
                  <a:pt x="20800442" y="8170372"/>
                </a:moveTo>
                <a:cubicBezTo>
                  <a:pt x="20889804" y="8068003"/>
                  <a:pt x="20956826" y="7973588"/>
                  <a:pt x="21113838" y="7756149"/>
                </a:cubicBezTo>
                <a:moveTo>
                  <a:pt x="20096558" y="4954825"/>
                </a:moveTo>
                <a:cubicBezTo>
                  <a:pt x="20285824" y="5109314"/>
                  <a:pt x="20403504" y="5216320"/>
                  <a:pt x="20568856" y="5391367"/>
                </a:cubicBezTo>
                <a:cubicBezTo>
                  <a:pt x="20241144" y="5252722"/>
                  <a:pt x="19875826" y="5134682"/>
                  <a:pt x="19539460" y="4997829"/>
                </a:cubicBezTo>
                <a:moveTo>
                  <a:pt x="19676964" y="4170719"/>
                </a:moveTo>
                <a:cubicBezTo>
                  <a:pt x="19667526" y="4307494"/>
                  <a:pt x="19655726" y="4494000"/>
                  <a:pt x="19750594" y="4599953"/>
                </a:cubicBezTo>
                <a:cubicBezTo>
                  <a:pt x="19382132" y="4537695"/>
                  <a:pt x="18960654" y="4463020"/>
                  <a:pt x="18586528" y="4366498"/>
                </a:cubicBezTo>
                <a:moveTo>
                  <a:pt x="20097188" y="4954857"/>
                </a:moveTo>
                <a:cubicBezTo>
                  <a:pt x="19977620" y="4860912"/>
                  <a:pt x="19850498" y="4709552"/>
                  <a:pt x="19751068" y="4599984"/>
                </a:cubicBezTo>
                <a:moveTo>
                  <a:pt x="19772464" y="2716947"/>
                </a:moveTo>
                <a:lnTo>
                  <a:pt x="19740684" y="3201853"/>
                </a:lnTo>
                <a:lnTo>
                  <a:pt x="18456576" y="3117669"/>
                </a:lnTo>
                <a:moveTo>
                  <a:pt x="20922686" y="7397316"/>
                </a:moveTo>
                <a:cubicBezTo>
                  <a:pt x="21042884" y="7204287"/>
                  <a:pt x="21160722" y="7057673"/>
                  <a:pt x="21184006" y="6703963"/>
                </a:cubicBezTo>
                <a:moveTo>
                  <a:pt x="19877714" y="8295752"/>
                </a:moveTo>
                <a:cubicBezTo>
                  <a:pt x="20050460" y="8157924"/>
                  <a:pt x="20215812" y="8074651"/>
                  <a:pt x="20403032" y="7924611"/>
                </a:cubicBezTo>
                <a:moveTo>
                  <a:pt x="19740684" y="3201853"/>
                </a:moveTo>
                <a:lnTo>
                  <a:pt x="19708746" y="3686286"/>
                </a:lnTo>
                <a:moveTo>
                  <a:pt x="19708746" y="3686286"/>
                </a:moveTo>
                <a:lnTo>
                  <a:pt x="18424638" y="3602118"/>
                </a:lnTo>
                <a:moveTo>
                  <a:pt x="19804244" y="2232042"/>
                </a:moveTo>
                <a:lnTo>
                  <a:pt x="19772464" y="2716947"/>
                </a:lnTo>
                <a:lnTo>
                  <a:pt x="18488356" y="2632764"/>
                </a:lnTo>
                <a:moveTo>
                  <a:pt x="19804244" y="2232042"/>
                </a:moveTo>
                <a:lnTo>
                  <a:pt x="19836180" y="1747625"/>
                </a:lnTo>
                <a:moveTo>
                  <a:pt x="19804244" y="2232042"/>
                </a:moveTo>
                <a:lnTo>
                  <a:pt x="18520136" y="2147874"/>
                </a:lnTo>
                <a:moveTo>
                  <a:pt x="19676964" y="4171175"/>
                </a:moveTo>
                <a:cubicBezTo>
                  <a:pt x="19687664" y="4009535"/>
                  <a:pt x="19698206" y="3847910"/>
                  <a:pt x="19708902" y="3686270"/>
                </a:cubicBezTo>
                <a:moveTo>
                  <a:pt x="19676964" y="4171175"/>
                </a:moveTo>
                <a:lnTo>
                  <a:pt x="19344218" y="4149359"/>
                </a:lnTo>
                <a:cubicBezTo>
                  <a:pt x="19030190" y="4128769"/>
                  <a:pt x="18716954" y="4102584"/>
                  <a:pt x="18402454" y="4077278"/>
                </a:cubicBezTo>
                <a:moveTo>
                  <a:pt x="19326754" y="9502725"/>
                </a:moveTo>
                <a:lnTo>
                  <a:pt x="19294974" y="9987158"/>
                </a:lnTo>
                <a:lnTo>
                  <a:pt x="18010866" y="9902991"/>
                </a:lnTo>
                <a:moveTo>
                  <a:pt x="19263194" y="10472064"/>
                </a:moveTo>
                <a:lnTo>
                  <a:pt x="19294974" y="9987175"/>
                </a:lnTo>
                <a:moveTo>
                  <a:pt x="19263194" y="10472064"/>
                </a:moveTo>
                <a:lnTo>
                  <a:pt x="17978928" y="10387896"/>
                </a:lnTo>
                <a:moveTo>
                  <a:pt x="19326754" y="9502741"/>
                </a:moveTo>
                <a:lnTo>
                  <a:pt x="19358692" y="9017852"/>
                </a:lnTo>
                <a:moveTo>
                  <a:pt x="19326754" y="9502741"/>
                </a:moveTo>
                <a:lnTo>
                  <a:pt x="18042646" y="9418573"/>
                </a:lnTo>
                <a:moveTo>
                  <a:pt x="19358692" y="9017852"/>
                </a:moveTo>
                <a:cubicBezTo>
                  <a:pt x="19367502" y="8882444"/>
                  <a:pt x="19337452" y="8684260"/>
                  <a:pt x="19487700" y="8601900"/>
                </a:cubicBezTo>
                <a:moveTo>
                  <a:pt x="19358692" y="9017852"/>
                </a:moveTo>
                <a:lnTo>
                  <a:pt x="18082764" y="8945975"/>
                </a:lnTo>
                <a:moveTo>
                  <a:pt x="21015666" y="5981974"/>
                </a:moveTo>
                <a:cubicBezTo>
                  <a:pt x="21113838" y="6157335"/>
                  <a:pt x="21203358" y="6410232"/>
                  <a:pt x="21184006" y="6703508"/>
                </a:cubicBezTo>
                <a:moveTo>
                  <a:pt x="21015666" y="5981974"/>
                </a:moveTo>
                <a:cubicBezTo>
                  <a:pt x="20703056" y="5825033"/>
                  <a:pt x="20571532" y="5764661"/>
                  <a:pt x="20273552" y="5643966"/>
                </a:cubicBezTo>
                <a:moveTo>
                  <a:pt x="21184006" y="6703508"/>
                </a:moveTo>
                <a:lnTo>
                  <a:pt x="20666240" y="6669558"/>
                </a:lnTo>
                <a:moveTo>
                  <a:pt x="19487700" y="8602388"/>
                </a:moveTo>
                <a:cubicBezTo>
                  <a:pt x="19601290" y="8504435"/>
                  <a:pt x="19769788" y="8374308"/>
                  <a:pt x="19877244" y="8295720"/>
                </a:cubicBezTo>
                <a:moveTo>
                  <a:pt x="20922686" y="7397331"/>
                </a:moveTo>
                <a:cubicBezTo>
                  <a:pt x="20780304" y="7593613"/>
                  <a:pt x="20608818" y="7770578"/>
                  <a:pt x="20402560" y="7924564"/>
                </a:cubicBezTo>
                <a:cubicBezTo>
                  <a:pt x="20069340" y="8014705"/>
                  <a:pt x="19734546" y="8098637"/>
                  <a:pt x="19330530" y="8180368"/>
                </a:cubicBezTo>
                <a:moveTo>
                  <a:pt x="19867960" y="1262715"/>
                </a:moveTo>
                <a:lnTo>
                  <a:pt x="19836024" y="1747609"/>
                </a:lnTo>
                <a:lnTo>
                  <a:pt x="18551914" y="1663441"/>
                </a:lnTo>
                <a:moveTo>
                  <a:pt x="18583852" y="1178533"/>
                </a:moveTo>
                <a:lnTo>
                  <a:pt x="18551914" y="1663425"/>
                </a:lnTo>
                <a:moveTo>
                  <a:pt x="18551914" y="1663425"/>
                </a:moveTo>
                <a:lnTo>
                  <a:pt x="18520136" y="2147874"/>
                </a:lnTo>
                <a:moveTo>
                  <a:pt x="18551914" y="1663425"/>
                </a:moveTo>
                <a:lnTo>
                  <a:pt x="17267806" y="1579257"/>
                </a:lnTo>
                <a:moveTo>
                  <a:pt x="18586528" y="4366498"/>
                </a:moveTo>
                <a:cubicBezTo>
                  <a:pt x="18501886" y="4301647"/>
                  <a:pt x="18395532" y="4183639"/>
                  <a:pt x="18402610" y="4076822"/>
                </a:cubicBezTo>
                <a:moveTo>
                  <a:pt x="18586528" y="4366498"/>
                </a:moveTo>
                <a:cubicBezTo>
                  <a:pt x="18696814" y="4464058"/>
                  <a:pt x="18814652" y="4528233"/>
                  <a:pt x="18962698" y="4627804"/>
                </a:cubicBezTo>
                <a:moveTo>
                  <a:pt x="18586528" y="4366498"/>
                </a:moveTo>
                <a:cubicBezTo>
                  <a:pt x="18174328" y="4266063"/>
                  <a:pt x="17576012" y="4182618"/>
                  <a:pt x="17200786" y="4158019"/>
                </a:cubicBezTo>
                <a:moveTo>
                  <a:pt x="18488356" y="2632764"/>
                </a:moveTo>
                <a:lnTo>
                  <a:pt x="18456418" y="3117653"/>
                </a:lnTo>
                <a:lnTo>
                  <a:pt x="17172310" y="3033485"/>
                </a:lnTo>
                <a:moveTo>
                  <a:pt x="18488356" y="2632764"/>
                </a:moveTo>
                <a:lnTo>
                  <a:pt x="18520136" y="2147874"/>
                </a:lnTo>
                <a:moveTo>
                  <a:pt x="18488356" y="2632764"/>
                </a:moveTo>
                <a:lnTo>
                  <a:pt x="17204090" y="2548596"/>
                </a:lnTo>
                <a:moveTo>
                  <a:pt x="18424638" y="3602118"/>
                </a:moveTo>
                <a:cubicBezTo>
                  <a:pt x="18414252" y="3760002"/>
                  <a:pt x="18400566" y="3919096"/>
                  <a:pt x="18402454" y="4077310"/>
                </a:cubicBezTo>
                <a:cubicBezTo>
                  <a:pt x="18142862" y="4060303"/>
                  <a:pt x="17820972" y="3995420"/>
                  <a:pt x="17125426" y="3949824"/>
                </a:cubicBezTo>
                <a:moveTo>
                  <a:pt x="18424638" y="3602118"/>
                </a:moveTo>
                <a:lnTo>
                  <a:pt x="18456418" y="3117684"/>
                </a:lnTo>
                <a:moveTo>
                  <a:pt x="18424638" y="3602118"/>
                </a:moveTo>
                <a:lnTo>
                  <a:pt x="17140372" y="3517934"/>
                </a:lnTo>
                <a:moveTo>
                  <a:pt x="18520136" y="2147874"/>
                </a:moveTo>
                <a:lnTo>
                  <a:pt x="17236028" y="2063691"/>
                </a:lnTo>
                <a:moveTo>
                  <a:pt x="18962698" y="4627804"/>
                </a:moveTo>
                <a:cubicBezTo>
                  <a:pt x="18452484" y="4476271"/>
                  <a:pt x="17899478" y="4393438"/>
                  <a:pt x="17358900" y="4323180"/>
                </a:cubicBezTo>
                <a:moveTo>
                  <a:pt x="18962698" y="4627804"/>
                </a:moveTo>
                <a:cubicBezTo>
                  <a:pt x="19316844" y="4721607"/>
                  <a:pt x="19735176" y="4843136"/>
                  <a:pt x="20096558" y="4954825"/>
                </a:cubicBezTo>
                <a:moveTo>
                  <a:pt x="20273552" y="5643966"/>
                </a:moveTo>
                <a:cubicBezTo>
                  <a:pt x="20016636" y="5426213"/>
                  <a:pt x="19872838" y="5181521"/>
                  <a:pt x="19539618" y="4997813"/>
                </a:cubicBezTo>
                <a:moveTo>
                  <a:pt x="20273552" y="5643966"/>
                </a:moveTo>
                <a:cubicBezTo>
                  <a:pt x="20516466" y="5929492"/>
                  <a:pt x="20651138" y="6314747"/>
                  <a:pt x="20666240" y="6669558"/>
                </a:cubicBezTo>
                <a:moveTo>
                  <a:pt x="20273552" y="5643966"/>
                </a:moveTo>
                <a:cubicBezTo>
                  <a:pt x="19906822" y="5476415"/>
                  <a:pt x="18967574" y="5169246"/>
                  <a:pt x="18261016" y="5022238"/>
                </a:cubicBezTo>
                <a:moveTo>
                  <a:pt x="18710344" y="8471883"/>
                </a:moveTo>
                <a:cubicBezTo>
                  <a:pt x="18556478" y="8541324"/>
                  <a:pt x="18429358" y="8603095"/>
                  <a:pt x="18303180" y="8681872"/>
                </a:cubicBezTo>
                <a:cubicBezTo>
                  <a:pt x="18818744" y="8637092"/>
                  <a:pt x="19114518" y="8613672"/>
                  <a:pt x="19487858" y="8602371"/>
                </a:cubicBezTo>
                <a:moveTo>
                  <a:pt x="20666084" y="6669542"/>
                </a:moveTo>
                <a:cubicBezTo>
                  <a:pt x="20601894" y="7064322"/>
                  <a:pt x="20421124" y="7381850"/>
                  <a:pt x="20142814" y="7635092"/>
                </a:cubicBezTo>
                <a:cubicBezTo>
                  <a:pt x="19912798" y="7819036"/>
                  <a:pt x="19631970" y="8035893"/>
                  <a:pt x="19330530" y="8179866"/>
                </a:cubicBezTo>
                <a:moveTo>
                  <a:pt x="18710188" y="8471868"/>
                </a:moveTo>
                <a:cubicBezTo>
                  <a:pt x="18917546" y="8365491"/>
                  <a:pt x="19136072" y="8285692"/>
                  <a:pt x="19330530" y="8179881"/>
                </a:cubicBezTo>
                <a:cubicBezTo>
                  <a:pt x="18705310" y="8351566"/>
                  <a:pt x="18042646" y="8354253"/>
                  <a:pt x="17402166" y="8385201"/>
                </a:cubicBezTo>
                <a:moveTo>
                  <a:pt x="18082764" y="8945975"/>
                </a:moveTo>
                <a:cubicBezTo>
                  <a:pt x="18090788" y="8781819"/>
                  <a:pt x="18303180" y="8681400"/>
                  <a:pt x="18303180" y="8681400"/>
                </a:cubicBezTo>
                <a:moveTo>
                  <a:pt x="18082764" y="8945975"/>
                </a:moveTo>
                <a:cubicBezTo>
                  <a:pt x="18062312" y="9102727"/>
                  <a:pt x="18053030" y="9261161"/>
                  <a:pt x="18042646" y="9418573"/>
                </a:cubicBezTo>
                <a:moveTo>
                  <a:pt x="18082764" y="8945975"/>
                </a:moveTo>
                <a:lnTo>
                  <a:pt x="16799444" y="8904669"/>
                </a:lnTo>
                <a:moveTo>
                  <a:pt x="17978928" y="10387896"/>
                </a:moveTo>
                <a:lnTo>
                  <a:pt x="18010866" y="9902991"/>
                </a:lnTo>
                <a:moveTo>
                  <a:pt x="17978928" y="10387896"/>
                </a:moveTo>
                <a:lnTo>
                  <a:pt x="16694821" y="10303712"/>
                </a:lnTo>
                <a:moveTo>
                  <a:pt x="18010866" y="9902991"/>
                </a:moveTo>
                <a:lnTo>
                  <a:pt x="18042646" y="9418558"/>
                </a:lnTo>
                <a:lnTo>
                  <a:pt x="16758537" y="9334389"/>
                </a:lnTo>
                <a:moveTo>
                  <a:pt x="18010866" y="9902991"/>
                </a:moveTo>
                <a:lnTo>
                  <a:pt x="16726601" y="9818807"/>
                </a:lnTo>
                <a:moveTo>
                  <a:pt x="20666240" y="6669558"/>
                </a:moveTo>
                <a:lnTo>
                  <a:pt x="18998410" y="6560226"/>
                </a:lnTo>
                <a:cubicBezTo>
                  <a:pt x="19071410" y="6022981"/>
                  <a:pt x="18680766" y="5479810"/>
                  <a:pt x="18261646" y="5022270"/>
                </a:cubicBezTo>
                <a:cubicBezTo>
                  <a:pt x="17022690" y="4759439"/>
                  <a:pt x="15696104" y="4672474"/>
                  <a:pt x="14385738" y="4808195"/>
                </a:cubicBezTo>
                <a:cubicBezTo>
                  <a:pt x="13764185" y="4875200"/>
                  <a:pt x="13115098" y="5020855"/>
                  <a:pt x="12486354" y="5165033"/>
                </a:cubicBezTo>
                <a:moveTo>
                  <a:pt x="18962698" y="4628276"/>
                </a:moveTo>
                <a:cubicBezTo>
                  <a:pt x="19153850" y="4751848"/>
                  <a:pt x="19357590" y="4863537"/>
                  <a:pt x="19539460" y="4998269"/>
                </a:cubicBezTo>
                <a:cubicBezTo>
                  <a:pt x="18914556" y="4832621"/>
                  <a:pt x="18305540" y="4612024"/>
                  <a:pt x="17654520" y="4542992"/>
                </a:cubicBezTo>
                <a:moveTo>
                  <a:pt x="16758537" y="9334389"/>
                </a:moveTo>
                <a:cubicBezTo>
                  <a:pt x="16767978" y="9190557"/>
                  <a:pt x="16773642" y="9046490"/>
                  <a:pt x="16800072" y="8904700"/>
                </a:cubicBezTo>
                <a:moveTo>
                  <a:pt x="16758537" y="9334389"/>
                </a:moveTo>
                <a:lnTo>
                  <a:pt x="16726601" y="9818807"/>
                </a:lnTo>
                <a:moveTo>
                  <a:pt x="16758537" y="9334389"/>
                </a:moveTo>
                <a:lnTo>
                  <a:pt x="15474273" y="9250206"/>
                </a:lnTo>
                <a:moveTo>
                  <a:pt x="16726601" y="9818807"/>
                </a:moveTo>
                <a:lnTo>
                  <a:pt x="16694821" y="10303712"/>
                </a:lnTo>
                <a:lnTo>
                  <a:pt x="15410602" y="10219528"/>
                </a:lnTo>
                <a:moveTo>
                  <a:pt x="17267806" y="1579257"/>
                </a:moveTo>
                <a:lnTo>
                  <a:pt x="17236028" y="2063691"/>
                </a:lnTo>
                <a:moveTo>
                  <a:pt x="17267806" y="1579257"/>
                </a:moveTo>
                <a:lnTo>
                  <a:pt x="17299588" y="1094351"/>
                </a:lnTo>
                <a:moveTo>
                  <a:pt x="17267806" y="1579257"/>
                </a:moveTo>
                <a:lnTo>
                  <a:pt x="15983542" y="1495075"/>
                </a:lnTo>
                <a:moveTo>
                  <a:pt x="17236028" y="2063691"/>
                </a:moveTo>
                <a:lnTo>
                  <a:pt x="17204090" y="2548596"/>
                </a:lnTo>
                <a:moveTo>
                  <a:pt x="17236028" y="2063691"/>
                </a:moveTo>
                <a:lnTo>
                  <a:pt x="15951762" y="1979523"/>
                </a:lnTo>
                <a:moveTo>
                  <a:pt x="16799444" y="8904669"/>
                </a:moveTo>
                <a:cubicBezTo>
                  <a:pt x="16806208" y="8803479"/>
                  <a:pt x="16902020" y="8707648"/>
                  <a:pt x="16902020" y="8707648"/>
                </a:cubicBezTo>
                <a:cubicBezTo>
                  <a:pt x="17401064" y="8736600"/>
                  <a:pt x="17938966" y="8716811"/>
                  <a:pt x="18303180" y="8681872"/>
                </a:cubicBezTo>
                <a:moveTo>
                  <a:pt x="16799444" y="8904669"/>
                </a:moveTo>
                <a:lnTo>
                  <a:pt x="15487866" y="8816367"/>
                </a:lnTo>
                <a:moveTo>
                  <a:pt x="17204090" y="2548596"/>
                </a:moveTo>
                <a:lnTo>
                  <a:pt x="15919982" y="2464396"/>
                </a:lnTo>
                <a:moveTo>
                  <a:pt x="17172310" y="3033501"/>
                </a:moveTo>
                <a:lnTo>
                  <a:pt x="17140372" y="3517934"/>
                </a:lnTo>
                <a:moveTo>
                  <a:pt x="17140372" y="3517934"/>
                </a:moveTo>
                <a:lnTo>
                  <a:pt x="15856264" y="3433766"/>
                </a:lnTo>
                <a:moveTo>
                  <a:pt x="16726601" y="9818807"/>
                </a:moveTo>
                <a:lnTo>
                  <a:pt x="15442492" y="9734623"/>
                </a:lnTo>
                <a:moveTo>
                  <a:pt x="17204090" y="2548580"/>
                </a:moveTo>
                <a:lnTo>
                  <a:pt x="17172310" y="3033485"/>
                </a:lnTo>
                <a:lnTo>
                  <a:pt x="15888202" y="2949301"/>
                </a:lnTo>
                <a:moveTo>
                  <a:pt x="17402166" y="8385673"/>
                </a:moveTo>
                <a:cubicBezTo>
                  <a:pt x="17653260" y="8263326"/>
                  <a:pt x="17771570" y="8190160"/>
                  <a:pt x="18066716" y="7989305"/>
                </a:cubicBezTo>
                <a:cubicBezTo>
                  <a:pt x="18542318" y="7588065"/>
                  <a:pt x="18944448" y="7143900"/>
                  <a:pt x="18998254" y="6560697"/>
                </a:cubicBezTo>
                <a:moveTo>
                  <a:pt x="16901864" y="8707648"/>
                </a:moveTo>
                <a:cubicBezTo>
                  <a:pt x="16967942" y="8634813"/>
                  <a:pt x="17080274" y="8564539"/>
                  <a:pt x="17080274" y="8564539"/>
                </a:cubicBezTo>
                <a:cubicBezTo>
                  <a:pt x="17222026" y="8475483"/>
                  <a:pt x="17402166" y="8385201"/>
                  <a:pt x="17402166" y="8385201"/>
                </a:cubicBezTo>
                <a:moveTo>
                  <a:pt x="17200630" y="4158019"/>
                </a:moveTo>
                <a:cubicBezTo>
                  <a:pt x="17171838" y="4110489"/>
                  <a:pt x="17138798" y="4037748"/>
                  <a:pt x="17124954" y="3949321"/>
                </a:cubicBezTo>
                <a:moveTo>
                  <a:pt x="17140530" y="3517934"/>
                </a:moveTo>
                <a:cubicBezTo>
                  <a:pt x="17131562" y="3614268"/>
                  <a:pt x="17115514" y="3840963"/>
                  <a:pt x="17125426" y="3949352"/>
                </a:cubicBezTo>
                <a:moveTo>
                  <a:pt x="17201730" y="4158098"/>
                </a:moveTo>
                <a:cubicBezTo>
                  <a:pt x="17261516" y="4239657"/>
                  <a:pt x="17302262" y="4282802"/>
                  <a:pt x="17358742" y="4323196"/>
                </a:cubicBezTo>
                <a:cubicBezTo>
                  <a:pt x="16736670" y="4270652"/>
                  <a:pt x="16113494" y="4230729"/>
                  <a:pt x="15489707" y="4211020"/>
                </a:cubicBezTo>
                <a:moveTo>
                  <a:pt x="17654676" y="4542552"/>
                </a:moveTo>
                <a:cubicBezTo>
                  <a:pt x="17526770" y="4444772"/>
                  <a:pt x="17463050" y="4407663"/>
                  <a:pt x="17359372" y="4322756"/>
                </a:cubicBezTo>
                <a:moveTo>
                  <a:pt x="18261488" y="5022254"/>
                </a:moveTo>
                <a:cubicBezTo>
                  <a:pt x="18060580" y="4859467"/>
                  <a:pt x="17900422" y="4703092"/>
                  <a:pt x="17654520" y="4542536"/>
                </a:cubicBezTo>
                <a:moveTo>
                  <a:pt x="10846386" y="1158336"/>
                </a:moveTo>
                <a:lnTo>
                  <a:pt x="10814575" y="1642772"/>
                </a:lnTo>
                <a:moveTo>
                  <a:pt x="10846386" y="1158336"/>
                </a:moveTo>
                <a:lnTo>
                  <a:pt x="10878229" y="673426"/>
                </a:lnTo>
                <a:moveTo>
                  <a:pt x="10846386" y="1158336"/>
                </a:moveTo>
                <a:lnTo>
                  <a:pt x="9562215" y="1074149"/>
                </a:lnTo>
                <a:moveTo>
                  <a:pt x="10846386" y="1158336"/>
                </a:moveTo>
                <a:lnTo>
                  <a:pt x="12130541" y="1242500"/>
                </a:lnTo>
                <a:moveTo>
                  <a:pt x="10814575" y="1642772"/>
                </a:moveTo>
                <a:lnTo>
                  <a:pt x="10782701" y="2127677"/>
                </a:lnTo>
                <a:moveTo>
                  <a:pt x="10814575" y="1642772"/>
                </a:moveTo>
                <a:lnTo>
                  <a:pt x="12098730" y="1726956"/>
                </a:lnTo>
                <a:moveTo>
                  <a:pt x="10814575" y="1642772"/>
                </a:moveTo>
                <a:lnTo>
                  <a:pt x="9530388" y="1558589"/>
                </a:lnTo>
                <a:moveTo>
                  <a:pt x="10305289" y="9397889"/>
                </a:moveTo>
                <a:lnTo>
                  <a:pt x="10273446" y="9882778"/>
                </a:lnTo>
                <a:lnTo>
                  <a:pt x="8989260" y="9798610"/>
                </a:lnTo>
                <a:moveTo>
                  <a:pt x="10555692" y="5519827"/>
                </a:moveTo>
                <a:cubicBezTo>
                  <a:pt x="10544160" y="5695519"/>
                  <a:pt x="10517886" y="5844350"/>
                  <a:pt x="10507424" y="6003648"/>
                </a:cubicBezTo>
                <a:moveTo>
                  <a:pt x="10555614" y="5519341"/>
                </a:moveTo>
                <a:cubicBezTo>
                  <a:pt x="10555614" y="5519341"/>
                  <a:pt x="10567822" y="5399226"/>
                  <a:pt x="10575783" y="5277870"/>
                </a:cubicBezTo>
                <a:lnTo>
                  <a:pt x="10591688" y="5035661"/>
                </a:lnTo>
                <a:cubicBezTo>
                  <a:pt x="10832070" y="5051426"/>
                  <a:pt x="11198942" y="5080645"/>
                  <a:pt x="11548855" y="5027347"/>
                </a:cubicBezTo>
                <a:moveTo>
                  <a:pt x="10337085" y="8913455"/>
                </a:moveTo>
                <a:lnTo>
                  <a:pt x="10305258" y="9397889"/>
                </a:lnTo>
                <a:lnTo>
                  <a:pt x="9021087" y="9313705"/>
                </a:lnTo>
                <a:moveTo>
                  <a:pt x="10337085" y="8913455"/>
                </a:moveTo>
                <a:lnTo>
                  <a:pt x="10368913" y="8428566"/>
                </a:lnTo>
                <a:moveTo>
                  <a:pt x="10337085" y="8913455"/>
                </a:moveTo>
                <a:lnTo>
                  <a:pt x="9052883" y="8829287"/>
                </a:lnTo>
                <a:moveTo>
                  <a:pt x="10464347" y="6974794"/>
                </a:moveTo>
                <a:lnTo>
                  <a:pt x="10432536" y="7459228"/>
                </a:lnTo>
                <a:lnTo>
                  <a:pt x="9148365" y="7375059"/>
                </a:lnTo>
                <a:lnTo>
                  <a:pt x="9116522" y="7859965"/>
                </a:lnTo>
                <a:moveTo>
                  <a:pt x="10782731" y="2127662"/>
                </a:moveTo>
                <a:lnTo>
                  <a:pt x="10750888" y="2612551"/>
                </a:lnTo>
                <a:moveTo>
                  <a:pt x="10750888" y="2612551"/>
                </a:moveTo>
                <a:lnTo>
                  <a:pt x="12035043" y="2696735"/>
                </a:lnTo>
                <a:moveTo>
                  <a:pt x="10750888" y="2612551"/>
                </a:moveTo>
                <a:lnTo>
                  <a:pt x="9466717" y="2528383"/>
                </a:lnTo>
                <a:moveTo>
                  <a:pt x="10687250" y="3581905"/>
                </a:moveTo>
                <a:lnTo>
                  <a:pt x="10655422" y="4066339"/>
                </a:lnTo>
                <a:moveTo>
                  <a:pt x="10687250" y="3581905"/>
                </a:moveTo>
                <a:lnTo>
                  <a:pt x="10719077" y="3096984"/>
                </a:lnTo>
                <a:moveTo>
                  <a:pt x="10687250" y="3581905"/>
                </a:moveTo>
                <a:lnTo>
                  <a:pt x="9403063" y="3497721"/>
                </a:lnTo>
                <a:moveTo>
                  <a:pt x="10655422" y="4066339"/>
                </a:moveTo>
                <a:lnTo>
                  <a:pt x="9371251" y="3982155"/>
                </a:lnTo>
                <a:moveTo>
                  <a:pt x="10655422" y="4066339"/>
                </a:moveTo>
                <a:lnTo>
                  <a:pt x="11939593" y="4150506"/>
                </a:lnTo>
                <a:moveTo>
                  <a:pt x="10368881" y="8428566"/>
                </a:moveTo>
                <a:lnTo>
                  <a:pt x="10400693" y="7944132"/>
                </a:lnTo>
                <a:lnTo>
                  <a:pt x="11684864" y="8028316"/>
                </a:lnTo>
                <a:moveTo>
                  <a:pt x="10368881" y="8428566"/>
                </a:moveTo>
                <a:lnTo>
                  <a:pt x="11653068" y="8512733"/>
                </a:lnTo>
                <a:moveTo>
                  <a:pt x="10368881" y="8428566"/>
                </a:moveTo>
                <a:lnTo>
                  <a:pt x="9084726" y="8344382"/>
                </a:lnTo>
                <a:moveTo>
                  <a:pt x="10491817" y="6490549"/>
                </a:moveTo>
                <a:cubicBezTo>
                  <a:pt x="10491817" y="6490549"/>
                  <a:pt x="10488198" y="6611245"/>
                  <a:pt x="10480222" y="6732585"/>
                </a:cubicBezTo>
                <a:lnTo>
                  <a:pt x="10464317" y="6974794"/>
                </a:lnTo>
                <a:lnTo>
                  <a:pt x="9180145" y="6890626"/>
                </a:lnTo>
                <a:moveTo>
                  <a:pt x="10507361" y="6003632"/>
                </a:moveTo>
                <a:cubicBezTo>
                  <a:pt x="10493548" y="6213997"/>
                  <a:pt x="10503444" y="6314386"/>
                  <a:pt x="10491943" y="6489606"/>
                </a:cubicBezTo>
                <a:cubicBezTo>
                  <a:pt x="10491943" y="6489606"/>
                  <a:pt x="10353966" y="6480568"/>
                  <a:pt x="10163458" y="6468073"/>
                </a:cubicBezTo>
                <a:lnTo>
                  <a:pt x="9212005" y="6405705"/>
                </a:lnTo>
                <a:moveTo>
                  <a:pt x="10507361" y="6003632"/>
                </a:moveTo>
                <a:lnTo>
                  <a:pt x="9243879" y="5920832"/>
                </a:lnTo>
                <a:moveTo>
                  <a:pt x="10507361" y="6003632"/>
                </a:moveTo>
                <a:lnTo>
                  <a:pt x="11123456" y="6044043"/>
                </a:lnTo>
                <a:moveTo>
                  <a:pt x="10782701" y="2127677"/>
                </a:moveTo>
                <a:lnTo>
                  <a:pt x="12066887" y="2211845"/>
                </a:lnTo>
                <a:moveTo>
                  <a:pt x="10782701" y="2127677"/>
                </a:moveTo>
                <a:lnTo>
                  <a:pt x="9498529" y="2043493"/>
                </a:lnTo>
                <a:moveTo>
                  <a:pt x="10750841" y="2612582"/>
                </a:moveTo>
                <a:lnTo>
                  <a:pt x="10719029" y="3097016"/>
                </a:lnTo>
                <a:lnTo>
                  <a:pt x="9434859" y="3012832"/>
                </a:lnTo>
                <a:moveTo>
                  <a:pt x="10623563" y="4551244"/>
                </a:moveTo>
                <a:lnTo>
                  <a:pt x="10591752" y="5035661"/>
                </a:lnTo>
                <a:lnTo>
                  <a:pt x="9307550" y="4951493"/>
                </a:lnTo>
                <a:lnTo>
                  <a:pt x="9275706" y="5436398"/>
                </a:lnTo>
                <a:moveTo>
                  <a:pt x="10623563" y="4551244"/>
                </a:moveTo>
                <a:lnTo>
                  <a:pt x="10655390" y="4066339"/>
                </a:lnTo>
                <a:moveTo>
                  <a:pt x="10623563" y="4551244"/>
                </a:moveTo>
                <a:lnTo>
                  <a:pt x="9339392" y="4467060"/>
                </a:lnTo>
                <a:moveTo>
                  <a:pt x="10432504" y="7459228"/>
                </a:moveTo>
                <a:lnTo>
                  <a:pt x="10400662" y="7944132"/>
                </a:lnTo>
                <a:lnTo>
                  <a:pt x="9116475" y="7859949"/>
                </a:lnTo>
                <a:moveTo>
                  <a:pt x="5662142" y="1780254"/>
                </a:moveTo>
                <a:cubicBezTo>
                  <a:pt x="5661451" y="2001826"/>
                  <a:pt x="5657045" y="2068815"/>
                  <a:pt x="5658194" y="2262267"/>
                </a:cubicBezTo>
                <a:moveTo>
                  <a:pt x="5662142" y="1780254"/>
                </a:moveTo>
                <a:cubicBezTo>
                  <a:pt x="5366902" y="1715262"/>
                  <a:pt x="4894730" y="1114507"/>
                  <a:pt x="4402830" y="1082261"/>
                </a:cubicBezTo>
                <a:moveTo>
                  <a:pt x="5662142" y="1780254"/>
                </a:moveTo>
                <a:cubicBezTo>
                  <a:pt x="5753786" y="1805088"/>
                  <a:pt x="6336921" y="1836241"/>
                  <a:pt x="6479129" y="1845561"/>
                </a:cubicBezTo>
                <a:lnTo>
                  <a:pt x="6930187" y="1875142"/>
                </a:lnTo>
                <a:moveTo>
                  <a:pt x="5658194" y="2262267"/>
                </a:moveTo>
                <a:cubicBezTo>
                  <a:pt x="5209165" y="2055926"/>
                  <a:pt x="4912304" y="1707105"/>
                  <a:pt x="4366723" y="1631817"/>
                </a:cubicBezTo>
                <a:moveTo>
                  <a:pt x="5658194" y="2262267"/>
                </a:moveTo>
                <a:cubicBezTo>
                  <a:pt x="5740618" y="2281333"/>
                  <a:pt x="5827447" y="2289821"/>
                  <a:pt x="5911822" y="2295353"/>
                </a:cubicBezTo>
                <a:lnTo>
                  <a:pt x="6898297" y="2360015"/>
                </a:lnTo>
                <a:lnTo>
                  <a:pt x="6930156" y="1875126"/>
                </a:lnTo>
                <a:moveTo>
                  <a:pt x="5455005" y="4698958"/>
                </a:moveTo>
                <a:lnTo>
                  <a:pt x="5486817" y="4214524"/>
                </a:lnTo>
                <a:lnTo>
                  <a:pt x="6771003" y="4298708"/>
                </a:lnTo>
                <a:moveTo>
                  <a:pt x="5455005" y="4698958"/>
                </a:moveTo>
                <a:lnTo>
                  <a:pt x="6739176" y="4783142"/>
                </a:lnTo>
                <a:moveTo>
                  <a:pt x="5455005" y="4698958"/>
                </a:moveTo>
                <a:lnTo>
                  <a:pt x="5254428" y="4685802"/>
                </a:lnTo>
                <a:cubicBezTo>
                  <a:pt x="4865467" y="4660308"/>
                  <a:pt x="4587831" y="4887224"/>
                  <a:pt x="4154818" y="4858838"/>
                </a:cubicBezTo>
                <a:moveTo>
                  <a:pt x="5455005" y="4698958"/>
                </a:moveTo>
                <a:lnTo>
                  <a:pt x="5391335" y="5668281"/>
                </a:lnTo>
                <a:lnTo>
                  <a:pt x="4107179" y="5584097"/>
                </a:lnTo>
                <a:moveTo>
                  <a:pt x="5200355" y="8576736"/>
                </a:moveTo>
                <a:lnTo>
                  <a:pt x="5168543" y="9061169"/>
                </a:lnTo>
                <a:lnTo>
                  <a:pt x="3884356" y="8976986"/>
                </a:lnTo>
                <a:moveTo>
                  <a:pt x="5200355" y="8576736"/>
                </a:moveTo>
                <a:lnTo>
                  <a:pt x="5232197" y="8091847"/>
                </a:lnTo>
                <a:moveTo>
                  <a:pt x="5200355" y="8576736"/>
                </a:moveTo>
                <a:lnTo>
                  <a:pt x="3916184" y="8492568"/>
                </a:lnTo>
                <a:moveTo>
                  <a:pt x="5658225" y="2262283"/>
                </a:moveTo>
                <a:cubicBezTo>
                  <a:pt x="5658194" y="2449087"/>
                  <a:pt x="5652908" y="2602602"/>
                  <a:pt x="5637521" y="2763912"/>
                </a:cubicBezTo>
                <a:lnTo>
                  <a:pt x="6866517" y="2844465"/>
                </a:lnTo>
                <a:moveTo>
                  <a:pt x="5592415" y="3263937"/>
                </a:moveTo>
                <a:cubicBezTo>
                  <a:pt x="5613214" y="3060614"/>
                  <a:pt x="5631338" y="2930534"/>
                  <a:pt x="5637489" y="2763896"/>
                </a:cubicBezTo>
                <a:lnTo>
                  <a:pt x="4298128" y="2676113"/>
                </a:lnTo>
                <a:moveTo>
                  <a:pt x="5592415" y="3263937"/>
                </a:moveTo>
                <a:cubicBezTo>
                  <a:pt x="5579797" y="3456022"/>
                  <a:pt x="5550314" y="3580648"/>
                  <a:pt x="5533291" y="3742335"/>
                </a:cubicBezTo>
                <a:moveTo>
                  <a:pt x="5592415" y="3263937"/>
                </a:moveTo>
                <a:cubicBezTo>
                  <a:pt x="5662882" y="3261957"/>
                  <a:pt x="5679433" y="3253171"/>
                  <a:pt x="5848183" y="3264220"/>
                </a:cubicBezTo>
                <a:lnTo>
                  <a:pt x="6834674" y="3328898"/>
                </a:lnTo>
                <a:moveTo>
                  <a:pt x="5709640" y="821626"/>
                </a:moveTo>
                <a:lnTo>
                  <a:pt x="5677828" y="1306056"/>
                </a:lnTo>
                <a:lnTo>
                  <a:pt x="5622638" y="1302440"/>
                </a:lnTo>
                <a:cubicBezTo>
                  <a:pt x="5587616" y="1300143"/>
                  <a:pt x="5549244" y="1283984"/>
                  <a:pt x="5501527" y="1263917"/>
                </a:cubicBezTo>
                <a:cubicBezTo>
                  <a:pt x="5167678" y="1064647"/>
                  <a:pt x="4864665" y="809525"/>
                  <a:pt x="4424446" y="752908"/>
                </a:cubicBezTo>
                <a:moveTo>
                  <a:pt x="5709640" y="821626"/>
                </a:moveTo>
                <a:lnTo>
                  <a:pt x="5741483" y="336712"/>
                </a:lnTo>
                <a:moveTo>
                  <a:pt x="5709640" y="821626"/>
                </a:moveTo>
                <a:lnTo>
                  <a:pt x="5509063" y="808462"/>
                </a:lnTo>
                <a:cubicBezTo>
                  <a:pt x="5146092" y="784671"/>
                  <a:pt x="4841081" y="519528"/>
                  <a:pt x="4441500" y="493335"/>
                </a:cubicBezTo>
                <a:moveTo>
                  <a:pt x="5136715" y="9546074"/>
                </a:moveTo>
                <a:lnTo>
                  <a:pt x="5168575" y="9061169"/>
                </a:lnTo>
                <a:moveTo>
                  <a:pt x="5136715" y="9546074"/>
                </a:moveTo>
                <a:lnTo>
                  <a:pt x="6420871" y="9630242"/>
                </a:lnTo>
                <a:lnTo>
                  <a:pt x="6452730" y="9145353"/>
                </a:lnTo>
                <a:lnTo>
                  <a:pt x="7736885" y="9229521"/>
                </a:lnTo>
                <a:moveTo>
                  <a:pt x="5136715" y="9546074"/>
                </a:moveTo>
                <a:lnTo>
                  <a:pt x="3852544" y="9461890"/>
                </a:lnTo>
                <a:moveTo>
                  <a:pt x="5486801" y="4214981"/>
                </a:moveTo>
                <a:lnTo>
                  <a:pt x="5491773" y="4139080"/>
                </a:lnTo>
                <a:cubicBezTo>
                  <a:pt x="5493283" y="4116132"/>
                  <a:pt x="5495548" y="4089931"/>
                  <a:pt x="5497892" y="4062315"/>
                </a:cubicBezTo>
                <a:cubicBezTo>
                  <a:pt x="5510605" y="3957761"/>
                  <a:pt x="5519840" y="3817198"/>
                  <a:pt x="5533276" y="3742335"/>
                </a:cubicBezTo>
                <a:cubicBezTo>
                  <a:pt x="5084168" y="3869569"/>
                  <a:pt x="4743051" y="4283855"/>
                  <a:pt x="4193442" y="4269945"/>
                </a:cubicBezTo>
                <a:moveTo>
                  <a:pt x="5327633" y="6638091"/>
                </a:moveTo>
                <a:lnTo>
                  <a:pt x="5359476" y="6153186"/>
                </a:lnTo>
                <a:lnTo>
                  <a:pt x="6643678" y="6237369"/>
                </a:lnTo>
                <a:moveTo>
                  <a:pt x="5327633" y="6638091"/>
                </a:moveTo>
                <a:lnTo>
                  <a:pt x="5295821" y="7122508"/>
                </a:lnTo>
                <a:moveTo>
                  <a:pt x="5327633" y="6638091"/>
                </a:moveTo>
                <a:lnTo>
                  <a:pt x="6611819" y="6722259"/>
                </a:lnTo>
                <a:moveTo>
                  <a:pt x="5327633" y="6638091"/>
                </a:moveTo>
                <a:lnTo>
                  <a:pt x="4043446" y="6553891"/>
                </a:lnTo>
                <a:moveTo>
                  <a:pt x="5295821" y="7122508"/>
                </a:moveTo>
                <a:lnTo>
                  <a:pt x="4011634" y="7038325"/>
                </a:lnTo>
                <a:moveTo>
                  <a:pt x="5295821" y="7122508"/>
                </a:moveTo>
                <a:lnTo>
                  <a:pt x="6579992" y="7206692"/>
                </a:lnTo>
                <a:moveTo>
                  <a:pt x="5391303" y="5668281"/>
                </a:moveTo>
                <a:lnTo>
                  <a:pt x="5359460" y="6153186"/>
                </a:lnTo>
                <a:lnTo>
                  <a:pt x="4075304" y="6069002"/>
                </a:lnTo>
                <a:moveTo>
                  <a:pt x="5676774" y="1305997"/>
                </a:moveTo>
                <a:cubicBezTo>
                  <a:pt x="5669647" y="1463154"/>
                  <a:pt x="5653285" y="1622999"/>
                  <a:pt x="5661592" y="1780223"/>
                </a:cubicBezTo>
                <a:moveTo>
                  <a:pt x="5295774" y="7122508"/>
                </a:moveTo>
                <a:lnTo>
                  <a:pt x="5263931" y="7607414"/>
                </a:lnTo>
                <a:lnTo>
                  <a:pt x="3979775" y="7523230"/>
                </a:lnTo>
                <a:moveTo>
                  <a:pt x="1666131" y="3477068"/>
                </a:moveTo>
                <a:lnTo>
                  <a:pt x="1697943" y="2992651"/>
                </a:lnTo>
                <a:moveTo>
                  <a:pt x="1666131" y="3477068"/>
                </a:moveTo>
                <a:lnTo>
                  <a:pt x="1634272" y="3961989"/>
                </a:lnTo>
                <a:moveTo>
                  <a:pt x="1666131" y="3477068"/>
                </a:moveTo>
                <a:lnTo>
                  <a:pt x="381954" y="3392900"/>
                </a:lnTo>
                <a:moveTo>
                  <a:pt x="1666131" y="3477068"/>
                </a:moveTo>
                <a:lnTo>
                  <a:pt x="2652607" y="3541731"/>
                </a:lnTo>
                <a:cubicBezTo>
                  <a:pt x="2687093" y="3543994"/>
                  <a:pt x="2872724" y="3549574"/>
                  <a:pt x="2934679" y="3571987"/>
                </a:cubicBezTo>
                <a:moveTo>
                  <a:pt x="1697943" y="2992651"/>
                </a:moveTo>
                <a:lnTo>
                  <a:pt x="1729801" y="2507730"/>
                </a:lnTo>
                <a:moveTo>
                  <a:pt x="1697943" y="2992651"/>
                </a:moveTo>
                <a:lnTo>
                  <a:pt x="403160" y="2907760"/>
                </a:lnTo>
                <a:moveTo>
                  <a:pt x="1602492" y="4446422"/>
                </a:moveTo>
                <a:lnTo>
                  <a:pt x="1634304" y="3961989"/>
                </a:lnTo>
                <a:moveTo>
                  <a:pt x="1602492" y="4446422"/>
                </a:moveTo>
                <a:lnTo>
                  <a:pt x="2886663" y="4530606"/>
                </a:lnTo>
                <a:moveTo>
                  <a:pt x="1602492" y="4446422"/>
                </a:moveTo>
                <a:lnTo>
                  <a:pt x="318315" y="4362239"/>
                </a:lnTo>
                <a:moveTo>
                  <a:pt x="1347818" y="8324201"/>
                </a:moveTo>
                <a:lnTo>
                  <a:pt x="1379664" y="7839312"/>
                </a:lnTo>
                <a:moveTo>
                  <a:pt x="1347818" y="8324201"/>
                </a:moveTo>
                <a:lnTo>
                  <a:pt x="2631997" y="8408384"/>
                </a:lnTo>
                <a:lnTo>
                  <a:pt x="2663840" y="7923495"/>
                </a:lnTo>
                <a:moveTo>
                  <a:pt x="1347818" y="8324201"/>
                </a:moveTo>
                <a:lnTo>
                  <a:pt x="63640" y="8240033"/>
                </a:lnTo>
                <a:moveTo>
                  <a:pt x="1411411" y="7354878"/>
                </a:moveTo>
                <a:lnTo>
                  <a:pt x="1443258" y="6869973"/>
                </a:lnTo>
                <a:lnTo>
                  <a:pt x="2727447" y="6954157"/>
                </a:lnTo>
                <a:moveTo>
                  <a:pt x="1411411" y="7354878"/>
                </a:moveTo>
                <a:lnTo>
                  <a:pt x="1379615" y="7839312"/>
                </a:lnTo>
                <a:moveTo>
                  <a:pt x="1411411" y="7354878"/>
                </a:moveTo>
                <a:lnTo>
                  <a:pt x="127234" y="7270695"/>
                </a:lnTo>
                <a:moveTo>
                  <a:pt x="1793456" y="1538423"/>
                </a:moveTo>
                <a:lnTo>
                  <a:pt x="1825315" y="1053519"/>
                </a:lnTo>
                <a:moveTo>
                  <a:pt x="1793456" y="1538423"/>
                </a:moveTo>
                <a:lnTo>
                  <a:pt x="509285" y="1454241"/>
                </a:lnTo>
                <a:moveTo>
                  <a:pt x="1793456" y="1538423"/>
                </a:moveTo>
                <a:lnTo>
                  <a:pt x="2244530" y="1567988"/>
                </a:lnTo>
                <a:cubicBezTo>
                  <a:pt x="2787908" y="1603604"/>
                  <a:pt x="2932571" y="1632399"/>
                  <a:pt x="3063877" y="1613223"/>
                </a:cubicBezTo>
                <a:moveTo>
                  <a:pt x="1825315" y="1053519"/>
                </a:moveTo>
                <a:lnTo>
                  <a:pt x="1857095" y="569070"/>
                </a:lnTo>
                <a:moveTo>
                  <a:pt x="1825315" y="1053519"/>
                </a:moveTo>
                <a:lnTo>
                  <a:pt x="541117" y="969340"/>
                </a:lnTo>
                <a:moveTo>
                  <a:pt x="1315958" y="8808634"/>
                </a:moveTo>
                <a:lnTo>
                  <a:pt x="1284111" y="9293539"/>
                </a:lnTo>
                <a:lnTo>
                  <a:pt x="2568295" y="9377707"/>
                </a:lnTo>
                <a:moveTo>
                  <a:pt x="1538806" y="5415746"/>
                </a:moveTo>
                <a:lnTo>
                  <a:pt x="1570617" y="4931312"/>
                </a:lnTo>
                <a:moveTo>
                  <a:pt x="1538806" y="5415746"/>
                </a:moveTo>
                <a:lnTo>
                  <a:pt x="1506961" y="5900650"/>
                </a:lnTo>
                <a:moveTo>
                  <a:pt x="1538806" y="5415746"/>
                </a:moveTo>
                <a:lnTo>
                  <a:pt x="254622" y="5331577"/>
                </a:lnTo>
                <a:moveTo>
                  <a:pt x="1570617" y="4931312"/>
                </a:moveTo>
                <a:lnTo>
                  <a:pt x="1602461" y="4446407"/>
                </a:lnTo>
                <a:moveTo>
                  <a:pt x="1570617" y="4931312"/>
                </a:moveTo>
                <a:lnTo>
                  <a:pt x="286431" y="4847128"/>
                </a:lnTo>
                <a:moveTo>
                  <a:pt x="1729786" y="2507761"/>
                </a:moveTo>
                <a:lnTo>
                  <a:pt x="1761597" y="2023328"/>
                </a:lnTo>
                <a:cubicBezTo>
                  <a:pt x="1979166" y="2037584"/>
                  <a:pt x="2196718" y="2051840"/>
                  <a:pt x="2414287" y="2066111"/>
                </a:cubicBezTo>
                <a:cubicBezTo>
                  <a:pt x="2523063" y="2073247"/>
                  <a:pt x="2631855" y="2080367"/>
                  <a:pt x="2740663" y="2087031"/>
                </a:cubicBezTo>
                <a:cubicBezTo>
                  <a:pt x="2822914" y="2092423"/>
                  <a:pt x="2923603" y="2109382"/>
                  <a:pt x="3004360" y="2088776"/>
                </a:cubicBezTo>
                <a:moveTo>
                  <a:pt x="1729786" y="2507761"/>
                </a:moveTo>
                <a:lnTo>
                  <a:pt x="2958782" y="2588330"/>
                </a:lnTo>
                <a:moveTo>
                  <a:pt x="1729786" y="2507761"/>
                </a:moveTo>
                <a:lnTo>
                  <a:pt x="434989" y="2422886"/>
                </a:lnTo>
                <a:moveTo>
                  <a:pt x="1475135" y="6385540"/>
                </a:moveTo>
                <a:lnTo>
                  <a:pt x="1443319" y="6869973"/>
                </a:lnTo>
                <a:lnTo>
                  <a:pt x="159142" y="6785789"/>
                </a:lnTo>
                <a:moveTo>
                  <a:pt x="1475135" y="6385540"/>
                </a:moveTo>
                <a:lnTo>
                  <a:pt x="1506961" y="5900650"/>
                </a:lnTo>
                <a:moveTo>
                  <a:pt x="1475135" y="6385540"/>
                </a:moveTo>
                <a:lnTo>
                  <a:pt x="190938" y="6301372"/>
                </a:lnTo>
                <a:moveTo>
                  <a:pt x="1857095" y="569070"/>
                </a:moveTo>
                <a:lnTo>
                  <a:pt x="1888954" y="84169"/>
                </a:lnTo>
                <a:moveTo>
                  <a:pt x="1857095" y="569070"/>
                </a:moveTo>
                <a:lnTo>
                  <a:pt x="3141266" y="653251"/>
                </a:lnTo>
                <a:lnTo>
                  <a:pt x="3173109" y="168350"/>
                </a:lnTo>
                <a:moveTo>
                  <a:pt x="1857095" y="569070"/>
                </a:moveTo>
                <a:lnTo>
                  <a:pt x="572924" y="484891"/>
                </a:lnTo>
                <a:moveTo>
                  <a:pt x="1379615" y="7839312"/>
                </a:moveTo>
                <a:lnTo>
                  <a:pt x="95437" y="7755128"/>
                </a:lnTo>
                <a:moveTo>
                  <a:pt x="1379615" y="7839312"/>
                </a:moveTo>
                <a:lnTo>
                  <a:pt x="2663793" y="7923495"/>
                </a:lnTo>
                <a:moveTo>
                  <a:pt x="1634272" y="3961989"/>
                </a:moveTo>
                <a:lnTo>
                  <a:pt x="2918475" y="4046173"/>
                </a:lnTo>
                <a:moveTo>
                  <a:pt x="1634272" y="3961989"/>
                </a:moveTo>
                <a:lnTo>
                  <a:pt x="350101" y="3877805"/>
                </a:lnTo>
                <a:moveTo>
                  <a:pt x="1506961" y="5900650"/>
                </a:moveTo>
                <a:lnTo>
                  <a:pt x="222779" y="5816467"/>
                </a:lnTo>
                <a:moveTo>
                  <a:pt x="1506961" y="5900650"/>
                </a:moveTo>
                <a:lnTo>
                  <a:pt x="2791118" y="5984834"/>
                </a:lnTo>
                <a:moveTo>
                  <a:pt x="1793441" y="1538407"/>
                </a:moveTo>
                <a:lnTo>
                  <a:pt x="1761597" y="2023296"/>
                </a:lnTo>
                <a:lnTo>
                  <a:pt x="477423" y="1939128"/>
                </a:lnTo>
                <a:moveTo>
                  <a:pt x="1347747" y="8324185"/>
                </a:moveTo>
                <a:lnTo>
                  <a:pt x="1315932" y="8808618"/>
                </a:lnTo>
                <a:lnTo>
                  <a:pt x="31754" y="8724434"/>
                </a:lnTo>
                <a:moveTo>
                  <a:pt x="2918475" y="4046173"/>
                </a:moveTo>
                <a:lnTo>
                  <a:pt x="2886663" y="4530606"/>
                </a:lnTo>
                <a:moveTo>
                  <a:pt x="2918475" y="4046173"/>
                </a:moveTo>
                <a:lnTo>
                  <a:pt x="2923446" y="3970272"/>
                </a:lnTo>
                <a:cubicBezTo>
                  <a:pt x="2936268" y="3774918"/>
                  <a:pt x="2932414" y="3696062"/>
                  <a:pt x="2934176" y="3571956"/>
                </a:cubicBezTo>
                <a:moveTo>
                  <a:pt x="2886663" y="4530606"/>
                </a:moveTo>
                <a:lnTo>
                  <a:pt x="3087240" y="4543731"/>
                </a:lnTo>
                <a:cubicBezTo>
                  <a:pt x="3444909" y="4575182"/>
                  <a:pt x="3702171" y="4829179"/>
                  <a:pt x="4154818" y="4858838"/>
                </a:cubicBezTo>
                <a:moveTo>
                  <a:pt x="2958782" y="2588330"/>
                </a:moveTo>
                <a:cubicBezTo>
                  <a:pt x="2969276" y="2428560"/>
                  <a:pt x="2978479" y="2288484"/>
                  <a:pt x="3003841" y="2088289"/>
                </a:cubicBezTo>
                <a:cubicBezTo>
                  <a:pt x="3030382" y="1960174"/>
                  <a:pt x="3042701" y="1772757"/>
                  <a:pt x="3062980" y="1609875"/>
                </a:cubicBezTo>
                <a:moveTo>
                  <a:pt x="2958782" y="2588330"/>
                </a:moveTo>
                <a:cubicBezTo>
                  <a:pt x="2949578" y="2728406"/>
                  <a:pt x="2947659" y="2895295"/>
                  <a:pt x="2938062" y="3089943"/>
                </a:cubicBezTo>
                <a:cubicBezTo>
                  <a:pt x="3368746" y="3299789"/>
                  <a:pt x="3715591" y="3698954"/>
                  <a:pt x="4229533" y="3720409"/>
                </a:cubicBezTo>
                <a:lnTo>
                  <a:pt x="4298128" y="2676113"/>
                </a:lnTo>
                <a:moveTo>
                  <a:pt x="2958782" y="2588330"/>
                </a:moveTo>
                <a:lnTo>
                  <a:pt x="4298128" y="2676113"/>
                </a:lnTo>
                <a:moveTo>
                  <a:pt x="3141329" y="653273"/>
                </a:moveTo>
                <a:lnTo>
                  <a:pt x="3109502" y="1137705"/>
                </a:lnTo>
                <a:moveTo>
                  <a:pt x="3109502" y="1137705"/>
                </a:moveTo>
                <a:cubicBezTo>
                  <a:pt x="3109502" y="1137705"/>
                  <a:pt x="3091236" y="1415528"/>
                  <a:pt x="3063043" y="1609891"/>
                </a:cubicBezTo>
                <a:cubicBezTo>
                  <a:pt x="3310976" y="1583784"/>
                  <a:pt x="3894456" y="1048938"/>
                  <a:pt x="4402830" y="1082261"/>
                </a:cubicBezTo>
                <a:moveTo>
                  <a:pt x="3109502" y="1137705"/>
                </a:moveTo>
                <a:lnTo>
                  <a:pt x="1825331" y="1053526"/>
                </a:lnTo>
                <a:moveTo>
                  <a:pt x="2938125" y="3089943"/>
                </a:moveTo>
                <a:cubicBezTo>
                  <a:pt x="2947360" y="3225115"/>
                  <a:pt x="2935057" y="3412516"/>
                  <a:pt x="2934176" y="3571956"/>
                </a:cubicBezTo>
                <a:moveTo>
                  <a:pt x="2934176" y="3571956"/>
                </a:moveTo>
                <a:cubicBezTo>
                  <a:pt x="3410281" y="3796089"/>
                  <a:pt x="3681781" y="4214289"/>
                  <a:pt x="4193489" y="4269945"/>
                </a:cubicBezTo>
                <a:lnTo>
                  <a:pt x="4229580" y="3720393"/>
                </a:lnTo>
                <a:moveTo>
                  <a:pt x="2854836" y="5015496"/>
                </a:moveTo>
                <a:lnTo>
                  <a:pt x="2823024" y="5499929"/>
                </a:lnTo>
                <a:moveTo>
                  <a:pt x="2854836" y="5015496"/>
                </a:moveTo>
                <a:lnTo>
                  <a:pt x="2886695" y="4530606"/>
                </a:lnTo>
                <a:moveTo>
                  <a:pt x="2854836" y="5015496"/>
                </a:moveTo>
                <a:lnTo>
                  <a:pt x="1570665" y="4931328"/>
                </a:lnTo>
                <a:moveTo>
                  <a:pt x="2823024" y="5499929"/>
                </a:moveTo>
                <a:lnTo>
                  <a:pt x="4107179" y="5584097"/>
                </a:lnTo>
                <a:moveTo>
                  <a:pt x="2823024" y="5499929"/>
                </a:moveTo>
                <a:lnTo>
                  <a:pt x="1538853" y="5415746"/>
                </a:lnTo>
                <a:moveTo>
                  <a:pt x="2663793" y="7923495"/>
                </a:moveTo>
                <a:lnTo>
                  <a:pt x="2695604" y="7439062"/>
                </a:lnTo>
                <a:lnTo>
                  <a:pt x="3979775" y="7523230"/>
                </a:lnTo>
                <a:moveTo>
                  <a:pt x="2663793" y="7923495"/>
                </a:moveTo>
                <a:lnTo>
                  <a:pt x="3947948" y="8007663"/>
                </a:lnTo>
                <a:lnTo>
                  <a:pt x="3979775" y="7523230"/>
                </a:lnTo>
                <a:moveTo>
                  <a:pt x="2568295" y="9377707"/>
                </a:moveTo>
                <a:lnTo>
                  <a:pt x="2600138" y="8892802"/>
                </a:lnTo>
                <a:lnTo>
                  <a:pt x="3884340" y="8976986"/>
                </a:lnTo>
                <a:lnTo>
                  <a:pt x="3916152" y="8492552"/>
                </a:lnTo>
                <a:moveTo>
                  <a:pt x="2568295" y="9377707"/>
                </a:moveTo>
                <a:lnTo>
                  <a:pt x="3852450" y="9461875"/>
                </a:lnTo>
                <a:lnTo>
                  <a:pt x="3884293" y="8976986"/>
                </a:lnTo>
                <a:moveTo>
                  <a:pt x="2822961" y="5499929"/>
                </a:moveTo>
                <a:lnTo>
                  <a:pt x="2791118" y="5984834"/>
                </a:lnTo>
                <a:moveTo>
                  <a:pt x="2791118" y="5984834"/>
                </a:moveTo>
                <a:lnTo>
                  <a:pt x="2759275" y="6469723"/>
                </a:lnTo>
                <a:moveTo>
                  <a:pt x="2791118" y="5984834"/>
                </a:moveTo>
                <a:lnTo>
                  <a:pt x="4075304" y="6069002"/>
                </a:lnTo>
                <a:moveTo>
                  <a:pt x="2759275" y="6469723"/>
                </a:moveTo>
                <a:lnTo>
                  <a:pt x="2727447" y="6954157"/>
                </a:lnTo>
                <a:moveTo>
                  <a:pt x="2759275" y="6469723"/>
                </a:moveTo>
                <a:lnTo>
                  <a:pt x="1475099" y="6385555"/>
                </a:lnTo>
                <a:moveTo>
                  <a:pt x="2759275" y="6469723"/>
                </a:moveTo>
                <a:lnTo>
                  <a:pt x="4043446" y="6553891"/>
                </a:lnTo>
                <a:moveTo>
                  <a:pt x="2727479" y="6954157"/>
                </a:moveTo>
                <a:lnTo>
                  <a:pt x="2695636" y="7439062"/>
                </a:lnTo>
                <a:lnTo>
                  <a:pt x="1411460" y="7354878"/>
                </a:lnTo>
                <a:moveTo>
                  <a:pt x="2727447" y="6954157"/>
                </a:moveTo>
                <a:lnTo>
                  <a:pt x="4011634" y="7038325"/>
                </a:lnTo>
                <a:moveTo>
                  <a:pt x="4298128" y="2676113"/>
                </a:moveTo>
                <a:lnTo>
                  <a:pt x="4366723" y="1631817"/>
                </a:lnTo>
                <a:moveTo>
                  <a:pt x="4043446" y="6553891"/>
                </a:moveTo>
                <a:lnTo>
                  <a:pt x="4011634" y="7038325"/>
                </a:lnTo>
                <a:moveTo>
                  <a:pt x="4043446" y="6553891"/>
                </a:moveTo>
                <a:lnTo>
                  <a:pt x="4075304" y="6069002"/>
                </a:lnTo>
                <a:moveTo>
                  <a:pt x="4011634" y="7038325"/>
                </a:moveTo>
                <a:lnTo>
                  <a:pt x="3979775" y="7523230"/>
                </a:lnTo>
                <a:moveTo>
                  <a:pt x="4457312" y="252523"/>
                </a:moveTo>
                <a:lnTo>
                  <a:pt x="4441500" y="493335"/>
                </a:lnTo>
                <a:moveTo>
                  <a:pt x="4441500" y="493335"/>
                </a:moveTo>
                <a:cubicBezTo>
                  <a:pt x="3970288" y="462446"/>
                  <a:pt x="3762176" y="693947"/>
                  <a:pt x="3341890" y="666397"/>
                </a:cubicBezTo>
                <a:lnTo>
                  <a:pt x="3141314" y="653248"/>
                </a:lnTo>
                <a:moveTo>
                  <a:pt x="4193505" y="4269945"/>
                </a:moveTo>
                <a:lnTo>
                  <a:pt x="4171904" y="4598837"/>
                </a:lnTo>
                <a:moveTo>
                  <a:pt x="4402830" y="1082261"/>
                </a:moveTo>
                <a:lnTo>
                  <a:pt x="4424415" y="753372"/>
                </a:lnTo>
                <a:cubicBezTo>
                  <a:pt x="4004680" y="725857"/>
                  <a:pt x="3684204" y="972102"/>
                  <a:pt x="3289752" y="1119395"/>
                </a:cubicBezTo>
                <a:cubicBezTo>
                  <a:pt x="3220355" y="1145431"/>
                  <a:pt x="3109439" y="1138162"/>
                  <a:pt x="3109439" y="1138162"/>
                </a:cubicBezTo>
                <a:moveTo>
                  <a:pt x="4366723" y="1631817"/>
                </a:moveTo>
                <a:cubicBezTo>
                  <a:pt x="3854086" y="1590684"/>
                  <a:pt x="3461082" y="1894286"/>
                  <a:pt x="3003872" y="2088273"/>
                </a:cubicBezTo>
                <a:moveTo>
                  <a:pt x="4402766" y="1082272"/>
                </a:moveTo>
                <a:lnTo>
                  <a:pt x="4366676" y="1631817"/>
                </a:lnTo>
                <a:moveTo>
                  <a:pt x="4107148" y="5584097"/>
                </a:moveTo>
                <a:lnTo>
                  <a:pt x="4075304" y="6069002"/>
                </a:lnTo>
                <a:moveTo>
                  <a:pt x="4136254" y="5141363"/>
                </a:moveTo>
                <a:lnTo>
                  <a:pt x="4107179" y="5584097"/>
                </a:lnTo>
                <a:moveTo>
                  <a:pt x="4136254" y="5141363"/>
                </a:moveTo>
                <a:lnTo>
                  <a:pt x="4154818" y="4858838"/>
                </a:lnTo>
                <a:moveTo>
                  <a:pt x="4136254" y="5141363"/>
                </a:moveTo>
                <a:cubicBezTo>
                  <a:pt x="4432360" y="5160774"/>
                  <a:pt x="4743963" y="5139303"/>
                  <a:pt x="4901023" y="5149598"/>
                </a:cubicBezTo>
                <a:lnTo>
                  <a:pt x="5423193" y="5183816"/>
                </a:lnTo>
                <a:moveTo>
                  <a:pt x="4136254" y="5141363"/>
                </a:moveTo>
                <a:cubicBezTo>
                  <a:pt x="3793987" y="5118934"/>
                  <a:pt x="3618063" y="5071136"/>
                  <a:pt x="3509586" y="5059317"/>
                </a:cubicBezTo>
                <a:cubicBezTo>
                  <a:pt x="3292143" y="5035174"/>
                  <a:pt x="3072923" y="5029751"/>
                  <a:pt x="2854836" y="5015464"/>
                </a:cubicBezTo>
                <a:moveTo>
                  <a:pt x="3948026" y="8007663"/>
                </a:moveTo>
                <a:lnTo>
                  <a:pt x="3916184" y="8492568"/>
                </a:lnTo>
                <a:moveTo>
                  <a:pt x="3916184" y="8492568"/>
                </a:moveTo>
                <a:lnTo>
                  <a:pt x="2632012" y="8408369"/>
                </a:lnTo>
                <a:lnTo>
                  <a:pt x="2600201" y="8892802"/>
                </a:lnTo>
                <a:lnTo>
                  <a:pt x="1316024" y="8808634"/>
                </a:lnTo>
                <a:moveTo>
                  <a:pt x="4154818" y="4858838"/>
                </a:moveTo>
                <a:lnTo>
                  <a:pt x="4171888" y="4598837"/>
                </a:lnTo>
                <a:moveTo>
                  <a:pt x="4441469" y="493350"/>
                </a:moveTo>
                <a:lnTo>
                  <a:pt x="4424383" y="753369"/>
                </a:lnTo>
                <a:moveTo>
                  <a:pt x="4171888" y="4598837"/>
                </a:moveTo>
                <a:cubicBezTo>
                  <a:pt x="4665409" y="4655184"/>
                  <a:pt x="5160991" y="4193149"/>
                  <a:pt x="5486817" y="4214493"/>
                </a:cubicBezTo>
                <a:moveTo>
                  <a:pt x="4171888" y="4598837"/>
                </a:moveTo>
                <a:cubicBezTo>
                  <a:pt x="3763308" y="4596055"/>
                  <a:pt x="3251726" y="4067989"/>
                  <a:pt x="2918475" y="4046141"/>
                </a:cubicBezTo>
                <a:moveTo>
                  <a:pt x="6516337" y="8176030"/>
                </a:moveTo>
                <a:lnTo>
                  <a:pt x="6484494" y="8660920"/>
                </a:lnTo>
                <a:lnTo>
                  <a:pt x="5200323" y="8576751"/>
                </a:lnTo>
                <a:moveTo>
                  <a:pt x="6516337" y="8176030"/>
                </a:moveTo>
                <a:lnTo>
                  <a:pt x="6548180" y="7691597"/>
                </a:lnTo>
                <a:lnTo>
                  <a:pt x="7832335" y="7775781"/>
                </a:lnTo>
                <a:moveTo>
                  <a:pt x="6516337" y="8176030"/>
                </a:moveTo>
                <a:lnTo>
                  <a:pt x="5232182" y="8091847"/>
                </a:lnTo>
                <a:moveTo>
                  <a:pt x="6516337" y="8176030"/>
                </a:moveTo>
                <a:lnTo>
                  <a:pt x="7800540" y="8260199"/>
                </a:lnTo>
                <a:moveTo>
                  <a:pt x="6484447" y="8660904"/>
                </a:moveTo>
                <a:lnTo>
                  <a:pt x="6452635" y="9145338"/>
                </a:lnTo>
                <a:lnTo>
                  <a:pt x="5168449" y="9061154"/>
                </a:lnTo>
                <a:moveTo>
                  <a:pt x="6707364" y="5268031"/>
                </a:moveTo>
                <a:lnTo>
                  <a:pt x="6675537" y="5752465"/>
                </a:lnTo>
                <a:moveTo>
                  <a:pt x="6675537" y="5752465"/>
                </a:moveTo>
                <a:lnTo>
                  <a:pt x="6643678" y="6237369"/>
                </a:lnTo>
                <a:moveTo>
                  <a:pt x="6675537" y="5752465"/>
                </a:moveTo>
                <a:lnTo>
                  <a:pt x="7959724" y="5836648"/>
                </a:lnTo>
                <a:moveTo>
                  <a:pt x="6675537" y="5752465"/>
                </a:moveTo>
                <a:lnTo>
                  <a:pt x="5391366" y="5668297"/>
                </a:lnTo>
                <a:moveTo>
                  <a:pt x="6739145" y="4783126"/>
                </a:moveTo>
                <a:lnTo>
                  <a:pt x="6707301" y="5268031"/>
                </a:lnTo>
                <a:lnTo>
                  <a:pt x="5423115" y="5183847"/>
                </a:lnTo>
                <a:moveTo>
                  <a:pt x="6771003" y="4298708"/>
                </a:moveTo>
                <a:lnTo>
                  <a:pt x="6802846" y="3813819"/>
                </a:lnTo>
                <a:lnTo>
                  <a:pt x="8087017" y="3897971"/>
                </a:lnTo>
                <a:lnTo>
                  <a:pt x="8118845" y="3413538"/>
                </a:lnTo>
                <a:moveTo>
                  <a:pt x="6771003" y="4298708"/>
                </a:moveTo>
                <a:lnTo>
                  <a:pt x="6739176" y="4783142"/>
                </a:lnTo>
                <a:moveTo>
                  <a:pt x="6962031" y="1390234"/>
                </a:moveTo>
                <a:lnTo>
                  <a:pt x="6930187" y="1875142"/>
                </a:lnTo>
                <a:moveTo>
                  <a:pt x="6962031" y="1390234"/>
                </a:moveTo>
                <a:lnTo>
                  <a:pt x="6993842" y="905794"/>
                </a:lnTo>
                <a:moveTo>
                  <a:pt x="6962031" y="1390234"/>
                </a:moveTo>
                <a:lnTo>
                  <a:pt x="5677875" y="1306052"/>
                </a:lnTo>
                <a:moveTo>
                  <a:pt x="6962031" y="1390234"/>
                </a:moveTo>
                <a:lnTo>
                  <a:pt x="8246217" y="1474414"/>
                </a:lnTo>
                <a:moveTo>
                  <a:pt x="6930187" y="1875142"/>
                </a:moveTo>
                <a:lnTo>
                  <a:pt x="8214374" y="1959310"/>
                </a:lnTo>
                <a:lnTo>
                  <a:pt x="8246217" y="1474414"/>
                </a:lnTo>
                <a:moveTo>
                  <a:pt x="7025685" y="420894"/>
                </a:moveTo>
                <a:lnTo>
                  <a:pt x="6993842" y="905794"/>
                </a:lnTo>
                <a:moveTo>
                  <a:pt x="6993842" y="905794"/>
                </a:moveTo>
                <a:lnTo>
                  <a:pt x="5709671" y="821615"/>
                </a:lnTo>
                <a:moveTo>
                  <a:pt x="6993842" y="905794"/>
                </a:moveTo>
                <a:lnTo>
                  <a:pt x="8278013" y="989967"/>
                </a:lnTo>
                <a:lnTo>
                  <a:pt x="8309856" y="505066"/>
                </a:lnTo>
                <a:moveTo>
                  <a:pt x="6739176" y="4783142"/>
                </a:moveTo>
                <a:lnTo>
                  <a:pt x="8023347" y="4867310"/>
                </a:lnTo>
                <a:moveTo>
                  <a:pt x="6611819" y="6722259"/>
                </a:moveTo>
                <a:lnTo>
                  <a:pt x="6579992" y="7206692"/>
                </a:lnTo>
                <a:moveTo>
                  <a:pt x="6611819" y="6722259"/>
                </a:moveTo>
                <a:lnTo>
                  <a:pt x="6643647" y="6237369"/>
                </a:lnTo>
                <a:moveTo>
                  <a:pt x="6611819" y="6722259"/>
                </a:moveTo>
                <a:lnTo>
                  <a:pt x="7895990" y="6806442"/>
                </a:lnTo>
                <a:moveTo>
                  <a:pt x="6579992" y="7206692"/>
                </a:moveTo>
                <a:lnTo>
                  <a:pt x="6548133" y="7691613"/>
                </a:lnTo>
                <a:lnTo>
                  <a:pt x="5263978" y="7607414"/>
                </a:lnTo>
                <a:lnTo>
                  <a:pt x="5232150" y="8091847"/>
                </a:lnTo>
                <a:lnTo>
                  <a:pt x="3947979" y="8007663"/>
                </a:lnTo>
                <a:moveTo>
                  <a:pt x="6643678" y="6237369"/>
                </a:moveTo>
                <a:lnTo>
                  <a:pt x="7927849" y="6321553"/>
                </a:lnTo>
                <a:moveTo>
                  <a:pt x="6898344" y="2360031"/>
                </a:moveTo>
                <a:lnTo>
                  <a:pt x="6866517" y="2844465"/>
                </a:lnTo>
                <a:moveTo>
                  <a:pt x="6866517" y="2844465"/>
                </a:moveTo>
                <a:lnTo>
                  <a:pt x="8150688" y="2928648"/>
                </a:lnTo>
                <a:moveTo>
                  <a:pt x="6866517" y="2844465"/>
                </a:moveTo>
                <a:lnTo>
                  <a:pt x="6802862" y="3813787"/>
                </a:lnTo>
                <a:moveTo>
                  <a:pt x="7832335" y="7775781"/>
                </a:moveTo>
                <a:lnTo>
                  <a:pt x="7864178" y="7290876"/>
                </a:lnTo>
                <a:moveTo>
                  <a:pt x="7832335" y="7775781"/>
                </a:moveTo>
                <a:lnTo>
                  <a:pt x="7800540" y="8260199"/>
                </a:lnTo>
                <a:moveTo>
                  <a:pt x="7832335" y="7775781"/>
                </a:moveTo>
                <a:lnTo>
                  <a:pt x="9116522" y="7859965"/>
                </a:lnTo>
                <a:moveTo>
                  <a:pt x="7864178" y="7290876"/>
                </a:moveTo>
                <a:lnTo>
                  <a:pt x="7895990" y="6806442"/>
                </a:lnTo>
                <a:moveTo>
                  <a:pt x="7864178" y="7290876"/>
                </a:moveTo>
                <a:lnTo>
                  <a:pt x="6580023" y="7206692"/>
                </a:lnTo>
                <a:moveTo>
                  <a:pt x="7864178" y="7290876"/>
                </a:moveTo>
                <a:lnTo>
                  <a:pt x="9148365" y="7375028"/>
                </a:lnTo>
                <a:lnTo>
                  <a:pt x="9180177" y="6890626"/>
                </a:lnTo>
                <a:moveTo>
                  <a:pt x="8023347" y="4867310"/>
                </a:moveTo>
                <a:lnTo>
                  <a:pt x="7991504" y="5352199"/>
                </a:lnTo>
                <a:lnTo>
                  <a:pt x="6707317" y="5268031"/>
                </a:lnTo>
                <a:moveTo>
                  <a:pt x="8023347" y="4867310"/>
                </a:moveTo>
                <a:lnTo>
                  <a:pt x="8055159" y="4382892"/>
                </a:lnTo>
                <a:moveTo>
                  <a:pt x="8023347" y="4867310"/>
                </a:moveTo>
                <a:lnTo>
                  <a:pt x="9307518" y="4951493"/>
                </a:lnTo>
                <a:lnTo>
                  <a:pt x="9339345" y="4467060"/>
                </a:lnTo>
                <a:moveTo>
                  <a:pt x="8150735" y="2928633"/>
                </a:moveTo>
                <a:lnTo>
                  <a:pt x="8118892" y="3413522"/>
                </a:lnTo>
                <a:moveTo>
                  <a:pt x="8118892" y="3413522"/>
                </a:moveTo>
                <a:lnTo>
                  <a:pt x="6834705" y="3329354"/>
                </a:lnTo>
                <a:moveTo>
                  <a:pt x="8118892" y="3413522"/>
                </a:moveTo>
                <a:lnTo>
                  <a:pt x="9403063" y="3497721"/>
                </a:lnTo>
                <a:moveTo>
                  <a:pt x="7927849" y="6321553"/>
                </a:moveTo>
                <a:lnTo>
                  <a:pt x="7895990" y="6806442"/>
                </a:lnTo>
                <a:moveTo>
                  <a:pt x="7927849" y="6321553"/>
                </a:moveTo>
                <a:lnTo>
                  <a:pt x="7959692" y="5836632"/>
                </a:lnTo>
                <a:moveTo>
                  <a:pt x="7895990" y="6806442"/>
                </a:moveTo>
                <a:lnTo>
                  <a:pt x="9180177" y="6890626"/>
                </a:lnTo>
                <a:moveTo>
                  <a:pt x="7736885" y="9229521"/>
                </a:moveTo>
                <a:lnTo>
                  <a:pt x="7705010" y="9714426"/>
                </a:lnTo>
                <a:moveTo>
                  <a:pt x="7736885" y="9229521"/>
                </a:moveTo>
                <a:lnTo>
                  <a:pt x="9021040" y="9313690"/>
                </a:lnTo>
                <a:moveTo>
                  <a:pt x="7736885" y="9229521"/>
                </a:moveTo>
                <a:lnTo>
                  <a:pt x="7800540" y="8260199"/>
                </a:lnTo>
                <a:moveTo>
                  <a:pt x="8087049" y="3897987"/>
                </a:moveTo>
                <a:lnTo>
                  <a:pt x="8055206" y="4382892"/>
                </a:lnTo>
                <a:moveTo>
                  <a:pt x="8055206" y="4382892"/>
                </a:moveTo>
                <a:lnTo>
                  <a:pt x="6771019" y="4298708"/>
                </a:lnTo>
                <a:moveTo>
                  <a:pt x="8055206" y="4382892"/>
                </a:moveTo>
                <a:lnTo>
                  <a:pt x="9339392" y="4467060"/>
                </a:lnTo>
                <a:moveTo>
                  <a:pt x="7959724" y="5836648"/>
                </a:moveTo>
                <a:lnTo>
                  <a:pt x="7991535" y="5352214"/>
                </a:lnTo>
                <a:lnTo>
                  <a:pt x="9275706" y="5436398"/>
                </a:lnTo>
                <a:moveTo>
                  <a:pt x="7959724" y="5836648"/>
                </a:moveTo>
                <a:lnTo>
                  <a:pt x="9243879" y="5920832"/>
                </a:lnTo>
                <a:moveTo>
                  <a:pt x="7705010" y="9714426"/>
                </a:moveTo>
                <a:lnTo>
                  <a:pt x="6420839" y="9630242"/>
                </a:lnTo>
                <a:moveTo>
                  <a:pt x="7705010" y="9714426"/>
                </a:moveTo>
                <a:lnTo>
                  <a:pt x="8989196" y="9798594"/>
                </a:lnTo>
                <a:lnTo>
                  <a:pt x="9021040" y="9313690"/>
                </a:lnTo>
                <a:moveTo>
                  <a:pt x="8246217" y="1474414"/>
                </a:moveTo>
                <a:lnTo>
                  <a:pt x="8278029" y="989981"/>
                </a:lnTo>
                <a:lnTo>
                  <a:pt x="9562184" y="1074155"/>
                </a:lnTo>
                <a:moveTo>
                  <a:pt x="7800540" y="8260199"/>
                </a:moveTo>
                <a:lnTo>
                  <a:pt x="9084726" y="8344382"/>
                </a:lnTo>
                <a:moveTo>
                  <a:pt x="8182500" y="2444199"/>
                </a:moveTo>
                <a:lnTo>
                  <a:pt x="8214343" y="1959294"/>
                </a:lnTo>
                <a:lnTo>
                  <a:pt x="9498529" y="2043493"/>
                </a:lnTo>
                <a:moveTo>
                  <a:pt x="8182500" y="2444199"/>
                </a:moveTo>
                <a:lnTo>
                  <a:pt x="8150688" y="2928648"/>
                </a:lnTo>
                <a:moveTo>
                  <a:pt x="8182500" y="2444199"/>
                </a:moveTo>
                <a:lnTo>
                  <a:pt x="9466686" y="2528399"/>
                </a:lnTo>
                <a:moveTo>
                  <a:pt x="8182500" y="2444199"/>
                </a:moveTo>
                <a:lnTo>
                  <a:pt x="6898329" y="2360015"/>
                </a:lnTo>
                <a:moveTo>
                  <a:pt x="8150688" y="2928648"/>
                </a:moveTo>
                <a:lnTo>
                  <a:pt x="9434859" y="3012832"/>
                </a:lnTo>
                <a:moveTo>
                  <a:pt x="9275706" y="5436398"/>
                </a:moveTo>
                <a:lnTo>
                  <a:pt x="9243879" y="5920832"/>
                </a:lnTo>
                <a:moveTo>
                  <a:pt x="9243879" y="5920832"/>
                </a:moveTo>
                <a:lnTo>
                  <a:pt x="9212035" y="6405721"/>
                </a:lnTo>
                <a:moveTo>
                  <a:pt x="9212035" y="6405721"/>
                </a:moveTo>
                <a:lnTo>
                  <a:pt x="9180177" y="6890626"/>
                </a:lnTo>
                <a:moveTo>
                  <a:pt x="9212035" y="6405721"/>
                </a:moveTo>
                <a:lnTo>
                  <a:pt x="7927865" y="6321538"/>
                </a:lnTo>
                <a:moveTo>
                  <a:pt x="9371235" y="3982171"/>
                </a:moveTo>
                <a:lnTo>
                  <a:pt x="9339392" y="4467060"/>
                </a:lnTo>
                <a:moveTo>
                  <a:pt x="9562184" y="1074155"/>
                </a:moveTo>
                <a:lnTo>
                  <a:pt x="9530372" y="1558589"/>
                </a:lnTo>
                <a:moveTo>
                  <a:pt x="9562184" y="1074155"/>
                </a:moveTo>
                <a:lnTo>
                  <a:pt x="9594027" y="589247"/>
                </a:lnTo>
                <a:moveTo>
                  <a:pt x="9530372" y="1558589"/>
                </a:moveTo>
                <a:lnTo>
                  <a:pt x="9498529" y="2043493"/>
                </a:lnTo>
                <a:moveTo>
                  <a:pt x="9530372" y="1558589"/>
                </a:moveTo>
                <a:lnTo>
                  <a:pt x="8246186" y="1474408"/>
                </a:lnTo>
                <a:moveTo>
                  <a:pt x="9116522" y="7859965"/>
                </a:moveTo>
                <a:lnTo>
                  <a:pt x="9084726" y="8344382"/>
                </a:lnTo>
                <a:moveTo>
                  <a:pt x="9403063" y="3497721"/>
                </a:moveTo>
                <a:lnTo>
                  <a:pt x="9371251" y="3982155"/>
                </a:lnTo>
                <a:moveTo>
                  <a:pt x="9403063" y="3497721"/>
                </a:moveTo>
                <a:lnTo>
                  <a:pt x="9434921" y="3012801"/>
                </a:lnTo>
                <a:moveTo>
                  <a:pt x="9371251" y="3982155"/>
                </a:moveTo>
                <a:lnTo>
                  <a:pt x="8087081" y="3897971"/>
                </a:lnTo>
                <a:moveTo>
                  <a:pt x="9498529" y="2043493"/>
                </a:moveTo>
                <a:lnTo>
                  <a:pt x="9466686" y="2528399"/>
                </a:lnTo>
                <a:moveTo>
                  <a:pt x="9466686" y="2528399"/>
                </a:moveTo>
                <a:lnTo>
                  <a:pt x="9434859" y="3012832"/>
                </a:lnTo>
                <a:moveTo>
                  <a:pt x="9021040" y="9313690"/>
                </a:moveTo>
                <a:lnTo>
                  <a:pt x="9052851" y="8829272"/>
                </a:lnTo>
                <a:moveTo>
                  <a:pt x="9084726" y="8344382"/>
                </a:moveTo>
                <a:lnTo>
                  <a:pt x="9052883" y="8829287"/>
                </a:lnTo>
                <a:moveTo>
                  <a:pt x="9052883" y="8829287"/>
                </a:moveTo>
                <a:lnTo>
                  <a:pt x="6484525" y="8660920"/>
                </a:lnTo>
                <a:moveTo>
                  <a:pt x="11589397" y="9482057"/>
                </a:moveTo>
                <a:lnTo>
                  <a:pt x="11621209" y="8997623"/>
                </a:lnTo>
                <a:moveTo>
                  <a:pt x="11589397" y="9482057"/>
                </a:moveTo>
                <a:lnTo>
                  <a:pt x="11557539" y="9966962"/>
                </a:lnTo>
                <a:lnTo>
                  <a:pt x="10273352" y="9882778"/>
                </a:lnTo>
                <a:moveTo>
                  <a:pt x="11589397" y="9482057"/>
                </a:moveTo>
                <a:lnTo>
                  <a:pt x="12873584" y="9566240"/>
                </a:lnTo>
                <a:moveTo>
                  <a:pt x="11589397" y="9482057"/>
                </a:moveTo>
                <a:lnTo>
                  <a:pt x="10305227" y="9397873"/>
                </a:lnTo>
                <a:moveTo>
                  <a:pt x="11621209" y="8997623"/>
                </a:moveTo>
                <a:lnTo>
                  <a:pt x="11653068" y="8512733"/>
                </a:lnTo>
                <a:moveTo>
                  <a:pt x="11621209" y="8997623"/>
                </a:moveTo>
                <a:lnTo>
                  <a:pt x="10337038" y="8913455"/>
                </a:lnTo>
                <a:moveTo>
                  <a:pt x="12098730" y="1726956"/>
                </a:moveTo>
                <a:lnTo>
                  <a:pt x="12066887" y="2211845"/>
                </a:lnTo>
                <a:moveTo>
                  <a:pt x="12098730" y="1726956"/>
                </a:moveTo>
                <a:lnTo>
                  <a:pt x="12130541" y="1242500"/>
                </a:lnTo>
                <a:moveTo>
                  <a:pt x="12098730" y="1726956"/>
                </a:moveTo>
                <a:lnTo>
                  <a:pt x="13382917" y="1811140"/>
                </a:lnTo>
                <a:moveTo>
                  <a:pt x="12066887" y="2211845"/>
                </a:moveTo>
                <a:lnTo>
                  <a:pt x="12035043" y="2696735"/>
                </a:lnTo>
                <a:moveTo>
                  <a:pt x="12066887" y="2211845"/>
                </a:moveTo>
                <a:lnTo>
                  <a:pt x="13351074" y="2296029"/>
                </a:lnTo>
                <a:lnTo>
                  <a:pt x="13382917" y="1811140"/>
                </a:lnTo>
                <a:moveTo>
                  <a:pt x="11684864" y="8028316"/>
                </a:moveTo>
                <a:lnTo>
                  <a:pt x="11700769" y="7786092"/>
                </a:lnTo>
                <a:cubicBezTo>
                  <a:pt x="11708731" y="7664751"/>
                  <a:pt x="11645721" y="7561345"/>
                  <a:pt x="11645721" y="7561345"/>
                </a:cubicBezTo>
                <a:moveTo>
                  <a:pt x="11684864" y="8028316"/>
                </a:moveTo>
                <a:lnTo>
                  <a:pt x="11653068" y="8512733"/>
                </a:lnTo>
                <a:moveTo>
                  <a:pt x="12162401" y="757600"/>
                </a:moveTo>
                <a:lnTo>
                  <a:pt x="12130541" y="1242500"/>
                </a:lnTo>
                <a:moveTo>
                  <a:pt x="12130541" y="1242500"/>
                </a:moveTo>
                <a:lnTo>
                  <a:pt x="13414713" y="1326681"/>
                </a:lnTo>
                <a:moveTo>
                  <a:pt x="11971389" y="3666073"/>
                </a:moveTo>
                <a:lnTo>
                  <a:pt x="11939593" y="4150506"/>
                </a:lnTo>
                <a:moveTo>
                  <a:pt x="11971389" y="3666073"/>
                </a:moveTo>
                <a:lnTo>
                  <a:pt x="10687203" y="3581889"/>
                </a:lnTo>
                <a:moveTo>
                  <a:pt x="11971389" y="3666073"/>
                </a:moveTo>
                <a:lnTo>
                  <a:pt x="12035043" y="2696750"/>
                </a:lnTo>
                <a:moveTo>
                  <a:pt x="11939562" y="4150506"/>
                </a:moveTo>
                <a:lnTo>
                  <a:pt x="11923656" y="4392731"/>
                </a:lnTo>
                <a:cubicBezTo>
                  <a:pt x="11915679" y="4514071"/>
                  <a:pt x="11839674" y="4608362"/>
                  <a:pt x="11839674" y="4608362"/>
                </a:cubicBezTo>
                <a:moveTo>
                  <a:pt x="11939593" y="4150506"/>
                </a:moveTo>
                <a:lnTo>
                  <a:pt x="12272294" y="4172322"/>
                </a:lnTo>
                <a:cubicBezTo>
                  <a:pt x="12530610" y="4182665"/>
                  <a:pt x="12814744" y="4213990"/>
                  <a:pt x="13140632" y="4177462"/>
                </a:cubicBezTo>
                <a:moveTo>
                  <a:pt x="11123456" y="6044043"/>
                </a:moveTo>
                <a:cubicBezTo>
                  <a:pt x="11111908" y="6219734"/>
                  <a:pt x="11124101" y="6399324"/>
                  <a:pt x="11191500" y="6598074"/>
                </a:cubicBezTo>
                <a:cubicBezTo>
                  <a:pt x="10929801" y="6549836"/>
                  <a:pt x="10727667" y="6511642"/>
                  <a:pt x="10491927" y="6490078"/>
                </a:cubicBezTo>
                <a:moveTo>
                  <a:pt x="11123456" y="6044043"/>
                </a:moveTo>
                <a:lnTo>
                  <a:pt x="11503937" y="6068971"/>
                </a:lnTo>
                <a:moveTo>
                  <a:pt x="11646287" y="7561361"/>
                </a:moveTo>
                <a:cubicBezTo>
                  <a:pt x="11572296" y="7413945"/>
                  <a:pt x="11506029" y="7278805"/>
                  <a:pt x="11412797" y="7108001"/>
                </a:cubicBezTo>
                <a:cubicBezTo>
                  <a:pt x="11288272" y="7064542"/>
                  <a:pt x="11223674" y="7057956"/>
                  <a:pt x="11130048" y="7039111"/>
                </a:cubicBezTo>
                <a:cubicBezTo>
                  <a:pt x="11036422" y="7020281"/>
                  <a:pt x="10940909" y="7014009"/>
                  <a:pt x="10846071" y="7005444"/>
                </a:cubicBezTo>
                <a:cubicBezTo>
                  <a:pt x="10718935" y="6993813"/>
                  <a:pt x="10591736" y="6983124"/>
                  <a:pt x="10464379" y="6974779"/>
                </a:cubicBezTo>
                <a:moveTo>
                  <a:pt x="11191531" y="6598058"/>
                </a:moveTo>
                <a:cubicBezTo>
                  <a:pt x="11264594" y="6808470"/>
                  <a:pt x="11334700" y="6974448"/>
                  <a:pt x="11412813" y="7107545"/>
                </a:cubicBezTo>
                <a:cubicBezTo>
                  <a:pt x="11640780" y="7182723"/>
                  <a:pt x="11842978" y="7251959"/>
                  <a:pt x="12088126" y="7357425"/>
                </a:cubicBezTo>
                <a:moveTo>
                  <a:pt x="12035043" y="2696735"/>
                </a:moveTo>
                <a:lnTo>
                  <a:pt x="13319230" y="2780918"/>
                </a:lnTo>
                <a:moveTo>
                  <a:pt x="11840162" y="4608393"/>
                </a:moveTo>
                <a:cubicBezTo>
                  <a:pt x="11747654" y="4742999"/>
                  <a:pt x="11684817" y="4864040"/>
                  <a:pt x="11549389" y="5027378"/>
                </a:cubicBezTo>
                <a:moveTo>
                  <a:pt x="11263368" y="5504110"/>
                </a:moveTo>
                <a:cubicBezTo>
                  <a:pt x="11162599" y="5699826"/>
                  <a:pt x="11137694" y="5827595"/>
                  <a:pt x="11123440" y="6044498"/>
                </a:cubicBezTo>
                <a:moveTo>
                  <a:pt x="11549436" y="5027394"/>
                </a:moveTo>
                <a:cubicBezTo>
                  <a:pt x="11442658" y="5168130"/>
                  <a:pt x="11370523" y="5300802"/>
                  <a:pt x="11263415" y="5503623"/>
                </a:cubicBezTo>
                <a:cubicBezTo>
                  <a:pt x="11433156" y="5475237"/>
                  <a:pt x="11595439" y="5438819"/>
                  <a:pt x="11752593" y="5391241"/>
                </a:cubicBezTo>
                <a:cubicBezTo>
                  <a:pt x="11916859" y="5154046"/>
                  <a:pt x="12064763" y="5019771"/>
                  <a:pt x="12251684" y="4867812"/>
                </a:cubicBezTo>
                <a:cubicBezTo>
                  <a:pt x="12599850" y="4751832"/>
                  <a:pt x="12974384" y="4729325"/>
                  <a:pt x="13275399" y="4617321"/>
                </a:cubicBezTo>
                <a:moveTo>
                  <a:pt x="13140664" y="4177494"/>
                </a:moveTo>
                <a:cubicBezTo>
                  <a:pt x="13039628" y="4287564"/>
                  <a:pt x="12912711" y="4402508"/>
                  <a:pt x="12761818" y="4492837"/>
                </a:cubicBezTo>
                <a:moveTo>
                  <a:pt x="11661721" y="6773813"/>
                </a:moveTo>
                <a:cubicBezTo>
                  <a:pt x="11570550" y="6612094"/>
                  <a:pt x="11483815" y="6325970"/>
                  <a:pt x="11503858" y="6069442"/>
                </a:cubicBezTo>
                <a:moveTo>
                  <a:pt x="12905427" y="9081823"/>
                </a:moveTo>
                <a:lnTo>
                  <a:pt x="12937271" y="8596917"/>
                </a:lnTo>
                <a:moveTo>
                  <a:pt x="12905427" y="9081823"/>
                </a:moveTo>
                <a:lnTo>
                  <a:pt x="14190133" y="9166037"/>
                </a:lnTo>
                <a:moveTo>
                  <a:pt x="12905427" y="9081823"/>
                </a:moveTo>
                <a:lnTo>
                  <a:pt x="11621240" y="8997639"/>
                </a:lnTo>
                <a:moveTo>
                  <a:pt x="12251620" y="4868269"/>
                </a:moveTo>
                <a:cubicBezTo>
                  <a:pt x="12427576" y="4720774"/>
                  <a:pt x="12519944" y="4653424"/>
                  <a:pt x="12762275" y="4493340"/>
                </a:cubicBezTo>
                <a:moveTo>
                  <a:pt x="11503937" y="6068971"/>
                </a:moveTo>
                <a:cubicBezTo>
                  <a:pt x="11514651" y="5857002"/>
                  <a:pt x="11607427" y="5604766"/>
                  <a:pt x="11752562" y="5391257"/>
                </a:cubicBezTo>
                <a:moveTo>
                  <a:pt x="11503937" y="6068971"/>
                </a:moveTo>
                <a:lnTo>
                  <a:pt x="11995302" y="6101176"/>
                </a:lnTo>
                <a:moveTo>
                  <a:pt x="13319215" y="2780934"/>
                </a:moveTo>
                <a:lnTo>
                  <a:pt x="13287403" y="3265368"/>
                </a:lnTo>
                <a:lnTo>
                  <a:pt x="10719045" y="3097000"/>
                </a:lnTo>
                <a:moveTo>
                  <a:pt x="12879185" y="8157877"/>
                </a:moveTo>
                <a:cubicBezTo>
                  <a:pt x="12879185" y="8157877"/>
                  <a:pt x="12961074" y="8233353"/>
                  <a:pt x="12953113" y="8354693"/>
                </a:cubicBezTo>
                <a:lnTo>
                  <a:pt x="12937192" y="8596917"/>
                </a:lnTo>
                <a:lnTo>
                  <a:pt x="11653021" y="8512733"/>
                </a:lnTo>
                <a:moveTo>
                  <a:pt x="13351074" y="2296013"/>
                </a:moveTo>
                <a:lnTo>
                  <a:pt x="13319230" y="2780918"/>
                </a:lnTo>
                <a:moveTo>
                  <a:pt x="13319230" y="2780918"/>
                </a:moveTo>
                <a:lnTo>
                  <a:pt x="14603952" y="2865118"/>
                </a:lnTo>
                <a:lnTo>
                  <a:pt x="14635795" y="2380244"/>
                </a:lnTo>
                <a:moveTo>
                  <a:pt x="13382917" y="1811140"/>
                </a:moveTo>
                <a:lnTo>
                  <a:pt x="13414713" y="1326681"/>
                </a:lnTo>
                <a:moveTo>
                  <a:pt x="13382917" y="1811140"/>
                </a:moveTo>
                <a:lnTo>
                  <a:pt x="14667607" y="1895339"/>
                </a:lnTo>
                <a:moveTo>
                  <a:pt x="13287451" y="3265336"/>
                </a:moveTo>
                <a:lnTo>
                  <a:pt x="13255607" y="3750241"/>
                </a:lnTo>
                <a:lnTo>
                  <a:pt x="11971436" y="3666057"/>
                </a:lnTo>
                <a:moveTo>
                  <a:pt x="13140585" y="4177934"/>
                </a:moveTo>
                <a:cubicBezTo>
                  <a:pt x="13140585" y="4177934"/>
                  <a:pt x="13231646" y="4113806"/>
                  <a:pt x="13239622" y="3992450"/>
                </a:cubicBezTo>
                <a:lnTo>
                  <a:pt x="13255529" y="3750241"/>
                </a:lnTo>
                <a:cubicBezTo>
                  <a:pt x="13572324" y="3771004"/>
                  <a:pt x="13888977" y="3794140"/>
                  <a:pt x="14206023" y="3811147"/>
                </a:cubicBezTo>
                <a:cubicBezTo>
                  <a:pt x="14394565" y="3821143"/>
                  <a:pt x="14533910" y="3825576"/>
                  <a:pt x="14533910" y="3825576"/>
                </a:cubicBezTo>
                <a:cubicBezTo>
                  <a:pt x="14515550" y="3983412"/>
                  <a:pt x="14406348" y="4023304"/>
                  <a:pt x="14311810" y="4099440"/>
                </a:cubicBezTo>
                <a:moveTo>
                  <a:pt x="12544864" y="7795774"/>
                </a:moveTo>
                <a:cubicBezTo>
                  <a:pt x="12713283" y="7957854"/>
                  <a:pt x="12784505" y="8017566"/>
                  <a:pt x="12879217" y="8157877"/>
                </a:cubicBezTo>
                <a:cubicBezTo>
                  <a:pt x="13224252" y="8227538"/>
                  <a:pt x="13645685" y="8302212"/>
                  <a:pt x="14029580" y="8388549"/>
                </a:cubicBezTo>
                <a:moveTo>
                  <a:pt x="12545383" y="7795805"/>
                </a:moveTo>
                <a:cubicBezTo>
                  <a:pt x="12356071" y="7635187"/>
                  <a:pt x="12267920" y="7549416"/>
                  <a:pt x="12088126" y="7357425"/>
                </a:cubicBezTo>
                <a:moveTo>
                  <a:pt x="12088126" y="7357425"/>
                </a:moveTo>
                <a:cubicBezTo>
                  <a:pt x="11960581" y="7246489"/>
                  <a:pt x="11789393" y="7005192"/>
                  <a:pt x="11661799" y="6773325"/>
                </a:cubicBezTo>
                <a:moveTo>
                  <a:pt x="12088126" y="7357425"/>
                </a:moveTo>
                <a:cubicBezTo>
                  <a:pt x="12418262" y="7515984"/>
                  <a:pt x="12786661" y="7587185"/>
                  <a:pt x="13070307" y="7739410"/>
                </a:cubicBezTo>
                <a:moveTo>
                  <a:pt x="12873584" y="9566240"/>
                </a:moveTo>
                <a:lnTo>
                  <a:pt x="12905396" y="9081806"/>
                </a:lnTo>
                <a:moveTo>
                  <a:pt x="12873584" y="9566240"/>
                </a:moveTo>
                <a:lnTo>
                  <a:pt x="14158290" y="9650455"/>
                </a:lnTo>
                <a:moveTo>
                  <a:pt x="12873631" y="9566240"/>
                </a:moveTo>
                <a:lnTo>
                  <a:pt x="12841773" y="10051145"/>
                </a:lnTo>
                <a:lnTo>
                  <a:pt x="11557601" y="9966962"/>
                </a:lnTo>
                <a:moveTo>
                  <a:pt x="13446556" y="841781"/>
                </a:moveTo>
                <a:lnTo>
                  <a:pt x="13414713" y="1326681"/>
                </a:lnTo>
                <a:moveTo>
                  <a:pt x="14190133" y="9166037"/>
                </a:moveTo>
                <a:lnTo>
                  <a:pt x="14206039" y="8923813"/>
                </a:lnTo>
                <a:cubicBezTo>
                  <a:pt x="14214000" y="8802473"/>
                  <a:pt x="14214503" y="8689589"/>
                  <a:pt x="14214503" y="8689589"/>
                </a:cubicBezTo>
                <a:moveTo>
                  <a:pt x="14190133" y="9166037"/>
                </a:moveTo>
                <a:lnTo>
                  <a:pt x="14158290" y="9650455"/>
                </a:lnTo>
                <a:moveTo>
                  <a:pt x="14190133" y="9166037"/>
                </a:moveTo>
                <a:lnTo>
                  <a:pt x="15474273" y="9250206"/>
                </a:lnTo>
                <a:moveTo>
                  <a:pt x="14603889" y="2865133"/>
                </a:moveTo>
                <a:lnTo>
                  <a:pt x="14572062" y="3349567"/>
                </a:lnTo>
                <a:moveTo>
                  <a:pt x="14572062" y="3349567"/>
                </a:moveTo>
                <a:lnTo>
                  <a:pt x="13287355" y="3265352"/>
                </a:lnTo>
                <a:moveTo>
                  <a:pt x="14572062" y="3349567"/>
                </a:moveTo>
                <a:lnTo>
                  <a:pt x="15856264" y="3433766"/>
                </a:lnTo>
                <a:moveTo>
                  <a:pt x="14731277" y="925990"/>
                </a:moveTo>
                <a:lnTo>
                  <a:pt x="14699434" y="1410890"/>
                </a:lnTo>
                <a:moveTo>
                  <a:pt x="14699434" y="1410890"/>
                </a:moveTo>
                <a:lnTo>
                  <a:pt x="14667607" y="1895339"/>
                </a:lnTo>
                <a:moveTo>
                  <a:pt x="14699434" y="1410890"/>
                </a:moveTo>
                <a:lnTo>
                  <a:pt x="15983542" y="1495075"/>
                </a:lnTo>
                <a:moveTo>
                  <a:pt x="14699434" y="1410890"/>
                </a:moveTo>
                <a:lnTo>
                  <a:pt x="13414728" y="1326676"/>
                </a:lnTo>
                <a:moveTo>
                  <a:pt x="14029580" y="8388549"/>
                </a:moveTo>
                <a:cubicBezTo>
                  <a:pt x="13853232" y="8290408"/>
                  <a:pt x="13815819" y="8235255"/>
                  <a:pt x="13647070" y="8118803"/>
                </a:cubicBezTo>
                <a:moveTo>
                  <a:pt x="14029580" y="8388549"/>
                </a:moveTo>
                <a:cubicBezTo>
                  <a:pt x="14485484" y="8498415"/>
                  <a:pt x="14918922" y="8536719"/>
                  <a:pt x="15397386" y="8603361"/>
                </a:cubicBezTo>
                <a:moveTo>
                  <a:pt x="14126447" y="10135345"/>
                </a:moveTo>
                <a:lnTo>
                  <a:pt x="14158290" y="9650455"/>
                </a:lnTo>
                <a:moveTo>
                  <a:pt x="14126447" y="10135345"/>
                </a:moveTo>
                <a:lnTo>
                  <a:pt x="15410602" y="10219528"/>
                </a:lnTo>
                <a:moveTo>
                  <a:pt x="14126447" y="10135345"/>
                </a:moveTo>
                <a:lnTo>
                  <a:pt x="12841741" y="10051145"/>
                </a:lnTo>
                <a:moveTo>
                  <a:pt x="14158290" y="9650455"/>
                </a:moveTo>
                <a:lnTo>
                  <a:pt x="15442445" y="9734623"/>
                </a:lnTo>
                <a:moveTo>
                  <a:pt x="14667607" y="1895339"/>
                </a:moveTo>
                <a:lnTo>
                  <a:pt x="15951762" y="1979523"/>
                </a:lnTo>
                <a:moveTo>
                  <a:pt x="14667638" y="1895339"/>
                </a:moveTo>
                <a:lnTo>
                  <a:pt x="14635795" y="2380244"/>
                </a:lnTo>
                <a:moveTo>
                  <a:pt x="14635795" y="2380244"/>
                </a:moveTo>
                <a:lnTo>
                  <a:pt x="13351089" y="2296029"/>
                </a:lnTo>
                <a:moveTo>
                  <a:pt x="14030052" y="8388596"/>
                </a:moveTo>
                <a:cubicBezTo>
                  <a:pt x="14113971" y="8474084"/>
                  <a:pt x="14217020" y="8527885"/>
                  <a:pt x="14214425" y="8689101"/>
                </a:cubicBezTo>
                <a:lnTo>
                  <a:pt x="12937176" y="8596886"/>
                </a:lnTo>
                <a:moveTo>
                  <a:pt x="14572109" y="3349551"/>
                </a:moveTo>
                <a:lnTo>
                  <a:pt x="14556188" y="3591776"/>
                </a:lnTo>
                <a:cubicBezTo>
                  <a:pt x="14548226" y="3713116"/>
                  <a:pt x="14533957" y="3825104"/>
                  <a:pt x="14533957" y="3825104"/>
                </a:cubicBezTo>
                <a:cubicBezTo>
                  <a:pt x="14972806" y="3853867"/>
                  <a:pt x="15465950" y="3842896"/>
                  <a:pt x="15812999" y="3865656"/>
                </a:cubicBezTo>
                <a:cubicBezTo>
                  <a:pt x="15778701" y="3966909"/>
                  <a:pt x="15751169" y="4019217"/>
                  <a:pt x="15695947" y="4065002"/>
                </a:cubicBezTo>
                <a:cubicBezTo>
                  <a:pt x="15202331" y="4075471"/>
                  <a:pt x="14777830" y="4047650"/>
                  <a:pt x="14311842" y="4099440"/>
                </a:cubicBezTo>
                <a:moveTo>
                  <a:pt x="11994799" y="6101616"/>
                </a:moveTo>
                <a:cubicBezTo>
                  <a:pt x="11996514" y="6505434"/>
                  <a:pt x="12175899" y="6898312"/>
                  <a:pt x="12359705" y="7093871"/>
                </a:cubicBezTo>
                <a:cubicBezTo>
                  <a:pt x="12590882" y="7371570"/>
                  <a:pt x="12830634" y="7583491"/>
                  <a:pt x="13070307" y="7739882"/>
                </a:cubicBezTo>
                <a:moveTo>
                  <a:pt x="12486354" y="5165033"/>
                </a:moveTo>
                <a:cubicBezTo>
                  <a:pt x="12743631" y="4996509"/>
                  <a:pt x="12974353" y="4729325"/>
                  <a:pt x="13275368" y="4617305"/>
                </a:cubicBezTo>
                <a:moveTo>
                  <a:pt x="12486354" y="5165033"/>
                </a:moveTo>
                <a:cubicBezTo>
                  <a:pt x="12200427" y="5250270"/>
                  <a:pt x="12017722" y="5305581"/>
                  <a:pt x="11752027" y="5391210"/>
                </a:cubicBezTo>
                <a:moveTo>
                  <a:pt x="13275368" y="4617305"/>
                </a:moveTo>
                <a:cubicBezTo>
                  <a:pt x="13537900" y="4498542"/>
                  <a:pt x="13688809" y="4399741"/>
                  <a:pt x="13897330" y="4316485"/>
                </a:cubicBezTo>
                <a:moveTo>
                  <a:pt x="13275368" y="4617305"/>
                </a:moveTo>
                <a:cubicBezTo>
                  <a:pt x="13894924" y="4507360"/>
                  <a:pt x="14487875" y="4405070"/>
                  <a:pt x="15121623" y="4395796"/>
                </a:cubicBezTo>
                <a:moveTo>
                  <a:pt x="11995302" y="6101176"/>
                </a:moveTo>
                <a:cubicBezTo>
                  <a:pt x="12001470" y="5747749"/>
                  <a:pt x="12143206" y="5463904"/>
                  <a:pt x="12486872" y="5165065"/>
                </a:cubicBezTo>
                <a:moveTo>
                  <a:pt x="11995302" y="6101176"/>
                </a:moveTo>
                <a:lnTo>
                  <a:pt x="13443441" y="6196111"/>
                </a:lnTo>
                <a:cubicBezTo>
                  <a:pt x="13446524" y="5654276"/>
                  <a:pt x="13907966" y="5119892"/>
                  <a:pt x="14385691" y="4808195"/>
                </a:cubicBezTo>
                <a:cubicBezTo>
                  <a:pt x="14631658" y="4649762"/>
                  <a:pt x="14853191" y="4523109"/>
                  <a:pt x="15121623" y="4395796"/>
                </a:cubicBezTo>
                <a:moveTo>
                  <a:pt x="13897330" y="4316485"/>
                </a:moveTo>
                <a:cubicBezTo>
                  <a:pt x="14036660" y="4247972"/>
                  <a:pt x="14196395" y="4169053"/>
                  <a:pt x="14311857" y="4098984"/>
                </a:cubicBezTo>
                <a:moveTo>
                  <a:pt x="13897330" y="4316485"/>
                </a:moveTo>
                <a:cubicBezTo>
                  <a:pt x="13516346" y="4372440"/>
                  <a:pt x="13124175" y="4436143"/>
                  <a:pt x="12762306" y="4492884"/>
                </a:cubicBezTo>
                <a:cubicBezTo>
                  <a:pt x="12452922" y="4553994"/>
                  <a:pt x="12164493" y="4596259"/>
                  <a:pt x="11840209" y="4608409"/>
                </a:cubicBezTo>
                <a:moveTo>
                  <a:pt x="13647557" y="8119305"/>
                </a:moveTo>
                <a:cubicBezTo>
                  <a:pt x="13451842" y="8007663"/>
                  <a:pt x="13301877" y="7856679"/>
                  <a:pt x="13070260" y="7739866"/>
                </a:cubicBezTo>
                <a:moveTo>
                  <a:pt x="15121623" y="4395796"/>
                </a:moveTo>
                <a:cubicBezTo>
                  <a:pt x="15226041" y="4347590"/>
                  <a:pt x="15383117" y="4260483"/>
                  <a:pt x="15490320" y="4210579"/>
                </a:cubicBezTo>
                <a:moveTo>
                  <a:pt x="15121623" y="4395796"/>
                </a:moveTo>
                <a:cubicBezTo>
                  <a:pt x="15831092" y="4353814"/>
                  <a:pt x="16956456" y="4396063"/>
                  <a:pt x="17654676" y="4542536"/>
                </a:cubicBezTo>
                <a:moveTo>
                  <a:pt x="15489786" y="4210564"/>
                </a:moveTo>
                <a:cubicBezTo>
                  <a:pt x="15577951" y="4166460"/>
                  <a:pt x="15633000" y="4123488"/>
                  <a:pt x="15695475" y="4065002"/>
                </a:cubicBezTo>
                <a:moveTo>
                  <a:pt x="14871157" y="8200471"/>
                </a:moveTo>
                <a:cubicBezTo>
                  <a:pt x="15024268" y="8279201"/>
                  <a:pt x="15115456" y="8359518"/>
                  <a:pt x="15212479" y="8432228"/>
                </a:cubicBezTo>
                <a:cubicBezTo>
                  <a:pt x="15913846" y="8512090"/>
                  <a:pt x="16415407" y="8544954"/>
                  <a:pt x="17080274" y="8565010"/>
                </a:cubicBezTo>
                <a:moveTo>
                  <a:pt x="14196065" y="7695574"/>
                </a:moveTo>
                <a:cubicBezTo>
                  <a:pt x="13763350" y="7321840"/>
                  <a:pt x="13372675" y="6778653"/>
                  <a:pt x="13443425" y="6196566"/>
                </a:cubicBezTo>
                <a:moveTo>
                  <a:pt x="14196065" y="7695574"/>
                </a:moveTo>
                <a:cubicBezTo>
                  <a:pt x="13503084" y="7535804"/>
                  <a:pt x="12931371" y="7371759"/>
                  <a:pt x="12359657" y="7093855"/>
                </a:cubicBezTo>
                <a:moveTo>
                  <a:pt x="14196065" y="7695574"/>
                </a:moveTo>
                <a:cubicBezTo>
                  <a:pt x="15477577" y="7998830"/>
                  <a:pt x="16804162" y="8085796"/>
                  <a:pt x="18066716" y="7989289"/>
                </a:cubicBezTo>
                <a:moveTo>
                  <a:pt x="14196048" y="7695558"/>
                </a:moveTo>
                <a:cubicBezTo>
                  <a:pt x="14419296" y="7882865"/>
                  <a:pt x="14622328" y="8037338"/>
                  <a:pt x="14871692" y="8200488"/>
                </a:cubicBezTo>
                <a:cubicBezTo>
                  <a:pt x="14049246" y="8088704"/>
                  <a:pt x="13586499" y="7944966"/>
                  <a:pt x="13070244" y="7739850"/>
                </a:cubicBezTo>
                <a:moveTo>
                  <a:pt x="15397921" y="8603409"/>
                </a:moveTo>
                <a:cubicBezTo>
                  <a:pt x="15328839" y="8519351"/>
                  <a:pt x="15293676" y="8494942"/>
                  <a:pt x="15213046" y="8432244"/>
                </a:cubicBezTo>
                <a:moveTo>
                  <a:pt x="15397921" y="8603409"/>
                </a:moveTo>
                <a:cubicBezTo>
                  <a:pt x="15397921" y="8603409"/>
                  <a:pt x="15483130" y="8693220"/>
                  <a:pt x="15487834" y="8816336"/>
                </a:cubicBezTo>
                <a:lnTo>
                  <a:pt x="14214487" y="8689086"/>
                </a:lnTo>
                <a:moveTo>
                  <a:pt x="15397921" y="8603409"/>
                </a:moveTo>
                <a:cubicBezTo>
                  <a:pt x="15872626" y="8661831"/>
                  <a:pt x="16402820" y="8688582"/>
                  <a:pt x="16902492" y="8707695"/>
                </a:cubicBezTo>
                <a:moveTo>
                  <a:pt x="15410602" y="10219528"/>
                </a:moveTo>
                <a:lnTo>
                  <a:pt x="15442445" y="9734623"/>
                </a:lnTo>
                <a:moveTo>
                  <a:pt x="15442445" y="9734623"/>
                </a:moveTo>
                <a:lnTo>
                  <a:pt x="15474273" y="9250206"/>
                </a:lnTo>
                <a:moveTo>
                  <a:pt x="15474273" y="9250206"/>
                </a:moveTo>
                <a:cubicBezTo>
                  <a:pt x="15483759" y="9105917"/>
                  <a:pt x="15498060" y="8960986"/>
                  <a:pt x="15487866" y="8816336"/>
                </a:cubicBezTo>
                <a:moveTo>
                  <a:pt x="15888044" y="2949333"/>
                </a:moveTo>
                <a:lnTo>
                  <a:pt x="15856264" y="3433766"/>
                </a:lnTo>
                <a:moveTo>
                  <a:pt x="15856264" y="3433766"/>
                </a:moveTo>
                <a:cubicBezTo>
                  <a:pt x="15846824" y="3578054"/>
                  <a:pt x="15842576" y="3723631"/>
                  <a:pt x="15812999" y="3865671"/>
                </a:cubicBezTo>
                <a:lnTo>
                  <a:pt x="17124954" y="3949352"/>
                </a:lnTo>
                <a:moveTo>
                  <a:pt x="15919982" y="2464396"/>
                </a:moveTo>
                <a:lnTo>
                  <a:pt x="15888044" y="2949301"/>
                </a:lnTo>
                <a:lnTo>
                  <a:pt x="14603921" y="2865118"/>
                </a:lnTo>
                <a:moveTo>
                  <a:pt x="15919982" y="2464396"/>
                </a:moveTo>
                <a:lnTo>
                  <a:pt x="15951762" y="1979523"/>
                </a:lnTo>
                <a:moveTo>
                  <a:pt x="15919982" y="2464396"/>
                </a:moveTo>
                <a:lnTo>
                  <a:pt x="14635747" y="2380244"/>
                </a:lnTo>
                <a:moveTo>
                  <a:pt x="16015479" y="1010175"/>
                </a:moveTo>
                <a:lnTo>
                  <a:pt x="15983542" y="1495075"/>
                </a:lnTo>
                <a:moveTo>
                  <a:pt x="15951762" y="1979523"/>
                </a:moveTo>
                <a:lnTo>
                  <a:pt x="15983542" y="1495086"/>
                </a:lnTo>
                <a:moveTo>
                  <a:pt x="24431722" y="10323878"/>
                </a:moveTo>
                <a:lnTo>
                  <a:pt x="24442890" y="10324617"/>
                </a:lnTo>
                <a:moveTo>
                  <a:pt x="24474672" y="9840199"/>
                </a:moveTo>
                <a:lnTo>
                  <a:pt x="24463658" y="9839460"/>
                </a:lnTo>
                <a:moveTo>
                  <a:pt x="11684880" y="8028300"/>
                </a:moveTo>
                <a:cubicBezTo>
                  <a:pt x="11895022" y="8042069"/>
                  <a:pt x="12369051" y="8070785"/>
                  <a:pt x="12879185" y="8158364"/>
                </a:cubicBezTo>
                <a:moveTo>
                  <a:pt x="20674580" y="8617586"/>
                </a:moveTo>
                <a:lnTo>
                  <a:pt x="20341988" y="8595770"/>
                </a:lnTo>
                <a:cubicBezTo>
                  <a:pt x="20054866" y="8576956"/>
                  <a:pt x="19729040" y="8587141"/>
                  <a:pt x="19488328" y="8602418"/>
                </a:cubicBezTo>
                <a:moveTo>
                  <a:pt x="11646271" y="7561376"/>
                </a:moveTo>
                <a:cubicBezTo>
                  <a:pt x="12028640" y="7638676"/>
                  <a:pt x="12246743" y="7693436"/>
                  <a:pt x="12545352" y="7796293"/>
                </a:cubicBezTo>
                <a:moveTo>
                  <a:pt x="10432568" y="7459228"/>
                </a:moveTo>
                <a:cubicBezTo>
                  <a:pt x="10833737" y="7485523"/>
                  <a:pt x="11250341" y="7487881"/>
                  <a:pt x="11645783" y="7560874"/>
                </a:cubicBezTo>
                <a:moveTo>
                  <a:pt x="19877714" y="8295736"/>
                </a:moveTo>
                <a:cubicBezTo>
                  <a:pt x="19360108" y="8388361"/>
                  <a:pt x="19115936" y="8411890"/>
                  <a:pt x="18710818" y="8471900"/>
                </a:cubicBezTo>
                <a:moveTo>
                  <a:pt x="12545414" y="7795821"/>
                </a:moveTo>
                <a:cubicBezTo>
                  <a:pt x="12938812" y="7916187"/>
                  <a:pt x="13113634" y="7980818"/>
                  <a:pt x="13647621" y="8118850"/>
                </a:cubicBezTo>
                <a:moveTo>
                  <a:pt x="18710188" y="8471883"/>
                </a:moveTo>
                <a:cubicBezTo>
                  <a:pt x="18160170" y="8553914"/>
                  <a:pt x="17625572" y="8563109"/>
                  <a:pt x="17080274" y="8564539"/>
                </a:cubicBezTo>
                <a:moveTo>
                  <a:pt x="20800442" y="8170357"/>
                </a:moveTo>
                <a:cubicBezTo>
                  <a:pt x="20474932" y="8185257"/>
                  <a:pt x="20238310" y="8226201"/>
                  <a:pt x="19877714" y="8295264"/>
                </a:cubicBezTo>
                <a:moveTo>
                  <a:pt x="13647557" y="8119337"/>
                </a:moveTo>
                <a:cubicBezTo>
                  <a:pt x="14179372" y="8290643"/>
                  <a:pt x="14704311" y="8355636"/>
                  <a:pt x="15213031" y="8432275"/>
                </a:cubicBezTo>
                <a:moveTo>
                  <a:pt x="24570168" y="8385956"/>
                </a:moveTo>
                <a:lnTo>
                  <a:pt x="24558998" y="8385217"/>
                </a:lnTo>
                <a:moveTo>
                  <a:pt x="11191453" y="6598058"/>
                </a:moveTo>
                <a:cubicBezTo>
                  <a:pt x="11397914" y="6659577"/>
                  <a:pt x="11512259" y="6703775"/>
                  <a:pt x="11661705" y="6773325"/>
                </a:cubicBezTo>
                <a:moveTo>
                  <a:pt x="11661752" y="6773797"/>
                </a:moveTo>
                <a:cubicBezTo>
                  <a:pt x="11943148" y="6895279"/>
                  <a:pt x="12096276" y="6957552"/>
                  <a:pt x="12360192" y="7093886"/>
                </a:cubicBezTo>
                <a:moveTo>
                  <a:pt x="21415434" y="7277170"/>
                </a:moveTo>
                <a:cubicBezTo>
                  <a:pt x="21278718" y="7298782"/>
                  <a:pt x="21106444" y="7333125"/>
                  <a:pt x="20922056" y="7397268"/>
                </a:cubicBezTo>
                <a:moveTo>
                  <a:pt x="20922686" y="7397316"/>
                </a:moveTo>
                <a:cubicBezTo>
                  <a:pt x="20627224" y="7489940"/>
                  <a:pt x="20428046" y="7537108"/>
                  <a:pt x="20142814" y="7635564"/>
                </a:cubicBezTo>
                <a:moveTo>
                  <a:pt x="24622718" y="7415894"/>
                </a:moveTo>
                <a:lnTo>
                  <a:pt x="24633886" y="7416633"/>
                </a:lnTo>
                <a:moveTo>
                  <a:pt x="20142814" y="7635108"/>
                </a:moveTo>
                <a:cubicBezTo>
                  <a:pt x="19805030" y="7748008"/>
                  <a:pt x="18872548" y="7914615"/>
                  <a:pt x="18066244" y="7988802"/>
                </a:cubicBezTo>
                <a:moveTo>
                  <a:pt x="24665668" y="6931728"/>
                </a:moveTo>
                <a:lnTo>
                  <a:pt x="24654654" y="6931005"/>
                </a:lnTo>
                <a:moveTo>
                  <a:pt x="18998254" y="6560194"/>
                </a:moveTo>
                <a:cubicBezTo>
                  <a:pt x="17124166" y="6459947"/>
                  <a:pt x="15319918" y="6341672"/>
                  <a:pt x="13443409" y="6196079"/>
                </a:cubicBezTo>
                <a:moveTo>
                  <a:pt x="9275737" y="5436398"/>
                </a:moveTo>
                <a:lnTo>
                  <a:pt x="10227192" y="5498766"/>
                </a:lnTo>
                <a:cubicBezTo>
                  <a:pt x="10417700" y="5511246"/>
                  <a:pt x="10555661" y="5520299"/>
                  <a:pt x="10555661" y="5520299"/>
                </a:cubicBezTo>
                <a:moveTo>
                  <a:pt x="10555676" y="5519796"/>
                </a:moveTo>
                <a:cubicBezTo>
                  <a:pt x="10790220" y="5527168"/>
                  <a:pt x="11036438" y="5551310"/>
                  <a:pt x="11263383" y="5504063"/>
                </a:cubicBezTo>
                <a:moveTo>
                  <a:pt x="24761164" y="5477971"/>
                </a:moveTo>
                <a:lnTo>
                  <a:pt x="24749994" y="5477249"/>
                </a:lnTo>
                <a:moveTo>
                  <a:pt x="15489769" y="4210548"/>
                </a:moveTo>
                <a:cubicBezTo>
                  <a:pt x="14977762" y="4248978"/>
                  <a:pt x="14447096" y="4214194"/>
                  <a:pt x="13896795" y="4316454"/>
                </a:cubicBezTo>
                <a:moveTo>
                  <a:pt x="11840225" y="4608393"/>
                </a:moveTo>
                <a:cubicBezTo>
                  <a:pt x="11840225" y="4608393"/>
                  <a:pt x="11736420" y="4614774"/>
                  <a:pt x="11564650" y="4609163"/>
                </a:cubicBezTo>
                <a:cubicBezTo>
                  <a:pt x="11479032" y="4606365"/>
                  <a:pt x="10623579" y="4550772"/>
                  <a:pt x="10623579" y="4550772"/>
                </a:cubicBezTo>
                <a:moveTo>
                  <a:pt x="17200786" y="4157957"/>
                </a:moveTo>
                <a:cubicBezTo>
                  <a:pt x="16699226" y="4126505"/>
                  <a:pt x="16197666" y="4094112"/>
                  <a:pt x="15695475" y="4064971"/>
                </a:cubicBezTo>
                <a:moveTo>
                  <a:pt x="24792944" y="4993051"/>
                </a:moveTo>
                <a:lnTo>
                  <a:pt x="24781932" y="4992328"/>
                </a:lnTo>
                <a:moveTo>
                  <a:pt x="14311291" y="4099408"/>
                </a:moveTo>
                <a:cubicBezTo>
                  <a:pt x="13919514" y="4133013"/>
                  <a:pt x="13491913" y="4152031"/>
                  <a:pt x="13140600" y="4177934"/>
                </a:cubicBezTo>
                <a:moveTo>
                  <a:pt x="5533323" y="3742335"/>
                </a:moveTo>
                <a:cubicBezTo>
                  <a:pt x="5601697" y="3723757"/>
                  <a:pt x="5708680" y="3742068"/>
                  <a:pt x="5816937" y="3749157"/>
                </a:cubicBezTo>
                <a:lnTo>
                  <a:pt x="6803413" y="3813819"/>
                </a:lnTo>
                <a:moveTo>
                  <a:pt x="17402166" y="8385657"/>
                </a:moveTo>
                <a:cubicBezTo>
                  <a:pt x="16570374" y="8400321"/>
                  <a:pt x="15721277" y="8344665"/>
                  <a:pt x="14871708" y="8200471"/>
                </a:cubicBezTo>
                <a:moveTo>
                  <a:pt x="21113996" y="7756165"/>
                </a:moveTo>
                <a:cubicBezTo>
                  <a:pt x="20895784" y="7806320"/>
                  <a:pt x="20741758" y="7839045"/>
                  <a:pt x="20402560" y="7924564"/>
                </a:cubicBezTo>
                <a:moveTo>
                  <a:pt x="24729384" y="5962405"/>
                </a:moveTo>
                <a:lnTo>
                  <a:pt x="24718214" y="5961666"/>
                </a:lnTo>
                <a:moveTo>
                  <a:pt x="12251605" y="4868284"/>
                </a:moveTo>
                <a:cubicBezTo>
                  <a:pt x="12003735" y="4901448"/>
                  <a:pt x="11785333" y="4981231"/>
                  <a:pt x="11549373" y="5027865"/>
                </a:cubicBezTo>
                <a:moveTo>
                  <a:pt x="4229596" y="3720409"/>
                </a:moveTo>
                <a:cubicBezTo>
                  <a:pt x="4780038" y="3721666"/>
                  <a:pt x="5123044" y="3367736"/>
                  <a:pt x="5592446" y="3263937"/>
                </a:cubicBezTo>
                <a:moveTo>
                  <a:pt x="1697927" y="2992635"/>
                </a:moveTo>
                <a:lnTo>
                  <a:pt x="2684403" y="3057297"/>
                </a:lnTo>
                <a:cubicBezTo>
                  <a:pt x="2848904" y="3068080"/>
                  <a:pt x="2903450" y="3081534"/>
                  <a:pt x="2938046" y="3090399"/>
                </a:cubicBezTo>
                <a:moveTo>
                  <a:pt x="24824882" y="4508602"/>
                </a:moveTo>
                <a:lnTo>
                  <a:pt x="24813712" y="4507879"/>
                </a:lnTo>
                <a:moveTo>
                  <a:pt x="24888442" y="3539279"/>
                </a:moveTo>
                <a:lnTo>
                  <a:pt x="24877430" y="3538556"/>
                </a:lnTo>
                <a:moveTo>
                  <a:pt x="24920380" y="3054405"/>
                </a:moveTo>
                <a:lnTo>
                  <a:pt x="24909210" y="3053682"/>
                </a:lnTo>
                <a:moveTo>
                  <a:pt x="24984098" y="2085067"/>
                </a:moveTo>
                <a:lnTo>
                  <a:pt x="24972926" y="2084328"/>
                </a:lnTo>
              </a:path>
            </a:pathLst>
          </a:custGeom>
          <a:noFill/>
          <a:ln w="50800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3" name="Прямоугольник с двумя скругленными соседними углами 12">
            <a:extLst>
              <a:ext uri="{FF2B5EF4-FFF2-40B4-BE49-F238E27FC236}">
                <a16:creationId xmlns:a16="http://schemas.microsoft.com/office/drawing/2014/main" id="{7AAC85E3-A447-40DC-6F91-66962956B4C2}"/>
              </a:ext>
            </a:extLst>
          </p:cNvPr>
          <p:cNvSpPr/>
          <p:nvPr userDrawn="1"/>
        </p:nvSpPr>
        <p:spPr>
          <a:xfrm rot="16200000">
            <a:off x="10335513" y="-330904"/>
            <a:ext cx="13715999" cy="14377805"/>
          </a:xfrm>
          <a:prstGeom prst="round2SameRect">
            <a:avLst>
              <a:gd name="adj1" fmla="val 10785"/>
              <a:gd name="adj2" fmla="val 0"/>
            </a:avLst>
          </a:prstGeom>
          <a:solidFill>
            <a:schemeClr val="tx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sp>
        <p:nvSpPr>
          <p:cNvPr id="21" name="Заголовок 20">
            <a:extLst>
              <a:ext uri="{FF2B5EF4-FFF2-40B4-BE49-F238E27FC236}">
                <a16:creationId xmlns:a16="http://schemas.microsoft.com/office/drawing/2014/main" id="{7436C6E8-2BF2-A7DD-A6E8-F7A22E55EA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2339" y="2424803"/>
            <a:ext cx="8515576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4" name="Текст 11">
            <a:extLst>
              <a:ext uri="{FF2B5EF4-FFF2-40B4-BE49-F238E27FC236}">
                <a16:creationId xmlns:a16="http://schemas.microsoft.com/office/drawing/2014/main" id="{7383184D-C523-AA74-47DA-77258BF79F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021716" y="2424803"/>
            <a:ext cx="5470140" cy="1911292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13800" b="1" i="0" kern="1200" dirty="0">
                <a:solidFill>
                  <a:schemeClr val="accent3"/>
                </a:solidFill>
                <a:latin typeface="YS Text Wide" pitchFamily="2" charset="0"/>
                <a:ea typeface="YS Text Wide" pitchFamily="2" charset="0"/>
                <a:cs typeface="YS Text Wide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5" name="Текст 11">
            <a:extLst>
              <a:ext uri="{FF2B5EF4-FFF2-40B4-BE49-F238E27FC236}">
                <a16:creationId xmlns:a16="http://schemas.microsoft.com/office/drawing/2014/main" id="{D3905870-B0EC-91AD-3240-9A09149898C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54373" y="4280856"/>
            <a:ext cx="5470141" cy="88639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3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Почему она такая важная?</a:t>
            </a:r>
            <a:br>
              <a:rPr lang="ru-RU" dirty="0"/>
            </a:br>
            <a:r>
              <a:rPr lang="ru-RU" dirty="0"/>
              <a:t>И что это за цифра вообще?</a:t>
            </a:r>
          </a:p>
        </p:txBody>
      </p:sp>
      <p:sp>
        <p:nvSpPr>
          <p:cNvPr id="2" name="Текст 11">
            <a:extLst>
              <a:ext uri="{FF2B5EF4-FFF2-40B4-BE49-F238E27FC236}">
                <a16:creationId xmlns:a16="http://schemas.microsoft.com/office/drawing/2014/main" id="{76CD907C-3452-750D-1185-38CAA105D83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021716" y="7878546"/>
            <a:ext cx="5470140" cy="1911292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13800" b="1" i="0" kern="1200" dirty="0">
                <a:solidFill>
                  <a:schemeClr val="accent3"/>
                </a:solidFill>
                <a:latin typeface="YS Text Wide" pitchFamily="2" charset="0"/>
                <a:ea typeface="YS Text Wide" pitchFamily="2" charset="0"/>
                <a:cs typeface="YS Text Wide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3" name="Текст 11">
            <a:extLst>
              <a:ext uri="{FF2B5EF4-FFF2-40B4-BE49-F238E27FC236}">
                <a16:creationId xmlns:a16="http://schemas.microsoft.com/office/drawing/2014/main" id="{FE3B2180-6F5B-4A2B-E995-3D52A5E7BA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054373" y="9734599"/>
            <a:ext cx="5470141" cy="88639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3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Почему она такая важная?</a:t>
            </a:r>
            <a:br>
              <a:rPr lang="ru-RU" dirty="0"/>
            </a:br>
            <a:r>
              <a:rPr lang="ru-RU" dirty="0"/>
              <a:t>И что это за цифра вообще?</a:t>
            </a:r>
          </a:p>
        </p:txBody>
      </p:sp>
      <p:sp>
        <p:nvSpPr>
          <p:cNvPr id="7" name="Текст 11">
            <a:extLst>
              <a:ext uri="{FF2B5EF4-FFF2-40B4-BE49-F238E27FC236}">
                <a16:creationId xmlns:a16="http://schemas.microsoft.com/office/drawing/2014/main" id="{A8A1366A-CF5D-29F4-919C-9E0447AD69C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7340477" y="2424803"/>
            <a:ext cx="5470140" cy="1911292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13800" b="1" i="0" kern="1200" dirty="0">
                <a:solidFill>
                  <a:schemeClr val="accent3"/>
                </a:solidFill>
                <a:latin typeface="YS Text Wide" pitchFamily="2" charset="0"/>
                <a:ea typeface="YS Text Wide" pitchFamily="2" charset="0"/>
                <a:cs typeface="YS Text Wide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8" name="Текст 11">
            <a:extLst>
              <a:ext uri="{FF2B5EF4-FFF2-40B4-BE49-F238E27FC236}">
                <a16:creationId xmlns:a16="http://schemas.microsoft.com/office/drawing/2014/main" id="{BCF49EA1-C565-11F8-B47F-E9CB13F0A24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373134" y="4280856"/>
            <a:ext cx="5470141" cy="88639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3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Почему она такая важная?</a:t>
            </a:r>
            <a:br>
              <a:rPr lang="ru-RU" dirty="0"/>
            </a:br>
            <a:r>
              <a:rPr lang="ru-RU" dirty="0"/>
              <a:t>И что это за цифра вообще?</a:t>
            </a:r>
          </a:p>
        </p:txBody>
      </p:sp>
      <p:sp>
        <p:nvSpPr>
          <p:cNvPr id="9" name="Текст 11">
            <a:extLst>
              <a:ext uri="{FF2B5EF4-FFF2-40B4-BE49-F238E27FC236}">
                <a16:creationId xmlns:a16="http://schemas.microsoft.com/office/drawing/2014/main" id="{27164DC6-0B6F-A88D-ECB2-E9A91B865CB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7340477" y="7878546"/>
            <a:ext cx="5470140" cy="1911292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13800" b="1" i="0" kern="1200" dirty="0">
                <a:solidFill>
                  <a:schemeClr val="bg1"/>
                </a:solidFill>
                <a:latin typeface="YS Text Wide" pitchFamily="2" charset="0"/>
                <a:ea typeface="YS Text Wide" pitchFamily="2" charset="0"/>
                <a:cs typeface="YS Text Wide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10" name="Текст 11">
            <a:extLst>
              <a:ext uri="{FF2B5EF4-FFF2-40B4-BE49-F238E27FC236}">
                <a16:creationId xmlns:a16="http://schemas.microsoft.com/office/drawing/2014/main" id="{DECAA797-3996-40AF-70B1-BE23C5623D6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7373134" y="9734599"/>
            <a:ext cx="5470141" cy="88639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3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Почему она такая важная?</a:t>
            </a:r>
            <a:br>
              <a:rPr lang="ru-RU" dirty="0"/>
            </a:br>
            <a:r>
              <a:rPr lang="ru-RU" dirty="0"/>
              <a:t>И что это за цифра вообще?</a:t>
            </a:r>
          </a:p>
        </p:txBody>
      </p:sp>
      <p:sp>
        <p:nvSpPr>
          <p:cNvPr id="12" name="Текст 11">
            <a:extLst>
              <a:ext uri="{FF2B5EF4-FFF2-40B4-BE49-F238E27FC236}">
                <a16:creationId xmlns:a16="http://schemas.microsoft.com/office/drawing/2014/main" id="{C27CC727-ECFA-ABC8-0585-05319EB1AE0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8001" y="5521827"/>
            <a:ext cx="8539914" cy="18281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ый текст, если нужно пояснение к заголовку. Можно убрать</a:t>
            </a:r>
          </a:p>
        </p:txBody>
      </p:sp>
    </p:spTree>
    <p:extLst>
      <p:ext uri="{BB962C8B-B14F-4D97-AF65-F5344CB8AC3E}">
        <p14:creationId xmlns:p14="http://schemas.microsoft.com/office/powerpoint/2010/main" val="85962595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важных цифр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Рисунок 2">
            <a:extLst>
              <a:ext uri="{FF2B5EF4-FFF2-40B4-BE49-F238E27FC236}">
                <a16:creationId xmlns:a16="http://schemas.microsoft.com/office/drawing/2014/main" id="{9EEF9700-20F3-8FB6-DE98-CB3208D36231}"/>
              </a:ext>
            </a:extLst>
          </p:cNvPr>
          <p:cNvSpPr/>
          <p:nvPr userDrawn="1"/>
        </p:nvSpPr>
        <p:spPr>
          <a:xfrm rot="10003791">
            <a:off x="-23901809" y="10157641"/>
            <a:ext cx="37651226" cy="16275492"/>
          </a:xfrm>
          <a:custGeom>
            <a:avLst/>
            <a:gdLst>
              <a:gd name="connsiteX0" fmla="*/ 24781932 w 25004707"/>
              <a:gd name="connsiteY0" fmla="*/ 4992328 h 10808782"/>
              <a:gd name="connsiteX1" fmla="*/ 24813712 w 25004707"/>
              <a:gd name="connsiteY1" fmla="*/ 4507894 h 10808782"/>
              <a:gd name="connsiteX2" fmla="*/ 24781932 w 25004707"/>
              <a:gd name="connsiteY2" fmla="*/ 4992328 h 10808782"/>
              <a:gd name="connsiteX3" fmla="*/ 24749994 w 25004707"/>
              <a:gd name="connsiteY3" fmla="*/ 5477249 h 10808782"/>
              <a:gd name="connsiteX4" fmla="*/ 24781932 w 25004707"/>
              <a:gd name="connsiteY4" fmla="*/ 4992328 h 10808782"/>
              <a:gd name="connsiteX5" fmla="*/ 23497668 w 25004707"/>
              <a:gd name="connsiteY5" fmla="*/ 4908160 h 10808782"/>
              <a:gd name="connsiteX6" fmla="*/ 23465886 w 25004707"/>
              <a:gd name="connsiteY6" fmla="*/ 5393065 h 10808782"/>
              <a:gd name="connsiteX7" fmla="*/ 24813712 w 25004707"/>
              <a:gd name="connsiteY7" fmla="*/ 4507894 h 10808782"/>
              <a:gd name="connsiteX8" fmla="*/ 24845492 w 25004707"/>
              <a:gd name="connsiteY8" fmla="*/ 4022989 h 10808782"/>
              <a:gd name="connsiteX9" fmla="*/ 24813712 w 25004707"/>
              <a:gd name="connsiteY9" fmla="*/ 4507894 h 10808782"/>
              <a:gd name="connsiteX10" fmla="*/ 23529446 w 25004707"/>
              <a:gd name="connsiteY10" fmla="*/ 4423711 h 10808782"/>
              <a:gd name="connsiteX11" fmla="*/ 24718214 w 25004707"/>
              <a:gd name="connsiteY11" fmla="*/ 5961666 h 10808782"/>
              <a:gd name="connsiteX12" fmla="*/ 24686276 w 25004707"/>
              <a:gd name="connsiteY12" fmla="*/ 6446571 h 10808782"/>
              <a:gd name="connsiteX13" fmla="*/ 23402168 w 25004707"/>
              <a:gd name="connsiteY13" fmla="*/ 6362388 h 10808782"/>
              <a:gd name="connsiteX14" fmla="*/ 24718214 w 25004707"/>
              <a:gd name="connsiteY14" fmla="*/ 5961666 h 10808782"/>
              <a:gd name="connsiteX15" fmla="*/ 24749994 w 25004707"/>
              <a:gd name="connsiteY15" fmla="*/ 5477249 h 10808782"/>
              <a:gd name="connsiteX16" fmla="*/ 24718214 w 25004707"/>
              <a:gd name="connsiteY16" fmla="*/ 5961666 h 10808782"/>
              <a:gd name="connsiteX17" fmla="*/ 23433948 w 25004707"/>
              <a:gd name="connsiteY17" fmla="*/ 5877498 h 10808782"/>
              <a:gd name="connsiteX18" fmla="*/ 24749994 w 25004707"/>
              <a:gd name="connsiteY18" fmla="*/ 5477249 h 10808782"/>
              <a:gd name="connsiteX19" fmla="*/ 23465886 w 25004707"/>
              <a:gd name="connsiteY19" fmla="*/ 5393065 h 10808782"/>
              <a:gd name="connsiteX20" fmla="*/ 24940990 w 25004707"/>
              <a:gd name="connsiteY20" fmla="*/ 2568777 h 10808782"/>
              <a:gd name="connsiteX21" fmla="*/ 24909210 w 25004707"/>
              <a:gd name="connsiteY21" fmla="*/ 3053682 h 10808782"/>
              <a:gd name="connsiteX22" fmla="*/ 23624944 w 25004707"/>
              <a:gd name="connsiteY22" fmla="*/ 2969499 h 10808782"/>
              <a:gd name="connsiteX23" fmla="*/ 24877430 w 25004707"/>
              <a:gd name="connsiteY23" fmla="*/ 3538571 h 10808782"/>
              <a:gd name="connsiteX24" fmla="*/ 24845492 w 25004707"/>
              <a:gd name="connsiteY24" fmla="*/ 4023005 h 10808782"/>
              <a:gd name="connsiteX25" fmla="*/ 24845492 w 25004707"/>
              <a:gd name="connsiteY25" fmla="*/ 4023005 h 10808782"/>
              <a:gd name="connsiteX26" fmla="*/ 24856664 w 25004707"/>
              <a:gd name="connsiteY26" fmla="*/ 4023744 h 10808782"/>
              <a:gd name="connsiteX27" fmla="*/ 24845492 w 25004707"/>
              <a:gd name="connsiteY27" fmla="*/ 4023005 h 10808782"/>
              <a:gd name="connsiteX28" fmla="*/ 23561384 w 25004707"/>
              <a:gd name="connsiteY28" fmla="*/ 3938837 h 10808782"/>
              <a:gd name="connsiteX29" fmla="*/ 24940990 w 25004707"/>
              <a:gd name="connsiteY29" fmla="*/ 2568777 h 10808782"/>
              <a:gd name="connsiteX30" fmla="*/ 23656882 w 25004707"/>
              <a:gd name="connsiteY30" fmla="*/ 2484594 h 10808782"/>
              <a:gd name="connsiteX31" fmla="*/ 23624944 w 25004707"/>
              <a:gd name="connsiteY31" fmla="*/ 2969499 h 10808782"/>
              <a:gd name="connsiteX32" fmla="*/ 24940990 w 25004707"/>
              <a:gd name="connsiteY32" fmla="*/ 2568777 h 10808782"/>
              <a:gd name="connsiteX33" fmla="*/ 24952160 w 25004707"/>
              <a:gd name="connsiteY33" fmla="*/ 2569500 h 10808782"/>
              <a:gd name="connsiteX34" fmla="*/ 24940990 w 25004707"/>
              <a:gd name="connsiteY34" fmla="*/ 2568777 h 10808782"/>
              <a:gd name="connsiteX35" fmla="*/ 25004708 w 25004707"/>
              <a:gd name="connsiteY35" fmla="*/ 1599423 h 10808782"/>
              <a:gd name="connsiteX36" fmla="*/ 5763304 w 25004707"/>
              <a:gd name="connsiteY36" fmla="*/ 338142 h 10808782"/>
              <a:gd name="connsiteX37" fmla="*/ 631905 w 25004707"/>
              <a:gd name="connsiteY37" fmla="*/ 1774 h 10808782"/>
              <a:gd name="connsiteX38" fmla="*/ 604841 w 25004707"/>
              <a:gd name="connsiteY38" fmla="*/ 0 h 10808782"/>
              <a:gd name="connsiteX39" fmla="*/ 0 w 25004707"/>
              <a:gd name="connsiteY39" fmla="*/ 9209356 h 10808782"/>
              <a:gd name="connsiteX40" fmla="*/ 1284177 w 25004707"/>
              <a:gd name="connsiteY40" fmla="*/ 9293539 h 10808782"/>
              <a:gd name="connsiteX41" fmla="*/ 24909210 w 25004707"/>
              <a:gd name="connsiteY41" fmla="*/ 3053651 h 10808782"/>
              <a:gd name="connsiteX42" fmla="*/ 24877430 w 25004707"/>
              <a:gd name="connsiteY42" fmla="*/ 3538556 h 10808782"/>
              <a:gd name="connsiteX43" fmla="*/ 23593164 w 25004707"/>
              <a:gd name="connsiteY43" fmla="*/ 3454388 h 10808782"/>
              <a:gd name="connsiteX44" fmla="*/ 24590780 w 25004707"/>
              <a:gd name="connsiteY44" fmla="*/ 7900799 h 10808782"/>
              <a:gd name="connsiteX45" fmla="*/ 24622718 w 25004707"/>
              <a:gd name="connsiteY45" fmla="*/ 7415910 h 10808782"/>
              <a:gd name="connsiteX46" fmla="*/ 24590780 w 25004707"/>
              <a:gd name="connsiteY46" fmla="*/ 7900799 h 10808782"/>
              <a:gd name="connsiteX47" fmla="*/ 23306672 w 25004707"/>
              <a:gd name="connsiteY47" fmla="*/ 7816615 h 10808782"/>
              <a:gd name="connsiteX48" fmla="*/ 23274890 w 25004707"/>
              <a:gd name="connsiteY48" fmla="*/ 8301049 h 10808782"/>
              <a:gd name="connsiteX49" fmla="*/ 21990782 w 25004707"/>
              <a:gd name="connsiteY49" fmla="*/ 8216849 h 10808782"/>
              <a:gd name="connsiteX50" fmla="*/ 21466882 w 25004707"/>
              <a:gd name="connsiteY50" fmla="*/ 8182522 h 10808782"/>
              <a:gd name="connsiteX51" fmla="*/ 20799970 w 25004707"/>
              <a:gd name="connsiteY51" fmla="*/ 8169870 h 10808782"/>
              <a:gd name="connsiteX52" fmla="*/ 24590780 w 25004707"/>
              <a:gd name="connsiteY52" fmla="*/ 7900799 h 10808782"/>
              <a:gd name="connsiteX53" fmla="*/ 24601948 w 25004707"/>
              <a:gd name="connsiteY53" fmla="*/ 7901538 h 10808782"/>
              <a:gd name="connsiteX54" fmla="*/ 24622718 w 25004707"/>
              <a:gd name="connsiteY54" fmla="*/ 7415910 h 10808782"/>
              <a:gd name="connsiteX55" fmla="*/ 24654496 w 25004707"/>
              <a:gd name="connsiteY55" fmla="*/ 6931005 h 10808782"/>
              <a:gd name="connsiteX56" fmla="*/ 24622718 w 25004707"/>
              <a:gd name="connsiteY56" fmla="*/ 7415910 h 10808782"/>
              <a:gd name="connsiteX57" fmla="*/ 23338452 w 25004707"/>
              <a:gd name="connsiteY57" fmla="*/ 7331710 h 10808782"/>
              <a:gd name="connsiteX58" fmla="*/ 24558998 w 25004707"/>
              <a:gd name="connsiteY58" fmla="*/ 8385232 h 10808782"/>
              <a:gd name="connsiteX59" fmla="*/ 24527218 w 25004707"/>
              <a:gd name="connsiteY59" fmla="*/ 8870137 h 10808782"/>
              <a:gd name="connsiteX60" fmla="*/ 23242952 w 25004707"/>
              <a:gd name="connsiteY60" fmla="*/ 8785953 h 10808782"/>
              <a:gd name="connsiteX61" fmla="*/ 24558998 w 25004707"/>
              <a:gd name="connsiteY61" fmla="*/ 8385232 h 10808782"/>
              <a:gd name="connsiteX62" fmla="*/ 24590780 w 25004707"/>
              <a:gd name="connsiteY62" fmla="*/ 7900799 h 10808782"/>
              <a:gd name="connsiteX63" fmla="*/ 24558998 w 25004707"/>
              <a:gd name="connsiteY63" fmla="*/ 8385232 h 10808782"/>
              <a:gd name="connsiteX64" fmla="*/ 23274890 w 25004707"/>
              <a:gd name="connsiteY64" fmla="*/ 8301049 h 10808782"/>
              <a:gd name="connsiteX65" fmla="*/ 23242952 w 25004707"/>
              <a:gd name="connsiteY65" fmla="*/ 8785953 h 10808782"/>
              <a:gd name="connsiteX66" fmla="*/ 24654496 w 25004707"/>
              <a:gd name="connsiteY66" fmla="*/ 6931005 h 10808782"/>
              <a:gd name="connsiteX67" fmla="*/ 24686434 w 25004707"/>
              <a:gd name="connsiteY67" fmla="*/ 6446571 h 10808782"/>
              <a:gd name="connsiteX68" fmla="*/ 24697448 w 25004707"/>
              <a:gd name="connsiteY68" fmla="*/ 6447294 h 10808782"/>
              <a:gd name="connsiteX69" fmla="*/ 24654496 w 25004707"/>
              <a:gd name="connsiteY69" fmla="*/ 6931005 h 10808782"/>
              <a:gd name="connsiteX70" fmla="*/ 23370388 w 25004707"/>
              <a:gd name="connsiteY70" fmla="*/ 6846837 h 10808782"/>
              <a:gd name="connsiteX71" fmla="*/ 24463500 w 25004707"/>
              <a:gd name="connsiteY71" fmla="*/ 9839444 h 10808782"/>
              <a:gd name="connsiteX72" fmla="*/ 24431722 w 25004707"/>
              <a:gd name="connsiteY72" fmla="*/ 10323878 h 10808782"/>
              <a:gd name="connsiteX73" fmla="*/ 23147614 w 25004707"/>
              <a:gd name="connsiteY73" fmla="*/ 10239694 h 10808782"/>
              <a:gd name="connsiteX74" fmla="*/ 23338608 w 25004707"/>
              <a:gd name="connsiteY74" fmla="*/ 7331726 h 10808782"/>
              <a:gd name="connsiteX75" fmla="*/ 23306672 w 25004707"/>
              <a:gd name="connsiteY75" fmla="*/ 7816631 h 10808782"/>
              <a:gd name="connsiteX76" fmla="*/ 22022564 w 25004707"/>
              <a:gd name="connsiteY76" fmla="*/ 7732447 h 10808782"/>
              <a:gd name="connsiteX77" fmla="*/ 23242952 w 25004707"/>
              <a:gd name="connsiteY77" fmla="*/ 8785953 h 10808782"/>
              <a:gd name="connsiteX78" fmla="*/ 23211172 w 25004707"/>
              <a:gd name="connsiteY78" fmla="*/ 9270371 h 10808782"/>
              <a:gd name="connsiteX79" fmla="*/ 23242952 w 25004707"/>
              <a:gd name="connsiteY79" fmla="*/ 8785953 h 10808782"/>
              <a:gd name="connsiteX80" fmla="*/ 21958844 w 25004707"/>
              <a:gd name="connsiteY80" fmla="*/ 8701770 h 10808782"/>
              <a:gd name="connsiteX81" fmla="*/ 23433948 w 25004707"/>
              <a:gd name="connsiteY81" fmla="*/ 5877498 h 10808782"/>
              <a:gd name="connsiteX82" fmla="*/ 23465886 w 25004707"/>
              <a:gd name="connsiteY82" fmla="*/ 5393065 h 10808782"/>
              <a:gd name="connsiteX83" fmla="*/ 23433948 w 25004707"/>
              <a:gd name="connsiteY83" fmla="*/ 5877498 h 10808782"/>
              <a:gd name="connsiteX84" fmla="*/ 22149840 w 25004707"/>
              <a:gd name="connsiteY84" fmla="*/ 5793299 h 10808782"/>
              <a:gd name="connsiteX85" fmla="*/ 22138828 w 25004707"/>
              <a:gd name="connsiteY85" fmla="*/ 6277685 h 10808782"/>
              <a:gd name="connsiteX86" fmla="*/ 23465886 w 25004707"/>
              <a:gd name="connsiteY86" fmla="*/ 5393065 h 10808782"/>
              <a:gd name="connsiteX87" fmla="*/ 22181622 w 25004707"/>
              <a:gd name="connsiteY87" fmla="*/ 5308881 h 10808782"/>
              <a:gd name="connsiteX88" fmla="*/ 23115676 w 25004707"/>
              <a:gd name="connsiteY88" fmla="*/ 10724599 h 10808782"/>
              <a:gd name="connsiteX89" fmla="*/ 23147614 w 25004707"/>
              <a:gd name="connsiteY89" fmla="*/ 10239709 h 10808782"/>
              <a:gd name="connsiteX90" fmla="*/ 23115676 w 25004707"/>
              <a:gd name="connsiteY90" fmla="*/ 10724599 h 10808782"/>
              <a:gd name="connsiteX91" fmla="*/ 24399940 w 25004707"/>
              <a:gd name="connsiteY91" fmla="*/ 10808782 h 10808782"/>
              <a:gd name="connsiteX92" fmla="*/ 24431722 w 25004707"/>
              <a:gd name="connsiteY92" fmla="*/ 10323878 h 10808782"/>
              <a:gd name="connsiteX93" fmla="*/ 23115676 w 25004707"/>
              <a:gd name="connsiteY93" fmla="*/ 10724599 h 10808782"/>
              <a:gd name="connsiteX94" fmla="*/ 21831568 w 25004707"/>
              <a:gd name="connsiteY94" fmla="*/ 10640431 h 10808782"/>
              <a:gd name="connsiteX95" fmla="*/ 23147614 w 25004707"/>
              <a:gd name="connsiteY95" fmla="*/ 10239709 h 10808782"/>
              <a:gd name="connsiteX96" fmla="*/ 23179392 w 25004707"/>
              <a:gd name="connsiteY96" fmla="*/ 9755261 h 10808782"/>
              <a:gd name="connsiteX97" fmla="*/ 23147614 w 25004707"/>
              <a:gd name="connsiteY97" fmla="*/ 10239709 h 10808782"/>
              <a:gd name="connsiteX98" fmla="*/ 21863348 w 25004707"/>
              <a:gd name="connsiteY98" fmla="*/ 10155526 h 10808782"/>
              <a:gd name="connsiteX99" fmla="*/ 23720600 w 25004707"/>
              <a:gd name="connsiteY99" fmla="*/ 1515244 h 10808782"/>
              <a:gd name="connsiteX100" fmla="*/ 23688662 w 25004707"/>
              <a:gd name="connsiteY100" fmla="*/ 2000144 h 10808782"/>
              <a:gd name="connsiteX101" fmla="*/ 23688662 w 25004707"/>
              <a:gd name="connsiteY101" fmla="*/ 2000144 h 10808782"/>
              <a:gd name="connsiteX102" fmla="*/ 24972772 w 25004707"/>
              <a:gd name="connsiteY102" fmla="*/ 2084312 h 10808782"/>
              <a:gd name="connsiteX103" fmla="*/ 23688662 w 25004707"/>
              <a:gd name="connsiteY103" fmla="*/ 2000144 h 10808782"/>
              <a:gd name="connsiteX104" fmla="*/ 22404554 w 25004707"/>
              <a:gd name="connsiteY104" fmla="*/ 1915976 h 10808782"/>
              <a:gd name="connsiteX105" fmla="*/ 23179392 w 25004707"/>
              <a:gd name="connsiteY105" fmla="*/ 9755261 h 10808782"/>
              <a:gd name="connsiteX106" fmla="*/ 23211172 w 25004707"/>
              <a:gd name="connsiteY106" fmla="*/ 9270387 h 10808782"/>
              <a:gd name="connsiteX107" fmla="*/ 23179392 w 25004707"/>
              <a:gd name="connsiteY107" fmla="*/ 9755261 h 10808782"/>
              <a:gd name="connsiteX108" fmla="*/ 21895126 w 25004707"/>
              <a:gd name="connsiteY108" fmla="*/ 9671092 h 10808782"/>
              <a:gd name="connsiteX109" fmla="*/ 21863348 w 25004707"/>
              <a:gd name="connsiteY109" fmla="*/ 10155526 h 10808782"/>
              <a:gd name="connsiteX110" fmla="*/ 23179392 w 25004707"/>
              <a:gd name="connsiteY110" fmla="*/ 9755261 h 10808782"/>
              <a:gd name="connsiteX111" fmla="*/ 24463500 w 25004707"/>
              <a:gd name="connsiteY111" fmla="*/ 9839460 h 10808782"/>
              <a:gd name="connsiteX112" fmla="*/ 24495438 w 25004707"/>
              <a:gd name="connsiteY112" fmla="*/ 9354555 h 10808782"/>
              <a:gd name="connsiteX113" fmla="*/ 24506452 w 25004707"/>
              <a:gd name="connsiteY113" fmla="*/ 9355294 h 10808782"/>
              <a:gd name="connsiteX114" fmla="*/ 23593164 w 25004707"/>
              <a:gd name="connsiteY114" fmla="*/ 3454388 h 10808782"/>
              <a:gd name="connsiteX115" fmla="*/ 23625102 w 25004707"/>
              <a:gd name="connsiteY115" fmla="*/ 2969483 h 10808782"/>
              <a:gd name="connsiteX116" fmla="*/ 23593164 w 25004707"/>
              <a:gd name="connsiteY116" fmla="*/ 3454388 h 10808782"/>
              <a:gd name="connsiteX117" fmla="*/ 22309056 w 25004707"/>
              <a:gd name="connsiteY117" fmla="*/ 3370204 h 10808782"/>
              <a:gd name="connsiteX118" fmla="*/ 23624944 w 25004707"/>
              <a:gd name="connsiteY118" fmla="*/ 2969499 h 10808782"/>
              <a:gd name="connsiteX119" fmla="*/ 22340836 w 25004707"/>
              <a:gd name="connsiteY119" fmla="*/ 2885315 h 10808782"/>
              <a:gd name="connsiteX120" fmla="*/ 23593164 w 25004707"/>
              <a:gd name="connsiteY120" fmla="*/ 3454388 h 10808782"/>
              <a:gd name="connsiteX121" fmla="*/ 23561384 w 25004707"/>
              <a:gd name="connsiteY121" fmla="*/ 3938821 h 10808782"/>
              <a:gd name="connsiteX122" fmla="*/ 22277118 w 25004707"/>
              <a:gd name="connsiteY122" fmla="*/ 3854653 h 10808782"/>
              <a:gd name="connsiteX123" fmla="*/ 23434106 w 25004707"/>
              <a:gd name="connsiteY123" fmla="*/ 5877482 h 10808782"/>
              <a:gd name="connsiteX124" fmla="*/ 23402168 w 25004707"/>
              <a:gd name="connsiteY124" fmla="*/ 6362388 h 10808782"/>
              <a:gd name="connsiteX125" fmla="*/ 22450808 w 25004707"/>
              <a:gd name="connsiteY125" fmla="*/ 6300020 h 10808782"/>
              <a:gd name="connsiteX126" fmla="*/ 22138828 w 25004707"/>
              <a:gd name="connsiteY126" fmla="*/ 6277685 h 10808782"/>
              <a:gd name="connsiteX127" fmla="*/ 23370388 w 25004707"/>
              <a:gd name="connsiteY127" fmla="*/ 6846837 h 10808782"/>
              <a:gd name="connsiteX128" fmla="*/ 23402168 w 25004707"/>
              <a:gd name="connsiteY128" fmla="*/ 6362404 h 10808782"/>
              <a:gd name="connsiteX129" fmla="*/ 23370388 w 25004707"/>
              <a:gd name="connsiteY129" fmla="*/ 6846837 h 10808782"/>
              <a:gd name="connsiteX130" fmla="*/ 23338452 w 25004707"/>
              <a:gd name="connsiteY130" fmla="*/ 7331710 h 10808782"/>
              <a:gd name="connsiteX131" fmla="*/ 23370388 w 25004707"/>
              <a:gd name="connsiteY131" fmla="*/ 6846837 h 10808782"/>
              <a:gd name="connsiteX132" fmla="*/ 22133950 w 25004707"/>
              <a:gd name="connsiteY132" fmla="*/ 6765781 h 10808782"/>
              <a:gd name="connsiteX133" fmla="*/ 23529604 w 25004707"/>
              <a:gd name="connsiteY133" fmla="*/ 4423711 h 10808782"/>
              <a:gd name="connsiteX134" fmla="*/ 23561384 w 25004707"/>
              <a:gd name="connsiteY134" fmla="*/ 3938806 h 10808782"/>
              <a:gd name="connsiteX135" fmla="*/ 23529604 w 25004707"/>
              <a:gd name="connsiteY135" fmla="*/ 4423711 h 10808782"/>
              <a:gd name="connsiteX136" fmla="*/ 23497668 w 25004707"/>
              <a:gd name="connsiteY136" fmla="*/ 4908160 h 10808782"/>
              <a:gd name="connsiteX137" fmla="*/ 22213560 w 25004707"/>
              <a:gd name="connsiteY137" fmla="*/ 4823976 h 10808782"/>
              <a:gd name="connsiteX138" fmla="*/ 23529604 w 25004707"/>
              <a:gd name="connsiteY138" fmla="*/ 4423711 h 10808782"/>
              <a:gd name="connsiteX139" fmla="*/ 22245338 w 25004707"/>
              <a:gd name="connsiteY139" fmla="*/ 4339527 h 10808782"/>
              <a:gd name="connsiteX140" fmla="*/ 23338452 w 25004707"/>
              <a:gd name="connsiteY140" fmla="*/ 7331710 h 10808782"/>
              <a:gd name="connsiteX141" fmla="*/ 22387090 w 25004707"/>
              <a:gd name="connsiteY141" fmla="*/ 7269358 h 10808782"/>
              <a:gd name="connsiteX142" fmla="*/ 22074952 w 25004707"/>
              <a:gd name="connsiteY142" fmla="*/ 7250780 h 10808782"/>
              <a:gd name="connsiteX143" fmla="*/ 23688662 w 25004707"/>
              <a:gd name="connsiteY143" fmla="*/ 2000160 h 10808782"/>
              <a:gd name="connsiteX144" fmla="*/ 23656882 w 25004707"/>
              <a:gd name="connsiteY144" fmla="*/ 2484594 h 10808782"/>
              <a:gd name="connsiteX145" fmla="*/ 22372618 w 25004707"/>
              <a:gd name="connsiteY145" fmla="*/ 2400410 h 10808782"/>
              <a:gd name="connsiteX146" fmla="*/ 23211172 w 25004707"/>
              <a:gd name="connsiteY146" fmla="*/ 9270371 h 10808782"/>
              <a:gd name="connsiteX147" fmla="*/ 24495438 w 25004707"/>
              <a:gd name="connsiteY147" fmla="*/ 9354555 h 10808782"/>
              <a:gd name="connsiteX148" fmla="*/ 24527218 w 25004707"/>
              <a:gd name="connsiteY148" fmla="*/ 8870122 h 10808782"/>
              <a:gd name="connsiteX149" fmla="*/ 24538388 w 25004707"/>
              <a:gd name="connsiteY149" fmla="*/ 8870860 h 10808782"/>
              <a:gd name="connsiteX150" fmla="*/ 23211172 w 25004707"/>
              <a:gd name="connsiteY150" fmla="*/ 9270371 h 10808782"/>
              <a:gd name="connsiteX151" fmla="*/ 21927064 w 25004707"/>
              <a:gd name="connsiteY151" fmla="*/ 9186203 h 10808782"/>
              <a:gd name="connsiteX152" fmla="*/ 21831568 w 25004707"/>
              <a:gd name="connsiteY152" fmla="*/ 10640431 h 10808782"/>
              <a:gd name="connsiteX153" fmla="*/ 21863348 w 25004707"/>
              <a:gd name="connsiteY153" fmla="*/ 10155526 h 10808782"/>
              <a:gd name="connsiteX154" fmla="*/ 21831568 w 25004707"/>
              <a:gd name="connsiteY154" fmla="*/ 10640431 h 10808782"/>
              <a:gd name="connsiteX155" fmla="*/ 20547302 w 25004707"/>
              <a:gd name="connsiteY155" fmla="*/ 10556248 h 10808782"/>
              <a:gd name="connsiteX156" fmla="*/ 21863348 w 25004707"/>
              <a:gd name="connsiteY156" fmla="*/ 10155526 h 10808782"/>
              <a:gd name="connsiteX157" fmla="*/ 20579240 w 25004707"/>
              <a:gd name="connsiteY157" fmla="*/ 10071342 h 10808782"/>
              <a:gd name="connsiteX158" fmla="*/ 22340836 w 25004707"/>
              <a:gd name="connsiteY158" fmla="*/ 2885299 h 10808782"/>
              <a:gd name="connsiteX159" fmla="*/ 22308898 w 25004707"/>
              <a:gd name="connsiteY159" fmla="*/ 3370204 h 10808782"/>
              <a:gd name="connsiteX160" fmla="*/ 21024790 w 25004707"/>
              <a:gd name="connsiteY160" fmla="*/ 3286020 h 10808782"/>
              <a:gd name="connsiteX161" fmla="*/ 22277118 w 25004707"/>
              <a:gd name="connsiteY161" fmla="*/ 3854653 h 10808782"/>
              <a:gd name="connsiteX162" fmla="*/ 22308898 w 25004707"/>
              <a:gd name="connsiteY162" fmla="*/ 3370220 h 10808782"/>
              <a:gd name="connsiteX163" fmla="*/ 22277118 w 25004707"/>
              <a:gd name="connsiteY163" fmla="*/ 3854653 h 10808782"/>
              <a:gd name="connsiteX164" fmla="*/ 20993010 w 25004707"/>
              <a:gd name="connsiteY164" fmla="*/ 3770469 h 10808782"/>
              <a:gd name="connsiteX165" fmla="*/ 21927064 w 25004707"/>
              <a:gd name="connsiteY165" fmla="*/ 9186203 h 10808782"/>
              <a:gd name="connsiteX166" fmla="*/ 21895126 w 25004707"/>
              <a:gd name="connsiteY166" fmla="*/ 9671109 h 10808782"/>
              <a:gd name="connsiteX167" fmla="*/ 20611018 w 25004707"/>
              <a:gd name="connsiteY167" fmla="*/ 9586925 h 10808782"/>
              <a:gd name="connsiteX168" fmla="*/ 21927064 w 25004707"/>
              <a:gd name="connsiteY168" fmla="*/ 9186203 h 10808782"/>
              <a:gd name="connsiteX169" fmla="*/ 21958844 w 25004707"/>
              <a:gd name="connsiteY169" fmla="*/ 8701770 h 10808782"/>
              <a:gd name="connsiteX170" fmla="*/ 21927064 w 25004707"/>
              <a:gd name="connsiteY170" fmla="*/ 9186203 h 10808782"/>
              <a:gd name="connsiteX171" fmla="*/ 20642800 w 25004707"/>
              <a:gd name="connsiteY171" fmla="*/ 9102019 h 10808782"/>
              <a:gd name="connsiteX172" fmla="*/ 22436334 w 25004707"/>
              <a:gd name="connsiteY172" fmla="*/ 1431070 h 10808782"/>
              <a:gd name="connsiteX173" fmla="*/ 22404554 w 25004707"/>
              <a:gd name="connsiteY173" fmla="*/ 1915976 h 10808782"/>
              <a:gd name="connsiteX174" fmla="*/ 22404554 w 25004707"/>
              <a:gd name="connsiteY174" fmla="*/ 1915976 h 10808782"/>
              <a:gd name="connsiteX175" fmla="*/ 21120288 w 25004707"/>
              <a:gd name="connsiteY175" fmla="*/ 1831793 h 10808782"/>
              <a:gd name="connsiteX176" fmla="*/ 22022564 w 25004707"/>
              <a:gd name="connsiteY176" fmla="*/ 7732431 h 10808782"/>
              <a:gd name="connsiteX177" fmla="*/ 22074952 w 25004707"/>
              <a:gd name="connsiteY177" fmla="*/ 7250780 h 10808782"/>
              <a:gd name="connsiteX178" fmla="*/ 22022564 w 25004707"/>
              <a:gd name="connsiteY178" fmla="*/ 7732431 h 10808782"/>
              <a:gd name="connsiteX179" fmla="*/ 21113838 w 25004707"/>
              <a:gd name="connsiteY179" fmla="*/ 7756637 h 10808782"/>
              <a:gd name="connsiteX180" fmla="*/ 22022564 w 25004707"/>
              <a:gd name="connsiteY180" fmla="*/ 7732431 h 10808782"/>
              <a:gd name="connsiteX181" fmla="*/ 21958844 w 25004707"/>
              <a:gd name="connsiteY181" fmla="*/ 8701770 h 10808782"/>
              <a:gd name="connsiteX182" fmla="*/ 22181622 w 25004707"/>
              <a:gd name="connsiteY182" fmla="*/ 5308897 h 10808782"/>
              <a:gd name="connsiteX183" fmla="*/ 22149840 w 25004707"/>
              <a:gd name="connsiteY183" fmla="*/ 5793330 h 10808782"/>
              <a:gd name="connsiteX184" fmla="*/ 21252128 w 25004707"/>
              <a:gd name="connsiteY184" fmla="*/ 5650708 h 10808782"/>
              <a:gd name="connsiteX185" fmla="*/ 21488592 w 25004707"/>
              <a:gd name="connsiteY185" fmla="*/ 6165430 h 10808782"/>
              <a:gd name="connsiteX186" fmla="*/ 21015036 w 25004707"/>
              <a:gd name="connsiteY186" fmla="*/ 5981942 h 10808782"/>
              <a:gd name="connsiteX187" fmla="*/ 22074952 w 25004707"/>
              <a:gd name="connsiteY187" fmla="*/ 7250780 h 10808782"/>
              <a:gd name="connsiteX188" fmla="*/ 22133950 w 25004707"/>
              <a:gd name="connsiteY188" fmla="*/ 6766253 h 10808782"/>
              <a:gd name="connsiteX189" fmla="*/ 22138828 w 25004707"/>
              <a:gd name="connsiteY189" fmla="*/ 6277685 h 10808782"/>
              <a:gd name="connsiteX190" fmla="*/ 22133950 w 25004707"/>
              <a:gd name="connsiteY190" fmla="*/ 6765781 h 10808782"/>
              <a:gd name="connsiteX191" fmla="*/ 21562380 w 25004707"/>
              <a:gd name="connsiteY191" fmla="*/ 6728310 h 10808782"/>
              <a:gd name="connsiteX192" fmla="*/ 22138828 w 25004707"/>
              <a:gd name="connsiteY192" fmla="*/ 6277685 h 10808782"/>
              <a:gd name="connsiteX193" fmla="*/ 21488592 w 25004707"/>
              <a:gd name="connsiteY193" fmla="*/ 6165414 h 10808782"/>
              <a:gd name="connsiteX194" fmla="*/ 22245338 w 25004707"/>
              <a:gd name="connsiteY194" fmla="*/ 4339527 h 10808782"/>
              <a:gd name="connsiteX195" fmla="*/ 22277276 w 25004707"/>
              <a:gd name="connsiteY195" fmla="*/ 3854622 h 10808782"/>
              <a:gd name="connsiteX196" fmla="*/ 22245338 w 25004707"/>
              <a:gd name="connsiteY196" fmla="*/ 4339527 h 10808782"/>
              <a:gd name="connsiteX197" fmla="*/ 20961230 w 25004707"/>
              <a:gd name="connsiteY197" fmla="*/ 4255359 h 10808782"/>
              <a:gd name="connsiteX198" fmla="*/ 21958844 w 25004707"/>
              <a:gd name="connsiteY198" fmla="*/ 8701770 h 10808782"/>
              <a:gd name="connsiteX199" fmla="*/ 20674580 w 25004707"/>
              <a:gd name="connsiteY199" fmla="*/ 8617586 h 10808782"/>
              <a:gd name="connsiteX200" fmla="*/ 20642800 w 25004707"/>
              <a:gd name="connsiteY200" fmla="*/ 9102019 h 10808782"/>
              <a:gd name="connsiteX201" fmla="*/ 22181622 w 25004707"/>
              <a:gd name="connsiteY201" fmla="*/ 5308881 h 10808782"/>
              <a:gd name="connsiteX202" fmla="*/ 22213560 w 25004707"/>
              <a:gd name="connsiteY202" fmla="*/ 4823992 h 10808782"/>
              <a:gd name="connsiteX203" fmla="*/ 22181622 w 25004707"/>
              <a:gd name="connsiteY203" fmla="*/ 5308881 h 10808782"/>
              <a:gd name="connsiteX204" fmla="*/ 21849030 w 25004707"/>
              <a:gd name="connsiteY204" fmla="*/ 5287081 h 10808782"/>
              <a:gd name="connsiteX205" fmla="*/ 20995686 w 25004707"/>
              <a:gd name="connsiteY205" fmla="*/ 5199596 h 10808782"/>
              <a:gd name="connsiteX206" fmla="*/ 21252128 w 25004707"/>
              <a:gd name="connsiteY206" fmla="*/ 5651180 h 10808782"/>
              <a:gd name="connsiteX207" fmla="*/ 20568856 w 25004707"/>
              <a:gd name="connsiteY207" fmla="*/ 5391367 h 10808782"/>
              <a:gd name="connsiteX208" fmla="*/ 21015666 w 25004707"/>
              <a:gd name="connsiteY208" fmla="*/ 5981974 h 10808782"/>
              <a:gd name="connsiteX209" fmla="*/ 22245338 w 25004707"/>
              <a:gd name="connsiteY209" fmla="*/ 4339543 h 10808782"/>
              <a:gd name="connsiteX210" fmla="*/ 22213560 w 25004707"/>
              <a:gd name="connsiteY210" fmla="*/ 4823976 h 10808782"/>
              <a:gd name="connsiteX211" fmla="*/ 20929452 w 25004707"/>
              <a:gd name="connsiteY211" fmla="*/ 4739792 h 10808782"/>
              <a:gd name="connsiteX212" fmla="*/ 22372774 w 25004707"/>
              <a:gd name="connsiteY212" fmla="*/ 2400425 h 10808782"/>
              <a:gd name="connsiteX213" fmla="*/ 22340836 w 25004707"/>
              <a:gd name="connsiteY213" fmla="*/ 2885315 h 10808782"/>
              <a:gd name="connsiteX214" fmla="*/ 22340836 w 25004707"/>
              <a:gd name="connsiteY214" fmla="*/ 2885315 h 10808782"/>
              <a:gd name="connsiteX215" fmla="*/ 21056728 w 25004707"/>
              <a:gd name="connsiteY215" fmla="*/ 2801147 h 10808782"/>
              <a:gd name="connsiteX216" fmla="*/ 22404398 w 25004707"/>
              <a:gd name="connsiteY216" fmla="*/ 1915976 h 10808782"/>
              <a:gd name="connsiteX217" fmla="*/ 22372618 w 25004707"/>
              <a:gd name="connsiteY217" fmla="*/ 2400410 h 10808782"/>
              <a:gd name="connsiteX218" fmla="*/ 22372618 w 25004707"/>
              <a:gd name="connsiteY218" fmla="*/ 2400410 h 10808782"/>
              <a:gd name="connsiteX219" fmla="*/ 21088510 w 25004707"/>
              <a:gd name="connsiteY219" fmla="*/ 2316226 h 10808782"/>
              <a:gd name="connsiteX220" fmla="*/ 20579240 w 25004707"/>
              <a:gd name="connsiteY220" fmla="*/ 10071342 h 10808782"/>
              <a:gd name="connsiteX221" fmla="*/ 20611018 w 25004707"/>
              <a:gd name="connsiteY221" fmla="*/ 9586909 h 10808782"/>
              <a:gd name="connsiteX222" fmla="*/ 20579240 w 25004707"/>
              <a:gd name="connsiteY222" fmla="*/ 10071342 h 10808782"/>
              <a:gd name="connsiteX223" fmla="*/ 19294974 w 25004707"/>
              <a:gd name="connsiteY223" fmla="*/ 9987158 h 10808782"/>
              <a:gd name="connsiteX224" fmla="*/ 21562380 w 25004707"/>
              <a:gd name="connsiteY224" fmla="*/ 6728766 h 10808782"/>
              <a:gd name="connsiteX225" fmla="*/ 21415592 w 25004707"/>
              <a:gd name="connsiteY225" fmla="*/ 7277186 h 10808782"/>
              <a:gd name="connsiteX226" fmla="*/ 22074952 w 25004707"/>
              <a:gd name="connsiteY226" fmla="*/ 7250749 h 10808782"/>
              <a:gd name="connsiteX227" fmla="*/ 20993010 w 25004707"/>
              <a:gd name="connsiteY227" fmla="*/ 3770469 h 10808782"/>
              <a:gd name="connsiteX228" fmla="*/ 21024790 w 25004707"/>
              <a:gd name="connsiteY228" fmla="*/ 3286052 h 10808782"/>
              <a:gd name="connsiteX229" fmla="*/ 20993010 w 25004707"/>
              <a:gd name="connsiteY229" fmla="*/ 3770469 h 10808782"/>
              <a:gd name="connsiteX230" fmla="*/ 19708746 w 25004707"/>
              <a:gd name="connsiteY230" fmla="*/ 3686286 h 10808782"/>
              <a:gd name="connsiteX231" fmla="*/ 20929294 w 25004707"/>
              <a:gd name="connsiteY231" fmla="*/ 4739792 h 10808782"/>
              <a:gd name="connsiteX232" fmla="*/ 20995528 w 25004707"/>
              <a:gd name="connsiteY232" fmla="*/ 5199596 h 10808782"/>
              <a:gd name="connsiteX233" fmla="*/ 20097030 w 25004707"/>
              <a:gd name="connsiteY233" fmla="*/ 4955313 h 10808782"/>
              <a:gd name="connsiteX234" fmla="*/ 20642800 w 25004707"/>
              <a:gd name="connsiteY234" fmla="*/ 9102019 h 10808782"/>
              <a:gd name="connsiteX235" fmla="*/ 20611018 w 25004707"/>
              <a:gd name="connsiteY235" fmla="*/ 9586925 h 10808782"/>
              <a:gd name="connsiteX236" fmla="*/ 19326754 w 25004707"/>
              <a:gd name="connsiteY236" fmla="*/ 9502741 h 10808782"/>
              <a:gd name="connsiteX237" fmla="*/ 20642800 w 25004707"/>
              <a:gd name="connsiteY237" fmla="*/ 9102019 h 10808782"/>
              <a:gd name="connsiteX238" fmla="*/ 19358692 w 25004707"/>
              <a:gd name="connsiteY238" fmla="*/ 9017836 h 10808782"/>
              <a:gd name="connsiteX239" fmla="*/ 20961230 w 25004707"/>
              <a:gd name="connsiteY239" fmla="*/ 4255359 h 10808782"/>
              <a:gd name="connsiteX240" fmla="*/ 20929294 w 25004707"/>
              <a:gd name="connsiteY240" fmla="*/ 4739792 h 10808782"/>
              <a:gd name="connsiteX241" fmla="*/ 19750594 w 25004707"/>
              <a:gd name="connsiteY241" fmla="*/ 4599921 h 10808782"/>
              <a:gd name="connsiteX242" fmla="*/ 20961230 w 25004707"/>
              <a:gd name="connsiteY242" fmla="*/ 4255359 h 10808782"/>
              <a:gd name="connsiteX243" fmla="*/ 20993010 w 25004707"/>
              <a:gd name="connsiteY243" fmla="*/ 3770454 h 10808782"/>
              <a:gd name="connsiteX244" fmla="*/ 20961230 w 25004707"/>
              <a:gd name="connsiteY244" fmla="*/ 4255359 h 10808782"/>
              <a:gd name="connsiteX245" fmla="*/ 19676964 w 25004707"/>
              <a:gd name="connsiteY245" fmla="*/ 4171175 h 10808782"/>
              <a:gd name="connsiteX246" fmla="*/ 21120288 w 25004707"/>
              <a:gd name="connsiteY246" fmla="*/ 1831808 h 10808782"/>
              <a:gd name="connsiteX247" fmla="*/ 21088510 w 25004707"/>
              <a:gd name="connsiteY247" fmla="*/ 2316226 h 10808782"/>
              <a:gd name="connsiteX248" fmla="*/ 21088510 w 25004707"/>
              <a:gd name="connsiteY248" fmla="*/ 2316226 h 10808782"/>
              <a:gd name="connsiteX249" fmla="*/ 21056728 w 25004707"/>
              <a:gd name="connsiteY249" fmla="*/ 2801131 h 10808782"/>
              <a:gd name="connsiteX250" fmla="*/ 21088510 w 25004707"/>
              <a:gd name="connsiteY250" fmla="*/ 2316226 h 10808782"/>
              <a:gd name="connsiteX251" fmla="*/ 19804244 w 25004707"/>
              <a:gd name="connsiteY251" fmla="*/ 2232058 h 10808782"/>
              <a:gd name="connsiteX252" fmla="*/ 21152226 w 25004707"/>
              <a:gd name="connsiteY252" fmla="*/ 1346888 h 10808782"/>
              <a:gd name="connsiteX253" fmla="*/ 21120288 w 25004707"/>
              <a:gd name="connsiteY253" fmla="*/ 1831793 h 10808782"/>
              <a:gd name="connsiteX254" fmla="*/ 21120288 w 25004707"/>
              <a:gd name="connsiteY254" fmla="*/ 1831793 h 10808782"/>
              <a:gd name="connsiteX255" fmla="*/ 19836180 w 25004707"/>
              <a:gd name="connsiteY255" fmla="*/ 1747609 h 10808782"/>
              <a:gd name="connsiteX256" fmla="*/ 21056728 w 25004707"/>
              <a:gd name="connsiteY256" fmla="*/ 2801131 h 10808782"/>
              <a:gd name="connsiteX257" fmla="*/ 21024790 w 25004707"/>
              <a:gd name="connsiteY257" fmla="*/ 3286020 h 10808782"/>
              <a:gd name="connsiteX258" fmla="*/ 21056728 w 25004707"/>
              <a:gd name="connsiteY258" fmla="*/ 2801131 h 10808782"/>
              <a:gd name="connsiteX259" fmla="*/ 19772464 w 25004707"/>
              <a:gd name="connsiteY259" fmla="*/ 2716963 h 10808782"/>
              <a:gd name="connsiteX260" fmla="*/ 21024790 w 25004707"/>
              <a:gd name="connsiteY260" fmla="*/ 3286020 h 10808782"/>
              <a:gd name="connsiteX261" fmla="*/ 19740684 w 25004707"/>
              <a:gd name="connsiteY261" fmla="*/ 3201853 h 10808782"/>
              <a:gd name="connsiteX262" fmla="*/ 21488592 w 25004707"/>
              <a:gd name="connsiteY262" fmla="*/ 6165430 h 10808782"/>
              <a:gd name="connsiteX263" fmla="*/ 21562380 w 25004707"/>
              <a:gd name="connsiteY263" fmla="*/ 6728310 h 10808782"/>
              <a:gd name="connsiteX264" fmla="*/ 21184006 w 25004707"/>
              <a:gd name="connsiteY264" fmla="*/ 6703508 h 10808782"/>
              <a:gd name="connsiteX265" fmla="*/ 20674736 w 25004707"/>
              <a:gd name="connsiteY265" fmla="*/ 8617602 h 10808782"/>
              <a:gd name="connsiteX266" fmla="*/ 20690628 w 25004707"/>
              <a:gd name="connsiteY266" fmla="*/ 8375378 h 10808782"/>
              <a:gd name="connsiteX267" fmla="*/ 20800442 w 25004707"/>
              <a:gd name="connsiteY267" fmla="*/ 8170860 h 10808782"/>
              <a:gd name="connsiteX268" fmla="*/ 21113838 w 25004707"/>
              <a:gd name="connsiteY268" fmla="*/ 7756165 h 10808782"/>
              <a:gd name="connsiteX269" fmla="*/ 21415434 w 25004707"/>
              <a:gd name="connsiteY269" fmla="*/ 7276714 h 10808782"/>
              <a:gd name="connsiteX270" fmla="*/ 20579240 w 25004707"/>
              <a:gd name="connsiteY270" fmla="*/ 10071342 h 10808782"/>
              <a:gd name="connsiteX271" fmla="*/ 20547302 w 25004707"/>
              <a:gd name="connsiteY271" fmla="*/ 10556248 h 10808782"/>
              <a:gd name="connsiteX272" fmla="*/ 19263194 w 25004707"/>
              <a:gd name="connsiteY272" fmla="*/ 10472064 h 10808782"/>
              <a:gd name="connsiteX273" fmla="*/ 20800442 w 25004707"/>
              <a:gd name="connsiteY273" fmla="*/ 8170372 h 10808782"/>
              <a:gd name="connsiteX274" fmla="*/ 21113838 w 25004707"/>
              <a:gd name="connsiteY274" fmla="*/ 7756149 h 10808782"/>
              <a:gd name="connsiteX275" fmla="*/ 20096558 w 25004707"/>
              <a:gd name="connsiteY275" fmla="*/ 4954825 h 10808782"/>
              <a:gd name="connsiteX276" fmla="*/ 20568856 w 25004707"/>
              <a:gd name="connsiteY276" fmla="*/ 5391367 h 10808782"/>
              <a:gd name="connsiteX277" fmla="*/ 19539460 w 25004707"/>
              <a:gd name="connsiteY277" fmla="*/ 4997829 h 10808782"/>
              <a:gd name="connsiteX278" fmla="*/ 19676964 w 25004707"/>
              <a:gd name="connsiteY278" fmla="*/ 4170719 h 10808782"/>
              <a:gd name="connsiteX279" fmla="*/ 19750594 w 25004707"/>
              <a:gd name="connsiteY279" fmla="*/ 4599953 h 10808782"/>
              <a:gd name="connsiteX280" fmla="*/ 18586528 w 25004707"/>
              <a:gd name="connsiteY280" fmla="*/ 4366498 h 10808782"/>
              <a:gd name="connsiteX281" fmla="*/ 20097188 w 25004707"/>
              <a:gd name="connsiteY281" fmla="*/ 4954857 h 10808782"/>
              <a:gd name="connsiteX282" fmla="*/ 19751068 w 25004707"/>
              <a:gd name="connsiteY282" fmla="*/ 4599984 h 10808782"/>
              <a:gd name="connsiteX283" fmla="*/ 19772464 w 25004707"/>
              <a:gd name="connsiteY283" fmla="*/ 2716947 h 10808782"/>
              <a:gd name="connsiteX284" fmla="*/ 19740684 w 25004707"/>
              <a:gd name="connsiteY284" fmla="*/ 3201853 h 10808782"/>
              <a:gd name="connsiteX285" fmla="*/ 18456576 w 25004707"/>
              <a:gd name="connsiteY285" fmla="*/ 3117669 h 10808782"/>
              <a:gd name="connsiteX286" fmla="*/ 20922686 w 25004707"/>
              <a:gd name="connsiteY286" fmla="*/ 7397316 h 10808782"/>
              <a:gd name="connsiteX287" fmla="*/ 21184006 w 25004707"/>
              <a:gd name="connsiteY287" fmla="*/ 6703963 h 10808782"/>
              <a:gd name="connsiteX288" fmla="*/ 19877714 w 25004707"/>
              <a:gd name="connsiteY288" fmla="*/ 8295752 h 10808782"/>
              <a:gd name="connsiteX289" fmla="*/ 20403032 w 25004707"/>
              <a:gd name="connsiteY289" fmla="*/ 7924611 h 10808782"/>
              <a:gd name="connsiteX290" fmla="*/ 19740684 w 25004707"/>
              <a:gd name="connsiteY290" fmla="*/ 3201853 h 10808782"/>
              <a:gd name="connsiteX291" fmla="*/ 19708746 w 25004707"/>
              <a:gd name="connsiteY291" fmla="*/ 3686286 h 10808782"/>
              <a:gd name="connsiteX292" fmla="*/ 19708746 w 25004707"/>
              <a:gd name="connsiteY292" fmla="*/ 3686286 h 10808782"/>
              <a:gd name="connsiteX293" fmla="*/ 18424638 w 25004707"/>
              <a:gd name="connsiteY293" fmla="*/ 3602118 h 10808782"/>
              <a:gd name="connsiteX294" fmla="*/ 19804244 w 25004707"/>
              <a:gd name="connsiteY294" fmla="*/ 2232042 h 10808782"/>
              <a:gd name="connsiteX295" fmla="*/ 19772464 w 25004707"/>
              <a:gd name="connsiteY295" fmla="*/ 2716947 h 10808782"/>
              <a:gd name="connsiteX296" fmla="*/ 18488356 w 25004707"/>
              <a:gd name="connsiteY296" fmla="*/ 2632764 h 10808782"/>
              <a:gd name="connsiteX297" fmla="*/ 19804244 w 25004707"/>
              <a:gd name="connsiteY297" fmla="*/ 2232042 h 10808782"/>
              <a:gd name="connsiteX298" fmla="*/ 19836180 w 25004707"/>
              <a:gd name="connsiteY298" fmla="*/ 1747625 h 10808782"/>
              <a:gd name="connsiteX299" fmla="*/ 19804244 w 25004707"/>
              <a:gd name="connsiteY299" fmla="*/ 2232042 h 10808782"/>
              <a:gd name="connsiteX300" fmla="*/ 18520136 w 25004707"/>
              <a:gd name="connsiteY300" fmla="*/ 2147874 h 10808782"/>
              <a:gd name="connsiteX301" fmla="*/ 19676964 w 25004707"/>
              <a:gd name="connsiteY301" fmla="*/ 4171175 h 10808782"/>
              <a:gd name="connsiteX302" fmla="*/ 19708902 w 25004707"/>
              <a:gd name="connsiteY302" fmla="*/ 3686270 h 10808782"/>
              <a:gd name="connsiteX303" fmla="*/ 19676964 w 25004707"/>
              <a:gd name="connsiteY303" fmla="*/ 4171175 h 10808782"/>
              <a:gd name="connsiteX304" fmla="*/ 19344218 w 25004707"/>
              <a:gd name="connsiteY304" fmla="*/ 4149359 h 10808782"/>
              <a:gd name="connsiteX305" fmla="*/ 18402454 w 25004707"/>
              <a:gd name="connsiteY305" fmla="*/ 4077278 h 10808782"/>
              <a:gd name="connsiteX306" fmla="*/ 19326754 w 25004707"/>
              <a:gd name="connsiteY306" fmla="*/ 9502725 h 10808782"/>
              <a:gd name="connsiteX307" fmla="*/ 19294974 w 25004707"/>
              <a:gd name="connsiteY307" fmla="*/ 9987158 h 10808782"/>
              <a:gd name="connsiteX308" fmla="*/ 18010866 w 25004707"/>
              <a:gd name="connsiteY308" fmla="*/ 9902991 h 10808782"/>
              <a:gd name="connsiteX309" fmla="*/ 19263194 w 25004707"/>
              <a:gd name="connsiteY309" fmla="*/ 10472064 h 10808782"/>
              <a:gd name="connsiteX310" fmla="*/ 19294974 w 25004707"/>
              <a:gd name="connsiteY310" fmla="*/ 9987175 h 10808782"/>
              <a:gd name="connsiteX311" fmla="*/ 19263194 w 25004707"/>
              <a:gd name="connsiteY311" fmla="*/ 10472064 h 10808782"/>
              <a:gd name="connsiteX312" fmla="*/ 17978928 w 25004707"/>
              <a:gd name="connsiteY312" fmla="*/ 10387896 h 10808782"/>
              <a:gd name="connsiteX313" fmla="*/ 19326754 w 25004707"/>
              <a:gd name="connsiteY313" fmla="*/ 9502741 h 10808782"/>
              <a:gd name="connsiteX314" fmla="*/ 19358692 w 25004707"/>
              <a:gd name="connsiteY314" fmla="*/ 9017852 h 10808782"/>
              <a:gd name="connsiteX315" fmla="*/ 19326754 w 25004707"/>
              <a:gd name="connsiteY315" fmla="*/ 9502741 h 10808782"/>
              <a:gd name="connsiteX316" fmla="*/ 18042646 w 25004707"/>
              <a:gd name="connsiteY316" fmla="*/ 9418573 h 10808782"/>
              <a:gd name="connsiteX317" fmla="*/ 19358692 w 25004707"/>
              <a:gd name="connsiteY317" fmla="*/ 9017852 h 10808782"/>
              <a:gd name="connsiteX318" fmla="*/ 19487700 w 25004707"/>
              <a:gd name="connsiteY318" fmla="*/ 8601900 h 10808782"/>
              <a:gd name="connsiteX319" fmla="*/ 19358692 w 25004707"/>
              <a:gd name="connsiteY319" fmla="*/ 9017852 h 10808782"/>
              <a:gd name="connsiteX320" fmla="*/ 18082764 w 25004707"/>
              <a:gd name="connsiteY320" fmla="*/ 8945975 h 10808782"/>
              <a:gd name="connsiteX321" fmla="*/ 21015666 w 25004707"/>
              <a:gd name="connsiteY321" fmla="*/ 5981974 h 10808782"/>
              <a:gd name="connsiteX322" fmla="*/ 21184006 w 25004707"/>
              <a:gd name="connsiteY322" fmla="*/ 6703508 h 10808782"/>
              <a:gd name="connsiteX323" fmla="*/ 21015666 w 25004707"/>
              <a:gd name="connsiteY323" fmla="*/ 5981974 h 10808782"/>
              <a:gd name="connsiteX324" fmla="*/ 20273552 w 25004707"/>
              <a:gd name="connsiteY324" fmla="*/ 5643966 h 10808782"/>
              <a:gd name="connsiteX325" fmla="*/ 21184006 w 25004707"/>
              <a:gd name="connsiteY325" fmla="*/ 6703508 h 10808782"/>
              <a:gd name="connsiteX326" fmla="*/ 20666240 w 25004707"/>
              <a:gd name="connsiteY326" fmla="*/ 6669558 h 10808782"/>
              <a:gd name="connsiteX327" fmla="*/ 19487700 w 25004707"/>
              <a:gd name="connsiteY327" fmla="*/ 8602388 h 10808782"/>
              <a:gd name="connsiteX328" fmla="*/ 19877244 w 25004707"/>
              <a:gd name="connsiteY328" fmla="*/ 8295720 h 10808782"/>
              <a:gd name="connsiteX329" fmla="*/ 20922686 w 25004707"/>
              <a:gd name="connsiteY329" fmla="*/ 7397331 h 10808782"/>
              <a:gd name="connsiteX330" fmla="*/ 20402560 w 25004707"/>
              <a:gd name="connsiteY330" fmla="*/ 7924564 h 10808782"/>
              <a:gd name="connsiteX331" fmla="*/ 19330530 w 25004707"/>
              <a:gd name="connsiteY331" fmla="*/ 8180368 h 10808782"/>
              <a:gd name="connsiteX332" fmla="*/ 19867960 w 25004707"/>
              <a:gd name="connsiteY332" fmla="*/ 1262715 h 10808782"/>
              <a:gd name="connsiteX333" fmla="*/ 19836024 w 25004707"/>
              <a:gd name="connsiteY333" fmla="*/ 1747609 h 10808782"/>
              <a:gd name="connsiteX334" fmla="*/ 18551914 w 25004707"/>
              <a:gd name="connsiteY334" fmla="*/ 1663441 h 10808782"/>
              <a:gd name="connsiteX335" fmla="*/ 18583852 w 25004707"/>
              <a:gd name="connsiteY335" fmla="*/ 1178533 h 10808782"/>
              <a:gd name="connsiteX336" fmla="*/ 18551914 w 25004707"/>
              <a:gd name="connsiteY336" fmla="*/ 1663425 h 10808782"/>
              <a:gd name="connsiteX337" fmla="*/ 18551914 w 25004707"/>
              <a:gd name="connsiteY337" fmla="*/ 1663425 h 10808782"/>
              <a:gd name="connsiteX338" fmla="*/ 18520136 w 25004707"/>
              <a:gd name="connsiteY338" fmla="*/ 2147874 h 10808782"/>
              <a:gd name="connsiteX339" fmla="*/ 18551914 w 25004707"/>
              <a:gd name="connsiteY339" fmla="*/ 1663425 h 10808782"/>
              <a:gd name="connsiteX340" fmla="*/ 17267806 w 25004707"/>
              <a:gd name="connsiteY340" fmla="*/ 1579257 h 10808782"/>
              <a:gd name="connsiteX341" fmla="*/ 18586528 w 25004707"/>
              <a:gd name="connsiteY341" fmla="*/ 4366498 h 10808782"/>
              <a:gd name="connsiteX342" fmla="*/ 18402610 w 25004707"/>
              <a:gd name="connsiteY342" fmla="*/ 4076822 h 10808782"/>
              <a:gd name="connsiteX343" fmla="*/ 18586528 w 25004707"/>
              <a:gd name="connsiteY343" fmla="*/ 4366498 h 10808782"/>
              <a:gd name="connsiteX344" fmla="*/ 18962698 w 25004707"/>
              <a:gd name="connsiteY344" fmla="*/ 4627804 h 10808782"/>
              <a:gd name="connsiteX345" fmla="*/ 18586528 w 25004707"/>
              <a:gd name="connsiteY345" fmla="*/ 4366498 h 10808782"/>
              <a:gd name="connsiteX346" fmla="*/ 17200786 w 25004707"/>
              <a:gd name="connsiteY346" fmla="*/ 4158019 h 10808782"/>
              <a:gd name="connsiteX347" fmla="*/ 18488356 w 25004707"/>
              <a:gd name="connsiteY347" fmla="*/ 2632764 h 10808782"/>
              <a:gd name="connsiteX348" fmla="*/ 18456418 w 25004707"/>
              <a:gd name="connsiteY348" fmla="*/ 3117653 h 10808782"/>
              <a:gd name="connsiteX349" fmla="*/ 17172310 w 25004707"/>
              <a:gd name="connsiteY349" fmla="*/ 3033485 h 10808782"/>
              <a:gd name="connsiteX350" fmla="*/ 18488356 w 25004707"/>
              <a:gd name="connsiteY350" fmla="*/ 2632764 h 10808782"/>
              <a:gd name="connsiteX351" fmla="*/ 18520136 w 25004707"/>
              <a:gd name="connsiteY351" fmla="*/ 2147874 h 10808782"/>
              <a:gd name="connsiteX352" fmla="*/ 18488356 w 25004707"/>
              <a:gd name="connsiteY352" fmla="*/ 2632764 h 10808782"/>
              <a:gd name="connsiteX353" fmla="*/ 17204090 w 25004707"/>
              <a:gd name="connsiteY353" fmla="*/ 2548596 h 10808782"/>
              <a:gd name="connsiteX354" fmla="*/ 18424638 w 25004707"/>
              <a:gd name="connsiteY354" fmla="*/ 3602118 h 10808782"/>
              <a:gd name="connsiteX355" fmla="*/ 18402454 w 25004707"/>
              <a:gd name="connsiteY355" fmla="*/ 4077310 h 10808782"/>
              <a:gd name="connsiteX356" fmla="*/ 17125426 w 25004707"/>
              <a:gd name="connsiteY356" fmla="*/ 3949824 h 10808782"/>
              <a:gd name="connsiteX357" fmla="*/ 18424638 w 25004707"/>
              <a:gd name="connsiteY357" fmla="*/ 3602118 h 10808782"/>
              <a:gd name="connsiteX358" fmla="*/ 18456418 w 25004707"/>
              <a:gd name="connsiteY358" fmla="*/ 3117684 h 10808782"/>
              <a:gd name="connsiteX359" fmla="*/ 18424638 w 25004707"/>
              <a:gd name="connsiteY359" fmla="*/ 3602118 h 10808782"/>
              <a:gd name="connsiteX360" fmla="*/ 17140372 w 25004707"/>
              <a:gd name="connsiteY360" fmla="*/ 3517934 h 10808782"/>
              <a:gd name="connsiteX361" fmla="*/ 18520136 w 25004707"/>
              <a:gd name="connsiteY361" fmla="*/ 2147874 h 10808782"/>
              <a:gd name="connsiteX362" fmla="*/ 17236028 w 25004707"/>
              <a:gd name="connsiteY362" fmla="*/ 2063691 h 10808782"/>
              <a:gd name="connsiteX363" fmla="*/ 18962698 w 25004707"/>
              <a:gd name="connsiteY363" fmla="*/ 4627804 h 10808782"/>
              <a:gd name="connsiteX364" fmla="*/ 17358900 w 25004707"/>
              <a:gd name="connsiteY364" fmla="*/ 4323180 h 10808782"/>
              <a:gd name="connsiteX365" fmla="*/ 18962698 w 25004707"/>
              <a:gd name="connsiteY365" fmla="*/ 4627804 h 10808782"/>
              <a:gd name="connsiteX366" fmla="*/ 20096558 w 25004707"/>
              <a:gd name="connsiteY366" fmla="*/ 4954825 h 10808782"/>
              <a:gd name="connsiteX367" fmla="*/ 20273552 w 25004707"/>
              <a:gd name="connsiteY367" fmla="*/ 5643966 h 10808782"/>
              <a:gd name="connsiteX368" fmla="*/ 19539618 w 25004707"/>
              <a:gd name="connsiteY368" fmla="*/ 4997813 h 10808782"/>
              <a:gd name="connsiteX369" fmla="*/ 20273552 w 25004707"/>
              <a:gd name="connsiteY369" fmla="*/ 5643966 h 10808782"/>
              <a:gd name="connsiteX370" fmla="*/ 20666240 w 25004707"/>
              <a:gd name="connsiteY370" fmla="*/ 6669558 h 10808782"/>
              <a:gd name="connsiteX371" fmla="*/ 20273552 w 25004707"/>
              <a:gd name="connsiteY371" fmla="*/ 5643966 h 10808782"/>
              <a:gd name="connsiteX372" fmla="*/ 18261016 w 25004707"/>
              <a:gd name="connsiteY372" fmla="*/ 5022238 h 10808782"/>
              <a:gd name="connsiteX373" fmla="*/ 18710344 w 25004707"/>
              <a:gd name="connsiteY373" fmla="*/ 8471883 h 10808782"/>
              <a:gd name="connsiteX374" fmla="*/ 18303180 w 25004707"/>
              <a:gd name="connsiteY374" fmla="*/ 8681872 h 10808782"/>
              <a:gd name="connsiteX375" fmla="*/ 19487858 w 25004707"/>
              <a:gd name="connsiteY375" fmla="*/ 8602371 h 10808782"/>
              <a:gd name="connsiteX376" fmla="*/ 20666084 w 25004707"/>
              <a:gd name="connsiteY376" fmla="*/ 6669542 h 10808782"/>
              <a:gd name="connsiteX377" fmla="*/ 20142814 w 25004707"/>
              <a:gd name="connsiteY377" fmla="*/ 7635092 h 10808782"/>
              <a:gd name="connsiteX378" fmla="*/ 19330530 w 25004707"/>
              <a:gd name="connsiteY378" fmla="*/ 8179866 h 10808782"/>
              <a:gd name="connsiteX379" fmla="*/ 18710188 w 25004707"/>
              <a:gd name="connsiteY379" fmla="*/ 8471868 h 10808782"/>
              <a:gd name="connsiteX380" fmla="*/ 19330530 w 25004707"/>
              <a:gd name="connsiteY380" fmla="*/ 8179881 h 10808782"/>
              <a:gd name="connsiteX381" fmla="*/ 17402166 w 25004707"/>
              <a:gd name="connsiteY381" fmla="*/ 8385201 h 10808782"/>
              <a:gd name="connsiteX382" fmla="*/ 18082764 w 25004707"/>
              <a:gd name="connsiteY382" fmla="*/ 8945975 h 10808782"/>
              <a:gd name="connsiteX383" fmla="*/ 18303180 w 25004707"/>
              <a:gd name="connsiteY383" fmla="*/ 8681400 h 10808782"/>
              <a:gd name="connsiteX384" fmla="*/ 18082764 w 25004707"/>
              <a:gd name="connsiteY384" fmla="*/ 8945975 h 10808782"/>
              <a:gd name="connsiteX385" fmla="*/ 18042646 w 25004707"/>
              <a:gd name="connsiteY385" fmla="*/ 9418573 h 10808782"/>
              <a:gd name="connsiteX386" fmla="*/ 18082764 w 25004707"/>
              <a:gd name="connsiteY386" fmla="*/ 8945975 h 10808782"/>
              <a:gd name="connsiteX387" fmla="*/ 16799444 w 25004707"/>
              <a:gd name="connsiteY387" fmla="*/ 8904669 h 10808782"/>
              <a:gd name="connsiteX388" fmla="*/ 17978928 w 25004707"/>
              <a:gd name="connsiteY388" fmla="*/ 10387896 h 10808782"/>
              <a:gd name="connsiteX389" fmla="*/ 18010866 w 25004707"/>
              <a:gd name="connsiteY389" fmla="*/ 9902991 h 10808782"/>
              <a:gd name="connsiteX390" fmla="*/ 17978928 w 25004707"/>
              <a:gd name="connsiteY390" fmla="*/ 10387896 h 10808782"/>
              <a:gd name="connsiteX391" fmla="*/ 16694821 w 25004707"/>
              <a:gd name="connsiteY391" fmla="*/ 10303712 h 10808782"/>
              <a:gd name="connsiteX392" fmla="*/ 18010866 w 25004707"/>
              <a:gd name="connsiteY392" fmla="*/ 9902991 h 10808782"/>
              <a:gd name="connsiteX393" fmla="*/ 18042646 w 25004707"/>
              <a:gd name="connsiteY393" fmla="*/ 9418558 h 10808782"/>
              <a:gd name="connsiteX394" fmla="*/ 16758537 w 25004707"/>
              <a:gd name="connsiteY394" fmla="*/ 9334389 h 10808782"/>
              <a:gd name="connsiteX395" fmla="*/ 18010866 w 25004707"/>
              <a:gd name="connsiteY395" fmla="*/ 9902991 h 10808782"/>
              <a:gd name="connsiteX396" fmla="*/ 16726601 w 25004707"/>
              <a:gd name="connsiteY396" fmla="*/ 9818807 h 10808782"/>
              <a:gd name="connsiteX397" fmla="*/ 20666240 w 25004707"/>
              <a:gd name="connsiteY397" fmla="*/ 6669558 h 10808782"/>
              <a:gd name="connsiteX398" fmla="*/ 18998410 w 25004707"/>
              <a:gd name="connsiteY398" fmla="*/ 6560226 h 10808782"/>
              <a:gd name="connsiteX399" fmla="*/ 18261646 w 25004707"/>
              <a:gd name="connsiteY399" fmla="*/ 5022270 h 10808782"/>
              <a:gd name="connsiteX400" fmla="*/ 14385738 w 25004707"/>
              <a:gd name="connsiteY400" fmla="*/ 4808195 h 10808782"/>
              <a:gd name="connsiteX401" fmla="*/ 12486354 w 25004707"/>
              <a:gd name="connsiteY401" fmla="*/ 5165033 h 10808782"/>
              <a:gd name="connsiteX402" fmla="*/ 18962698 w 25004707"/>
              <a:gd name="connsiteY402" fmla="*/ 4628276 h 10808782"/>
              <a:gd name="connsiteX403" fmla="*/ 19539460 w 25004707"/>
              <a:gd name="connsiteY403" fmla="*/ 4998269 h 10808782"/>
              <a:gd name="connsiteX404" fmla="*/ 17654520 w 25004707"/>
              <a:gd name="connsiteY404" fmla="*/ 4542992 h 10808782"/>
              <a:gd name="connsiteX405" fmla="*/ 16758537 w 25004707"/>
              <a:gd name="connsiteY405" fmla="*/ 9334389 h 10808782"/>
              <a:gd name="connsiteX406" fmla="*/ 16800072 w 25004707"/>
              <a:gd name="connsiteY406" fmla="*/ 8904700 h 10808782"/>
              <a:gd name="connsiteX407" fmla="*/ 16758537 w 25004707"/>
              <a:gd name="connsiteY407" fmla="*/ 9334389 h 10808782"/>
              <a:gd name="connsiteX408" fmla="*/ 16726601 w 25004707"/>
              <a:gd name="connsiteY408" fmla="*/ 9818807 h 10808782"/>
              <a:gd name="connsiteX409" fmla="*/ 16758537 w 25004707"/>
              <a:gd name="connsiteY409" fmla="*/ 9334389 h 10808782"/>
              <a:gd name="connsiteX410" fmla="*/ 15474273 w 25004707"/>
              <a:gd name="connsiteY410" fmla="*/ 9250206 h 10808782"/>
              <a:gd name="connsiteX411" fmla="*/ 16726601 w 25004707"/>
              <a:gd name="connsiteY411" fmla="*/ 9818807 h 10808782"/>
              <a:gd name="connsiteX412" fmla="*/ 16694821 w 25004707"/>
              <a:gd name="connsiteY412" fmla="*/ 10303712 h 10808782"/>
              <a:gd name="connsiteX413" fmla="*/ 15410602 w 25004707"/>
              <a:gd name="connsiteY413" fmla="*/ 10219528 h 10808782"/>
              <a:gd name="connsiteX414" fmla="*/ 17267806 w 25004707"/>
              <a:gd name="connsiteY414" fmla="*/ 1579257 h 10808782"/>
              <a:gd name="connsiteX415" fmla="*/ 17236028 w 25004707"/>
              <a:gd name="connsiteY415" fmla="*/ 2063691 h 10808782"/>
              <a:gd name="connsiteX416" fmla="*/ 17267806 w 25004707"/>
              <a:gd name="connsiteY416" fmla="*/ 1579257 h 10808782"/>
              <a:gd name="connsiteX417" fmla="*/ 17299588 w 25004707"/>
              <a:gd name="connsiteY417" fmla="*/ 1094351 h 10808782"/>
              <a:gd name="connsiteX418" fmla="*/ 17267806 w 25004707"/>
              <a:gd name="connsiteY418" fmla="*/ 1579257 h 10808782"/>
              <a:gd name="connsiteX419" fmla="*/ 15983542 w 25004707"/>
              <a:gd name="connsiteY419" fmla="*/ 1495075 h 10808782"/>
              <a:gd name="connsiteX420" fmla="*/ 17236028 w 25004707"/>
              <a:gd name="connsiteY420" fmla="*/ 2063691 h 10808782"/>
              <a:gd name="connsiteX421" fmla="*/ 17204090 w 25004707"/>
              <a:gd name="connsiteY421" fmla="*/ 2548596 h 10808782"/>
              <a:gd name="connsiteX422" fmla="*/ 17236028 w 25004707"/>
              <a:gd name="connsiteY422" fmla="*/ 2063691 h 10808782"/>
              <a:gd name="connsiteX423" fmla="*/ 15951762 w 25004707"/>
              <a:gd name="connsiteY423" fmla="*/ 1979523 h 10808782"/>
              <a:gd name="connsiteX424" fmla="*/ 16799444 w 25004707"/>
              <a:gd name="connsiteY424" fmla="*/ 8904669 h 10808782"/>
              <a:gd name="connsiteX425" fmla="*/ 16902020 w 25004707"/>
              <a:gd name="connsiteY425" fmla="*/ 8707648 h 10808782"/>
              <a:gd name="connsiteX426" fmla="*/ 18303180 w 25004707"/>
              <a:gd name="connsiteY426" fmla="*/ 8681872 h 10808782"/>
              <a:gd name="connsiteX427" fmla="*/ 16799444 w 25004707"/>
              <a:gd name="connsiteY427" fmla="*/ 8904669 h 10808782"/>
              <a:gd name="connsiteX428" fmla="*/ 15487866 w 25004707"/>
              <a:gd name="connsiteY428" fmla="*/ 8816367 h 10808782"/>
              <a:gd name="connsiteX429" fmla="*/ 17204090 w 25004707"/>
              <a:gd name="connsiteY429" fmla="*/ 2548596 h 10808782"/>
              <a:gd name="connsiteX430" fmla="*/ 15919982 w 25004707"/>
              <a:gd name="connsiteY430" fmla="*/ 2464396 h 10808782"/>
              <a:gd name="connsiteX431" fmla="*/ 17172310 w 25004707"/>
              <a:gd name="connsiteY431" fmla="*/ 3033501 h 10808782"/>
              <a:gd name="connsiteX432" fmla="*/ 17140372 w 25004707"/>
              <a:gd name="connsiteY432" fmla="*/ 3517934 h 10808782"/>
              <a:gd name="connsiteX433" fmla="*/ 17140372 w 25004707"/>
              <a:gd name="connsiteY433" fmla="*/ 3517934 h 10808782"/>
              <a:gd name="connsiteX434" fmla="*/ 15856264 w 25004707"/>
              <a:gd name="connsiteY434" fmla="*/ 3433766 h 10808782"/>
              <a:gd name="connsiteX435" fmla="*/ 16726601 w 25004707"/>
              <a:gd name="connsiteY435" fmla="*/ 9818807 h 10808782"/>
              <a:gd name="connsiteX436" fmla="*/ 15442492 w 25004707"/>
              <a:gd name="connsiteY436" fmla="*/ 9734623 h 10808782"/>
              <a:gd name="connsiteX437" fmla="*/ 17204090 w 25004707"/>
              <a:gd name="connsiteY437" fmla="*/ 2548580 h 10808782"/>
              <a:gd name="connsiteX438" fmla="*/ 17172310 w 25004707"/>
              <a:gd name="connsiteY438" fmla="*/ 3033485 h 10808782"/>
              <a:gd name="connsiteX439" fmla="*/ 15888202 w 25004707"/>
              <a:gd name="connsiteY439" fmla="*/ 2949301 h 10808782"/>
              <a:gd name="connsiteX440" fmla="*/ 17402166 w 25004707"/>
              <a:gd name="connsiteY440" fmla="*/ 8385673 h 10808782"/>
              <a:gd name="connsiteX441" fmla="*/ 18066716 w 25004707"/>
              <a:gd name="connsiteY441" fmla="*/ 7989305 h 10808782"/>
              <a:gd name="connsiteX442" fmla="*/ 18998254 w 25004707"/>
              <a:gd name="connsiteY442" fmla="*/ 6560697 h 10808782"/>
              <a:gd name="connsiteX443" fmla="*/ 16901864 w 25004707"/>
              <a:gd name="connsiteY443" fmla="*/ 8707648 h 10808782"/>
              <a:gd name="connsiteX444" fmla="*/ 17080274 w 25004707"/>
              <a:gd name="connsiteY444" fmla="*/ 8564539 h 10808782"/>
              <a:gd name="connsiteX445" fmla="*/ 17402166 w 25004707"/>
              <a:gd name="connsiteY445" fmla="*/ 8385201 h 10808782"/>
              <a:gd name="connsiteX446" fmla="*/ 17200630 w 25004707"/>
              <a:gd name="connsiteY446" fmla="*/ 4158019 h 10808782"/>
              <a:gd name="connsiteX447" fmla="*/ 17124954 w 25004707"/>
              <a:gd name="connsiteY447" fmla="*/ 3949321 h 10808782"/>
              <a:gd name="connsiteX448" fmla="*/ 17140530 w 25004707"/>
              <a:gd name="connsiteY448" fmla="*/ 3517934 h 10808782"/>
              <a:gd name="connsiteX449" fmla="*/ 17125426 w 25004707"/>
              <a:gd name="connsiteY449" fmla="*/ 3949352 h 10808782"/>
              <a:gd name="connsiteX450" fmla="*/ 17201730 w 25004707"/>
              <a:gd name="connsiteY450" fmla="*/ 4158098 h 10808782"/>
              <a:gd name="connsiteX451" fmla="*/ 17358742 w 25004707"/>
              <a:gd name="connsiteY451" fmla="*/ 4323196 h 10808782"/>
              <a:gd name="connsiteX452" fmla="*/ 15489707 w 25004707"/>
              <a:gd name="connsiteY452" fmla="*/ 4211020 h 10808782"/>
              <a:gd name="connsiteX453" fmla="*/ 17654676 w 25004707"/>
              <a:gd name="connsiteY453" fmla="*/ 4542552 h 10808782"/>
              <a:gd name="connsiteX454" fmla="*/ 17359372 w 25004707"/>
              <a:gd name="connsiteY454" fmla="*/ 4322756 h 10808782"/>
              <a:gd name="connsiteX455" fmla="*/ 18261488 w 25004707"/>
              <a:gd name="connsiteY455" fmla="*/ 5022254 h 10808782"/>
              <a:gd name="connsiteX456" fmla="*/ 17654520 w 25004707"/>
              <a:gd name="connsiteY456" fmla="*/ 4542536 h 10808782"/>
              <a:gd name="connsiteX457" fmla="*/ 10846386 w 25004707"/>
              <a:gd name="connsiteY457" fmla="*/ 1158336 h 10808782"/>
              <a:gd name="connsiteX458" fmla="*/ 10814575 w 25004707"/>
              <a:gd name="connsiteY458" fmla="*/ 1642772 h 10808782"/>
              <a:gd name="connsiteX459" fmla="*/ 10846386 w 25004707"/>
              <a:gd name="connsiteY459" fmla="*/ 1158336 h 10808782"/>
              <a:gd name="connsiteX460" fmla="*/ 10878229 w 25004707"/>
              <a:gd name="connsiteY460" fmla="*/ 673426 h 10808782"/>
              <a:gd name="connsiteX461" fmla="*/ 10846386 w 25004707"/>
              <a:gd name="connsiteY461" fmla="*/ 1158336 h 10808782"/>
              <a:gd name="connsiteX462" fmla="*/ 9562215 w 25004707"/>
              <a:gd name="connsiteY462" fmla="*/ 1074149 h 10808782"/>
              <a:gd name="connsiteX463" fmla="*/ 10846386 w 25004707"/>
              <a:gd name="connsiteY463" fmla="*/ 1158336 h 10808782"/>
              <a:gd name="connsiteX464" fmla="*/ 12130541 w 25004707"/>
              <a:gd name="connsiteY464" fmla="*/ 1242500 h 10808782"/>
              <a:gd name="connsiteX465" fmla="*/ 10814575 w 25004707"/>
              <a:gd name="connsiteY465" fmla="*/ 1642772 h 10808782"/>
              <a:gd name="connsiteX466" fmla="*/ 10782701 w 25004707"/>
              <a:gd name="connsiteY466" fmla="*/ 2127677 h 10808782"/>
              <a:gd name="connsiteX467" fmla="*/ 10814575 w 25004707"/>
              <a:gd name="connsiteY467" fmla="*/ 1642772 h 10808782"/>
              <a:gd name="connsiteX468" fmla="*/ 12098730 w 25004707"/>
              <a:gd name="connsiteY468" fmla="*/ 1726956 h 10808782"/>
              <a:gd name="connsiteX469" fmla="*/ 10814575 w 25004707"/>
              <a:gd name="connsiteY469" fmla="*/ 1642772 h 10808782"/>
              <a:gd name="connsiteX470" fmla="*/ 9530388 w 25004707"/>
              <a:gd name="connsiteY470" fmla="*/ 1558589 h 10808782"/>
              <a:gd name="connsiteX471" fmla="*/ 10305289 w 25004707"/>
              <a:gd name="connsiteY471" fmla="*/ 9397889 h 10808782"/>
              <a:gd name="connsiteX472" fmla="*/ 10273446 w 25004707"/>
              <a:gd name="connsiteY472" fmla="*/ 9882778 h 10808782"/>
              <a:gd name="connsiteX473" fmla="*/ 8989260 w 25004707"/>
              <a:gd name="connsiteY473" fmla="*/ 9798610 h 10808782"/>
              <a:gd name="connsiteX474" fmla="*/ 10555692 w 25004707"/>
              <a:gd name="connsiteY474" fmla="*/ 5519827 h 10808782"/>
              <a:gd name="connsiteX475" fmla="*/ 10507424 w 25004707"/>
              <a:gd name="connsiteY475" fmla="*/ 6003648 h 10808782"/>
              <a:gd name="connsiteX476" fmla="*/ 10555614 w 25004707"/>
              <a:gd name="connsiteY476" fmla="*/ 5519341 h 10808782"/>
              <a:gd name="connsiteX477" fmla="*/ 10575783 w 25004707"/>
              <a:gd name="connsiteY477" fmla="*/ 5277870 h 10808782"/>
              <a:gd name="connsiteX478" fmla="*/ 10591688 w 25004707"/>
              <a:gd name="connsiteY478" fmla="*/ 5035661 h 10808782"/>
              <a:gd name="connsiteX479" fmla="*/ 11548855 w 25004707"/>
              <a:gd name="connsiteY479" fmla="*/ 5027347 h 10808782"/>
              <a:gd name="connsiteX480" fmla="*/ 10337085 w 25004707"/>
              <a:gd name="connsiteY480" fmla="*/ 8913455 h 10808782"/>
              <a:gd name="connsiteX481" fmla="*/ 10305258 w 25004707"/>
              <a:gd name="connsiteY481" fmla="*/ 9397889 h 10808782"/>
              <a:gd name="connsiteX482" fmla="*/ 9021087 w 25004707"/>
              <a:gd name="connsiteY482" fmla="*/ 9313705 h 10808782"/>
              <a:gd name="connsiteX483" fmla="*/ 10337085 w 25004707"/>
              <a:gd name="connsiteY483" fmla="*/ 8913455 h 10808782"/>
              <a:gd name="connsiteX484" fmla="*/ 10368913 w 25004707"/>
              <a:gd name="connsiteY484" fmla="*/ 8428566 h 10808782"/>
              <a:gd name="connsiteX485" fmla="*/ 10337085 w 25004707"/>
              <a:gd name="connsiteY485" fmla="*/ 8913455 h 10808782"/>
              <a:gd name="connsiteX486" fmla="*/ 9052883 w 25004707"/>
              <a:gd name="connsiteY486" fmla="*/ 8829287 h 10808782"/>
              <a:gd name="connsiteX487" fmla="*/ 10464347 w 25004707"/>
              <a:gd name="connsiteY487" fmla="*/ 6974794 h 10808782"/>
              <a:gd name="connsiteX488" fmla="*/ 10432536 w 25004707"/>
              <a:gd name="connsiteY488" fmla="*/ 7459228 h 10808782"/>
              <a:gd name="connsiteX489" fmla="*/ 9148365 w 25004707"/>
              <a:gd name="connsiteY489" fmla="*/ 7375059 h 10808782"/>
              <a:gd name="connsiteX490" fmla="*/ 9116522 w 25004707"/>
              <a:gd name="connsiteY490" fmla="*/ 7859965 h 10808782"/>
              <a:gd name="connsiteX491" fmla="*/ 10782731 w 25004707"/>
              <a:gd name="connsiteY491" fmla="*/ 2127662 h 10808782"/>
              <a:gd name="connsiteX492" fmla="*/ 10750888 w 25004707"/>
              <a:gd name="connsiteY492" fmla="*/ 2612551 h 10808782"/>
              <a:gd name="connsiteX493" fmla="*/ 10750888 w 25004707"/>
              <a:gd name="connsiteY493" fmla="*/ 2612551 h 10808782"/>
              <a:gd name="connsiteX494" fmla="*/ 12035043 w 25004707"/>
              <a:gd name="connsiteY494" fmla="*/ 2696735 h 10808782"/>
              <a:gd name="connsiteX495" fmla="*/ 10750888 w 25004707"/>
              <a:gd name="connsiteY495" fmla="*/ 2612551 h 10808782"/>
              <a:gd name="connsiteX496" fmla="*/ 9466717 w 25004707"/>
              <a:gd name="connsiteY496" fmla="*/ 2528383 h 10808782"/>
              <a:gd name="connsiteX497" fmla="*/ 10687250 w 25004707"/>
              <a:gd name="connsiteY497" fmla="*/ 3581905 h 10808782"/>
              <a:gd name="connsiteX498" fmla="*/ 10655422 w 25004707"/>
              <a:gd name="connsiteY498" fmla="*/ 4066339 h 10808782"/>
              <a:gd name="connsiteX499" fmla="*/ 10687250 w 25004707"/>
              <a:gd name="connsiteY499" fmla="*/ 3581905 h 10808782"/>
              <a:gd name="connsiteX500" fmla="*/ 10719077 w 25004707"/>
              <a:gd name="connsiteY500" fmla="*/ 3096984 h 10808782"/>
              <a:gd name="connsiteX501" fmla="*/ 10687250 w 25004707"/>
              <a:gd name="connsiteY501" fmla="*/ 3581905 h 10808782"/>
              <a:gd name="connsiteX502" fmla="*/ 9403063 w 25004707"/>
              <a:gd name="connsiteY502" fmla="*/ 3497721 h 10808782"/>
              <a:gd name="connsiteX503" fmla="*/ 10655422 w 25004707"/>
              <a:gd name="connsiteY503" fmla="*/ 4066339 h 10808782"/>
              <a:gd name="connsiteX504" fmla="*/ 9371251 w 25004707"/>
              <a:gd name="connsiteY504" fmla="*/ 3982155 h 10808782"/>
              <a:gd name="connsiteX505" fmla="*/ 10655422 w 25004707"/>
              <a:gd name="connsiteY505" fmla="*/ 4066339 h 10808782"/>
              <a:gd name="connsiteX506" fmla="*/ 11939593 w 25004707"/>
              <a:gd name="connsiteY506" fmla="*/ 4150506 h 10808782"/>
              <a:gd name="connsiteX507" fmla="*/ 10368881 w 25004707"/>
              <a:gd name="connsiteY507" fmla="*/ 8428566 h 10808782"/>
              <a:gd name="connsiteX508" fmla="*/ 10400693 w 25004707"/>
              <a:gd name="connsiteY508" fmla="*/ 7944132 h 10808782"/>
              <a:gd name="connsiteX509" fmla="*/ 11684864 w 25004707"/>
              <a:gd name="connsiteY509" fmla="*/ 8028316 h 10808782"/>
              <a:gd name="connsiteX510" fmla="*/ 10368881 w 25004707"/>
              <a:gd name="connsiteY510" fmla="*/ 8428566 h 10808782"/>
              <a:gd name="connsiteX511" fmla="*/ 11653068 w 25004707"/>
              <a:gd name="connsiteY511" fmla="*/ 8512733 h 10808782"/>
              <a:gd name="connsiteX512" fmla="*/ 10368881 w 25004707"/>
              <a:gd name="connsiteY512" fmla="*/ 8428566 h 10808782"/>
              <a:gd name="connsiteX513" fmla="*/ 9084726 w 25004707"/>
              <a:gd name="connsiteY513" fmla="*/ 8344382 h 10808782"/>
              <a:gd name="connsiteX514" fmla="*/ 10491817 w 25004707"/>
              <a:gd name="connsiteY514" fmla="*/ 6490549 h 10808782"/>
              <a:gd name="connsiteX515" fmla="*/ 10480222 w 25004707"/>
              <a:gd name="connsiteY515" fmla="*/ 6732585 h 10808782"/>
              <a:gd name="connsiteX516" fmla="*/ 10464317 w 25004707"/>
              <a:gd name="connsiteY516" fmla="*/ 6974794 h 10808782"/>
              <a:gd name="connsiteX517" fmla="*/ 9180145 w 25004707"/>
              <a:gd name="connsiteY517" fmla="*/ 6890626 h 10808782"/>
              <a:gd name="connsiteX518" fmla="*/ 10507361 w 25004707"/>
              <a:gd name="connsiteY518" fmla="*/ 6003632 h 10808782"/>
              <a:gd name="connsiteX519" fmla="*/ 10491943 w 25004707"/>
              <a:gd name="connsiteY519" fmla="*/ 6489606 h 10808782"/>
              <a:gd name="connsiteX520" fmla="*/ 10163458 w 25004707"/>
              <a:gd name="connsiteY520" fmla="*/ 6468073 h 10808782"/>
              <a:gd name="connsiteX521" fmla="*/ 9212005 w 25004707"/>
              <a:gd name="connsiteY521" fmla="*/ 6405705 h 10808782"/>
              <a:gd name="connsiteX522" fmla="*/ 10507361 w 25004707"/>
              <a:gd name="connsiteY522" fmla="*/ 6003632 h 10808782"/>
              <a:gd name="connsiteX523" fmla="*/ 9243879 w 25004707"/>
              <a:gd name="connsiteY523" fmla="*/ 5920832 h 10808782"/>
              <a:gd name="connsiteX524" fmla="*/ 10507361 w 25004707"/>
              <a:gd name="connsiteY524" fmla="*/ 6003632 h 10808782"/>
              <a:gd name="connsiteX525" fmla="*/ 11123456 w 25004707"/>
              <a:gd name="connsiteY525" fmla="*/ 6044043 h 10808782"/>
              <a:gd name="connsiteX526" fmla="*/ 10782701 w 25004707"/>
              <a:gd name="connsiteY526" fmla="*/ 2127677 h 10808782"/>
              <a:gd name="connsiteX527" fmla="*/ 12066887 w 25004707"/>
              <a:gd name="connsiteY527" fmla="*/ 2211845 h 10808782"/>
              <a:gd name="connsiteX528" fmla="*/ 10782701 w 25004707"/>
              <a:gd name="connsiteY528" fmla="*/ 2127677 h 10808782"/>
              <a:gd name="connsiteX529" fmla="*/ 9498529 w 25004707"/>
              <a:gd name="connsiteY529" fmla="*/ 2043493 h 10808782"/>
              <a:gd name="connsiteX530" fmla="*/ 10750841 w 25004707"/>
              <a:gd name="connsiteY530" fmla="*/ 2612582 h 10808782"/>
              <a:gd name="connsiteX531" fmla="*/ 10719029 w 25004707"/>
              <a:gd name="connsiteY531" fmla="*/ 3097016 h 10808782"/>
              <a:gd name="connsiteX532" fmla="*/ 9434859 w 25004707"/>
              <a:gd name="connsiteY532" fmla="*/ 3012832 h 10808782"/>
              <a:gd name="connsiteX533" fmla="*/ 10623563 w 25004707"/>
              <a:gd name="connsiteY533" fmla="*/ 4551244 h 10808782"/>
              <a:gd name="connsiteX534" fmla="*/ 10591752 w 25004707"/>
              <a:gd name="connsiteY534" fmla="*/ 5035661 h 10808782"/>
              <a:gd name="connsiteX535" fmla="*/ 9307550 w 25004707"/>
              <a:gd name="connsiteY535" fmla="*/ 4951493 h 10808782"/>
              <a:gd name="connsiteX536" fmla="*/ 9275706 w 25004707"/>
              <a:gd name="connsiteY536" fmla="*/ 5436398 h 10808782"/>
              <a:gd name="connsiteX537" fmla="*/ 10623563 w 25004707"/>
              <a:gd name="connsiteY537" fmla="*/ 4551244 h 10808782"/>
              <a:gd name="connsiteX538" fmla="*/ 10655390 w 25004707"/>
              <a:gd name="connsiteY538" fmla="*/ 4066339 h 10808782"/>
              <a:gd name="connsiteX539" fmla="*/ 10623563 w 25004707"/>
              <a:gd name="connsiteY539" fmla="*/ 4551244 h 10808782"/>
              <a:gd name="connsiteX540" fmla="*/ 9339392 w 25004707"/>
              <a:gd name="connsiteY540" fmla="*/ 4467060 h 10808782"/>
              <a:gd name="connsiteX541" fmla="*/ 10432504 w 25004707"/>
              <a:gd name="connsiteY541" fmla="*/ 7459228 h 10808782"/>
              <a:gd name="connsiteX542" fmla="*/ 10400662 w 25004707"/>
              <a:gd name="connsiteY542" fmla="*/ 7944132 h 10808782"/>
              <a:gd name="connsiteX543" fmla="*/ 9116475 w 25004707"/>
              <a:gd name="connsiteY543" fmla="*/ 7859949 h 10808782"/>
              <a:gd name="connsiteX544" fmla="*/ 5662142 w 25004707"/>
              <a:gd name="connsiteY544" fmla="*/ 1780254 h 10808782"/>
              <a:gd name="connsiteX545" fmla="*/ 5658194 w 25004707"/>
              <a:gd name="connsiteY545" fmla="*/ 2262267 h 10808782"/>
              <a:gd name="connsiteX546" fmla="*/ 5662142 w 25004707"/>
              <a:gd name="connsiteY546" fmla="*/ 1780254 h 10808782"/>
              <a:gd name="connsiteX547" fmla="*/ 4402830 w 25004707"/>
              <a:gd name="connsiteY547" fmla="*/ 1082261 h 10808782"/>
              <a:gd name="connsiteX548" fmla="*/ 5662142 w 25004707"/>
              <a:gd name="connsiteY548" fmla="*/ 1780254 h 10808782"/>
              <a:gd name="connsiteX549" fmla="*/ 6479129 w 25004707"/>
              <a:gd name="connsiteY549" fmla="*/ 1845561 h 10808782"/>
              <a:gd name="connsiteX550" fmla="*/ 6930187 w 25004707"/>
              <a:gd name="connsiteY550" fmla="*/ 1875142 h 10808782"/>
              <a:gd name="connsiteX551" fmla="*/ 5658194 w 25004707"/>
              <a:gd name="connsiteY551" fmla="*/ 2262267 h 10808782"/>
              <a:gd name="connsiteX552" fmla="*/ 4366723 w 25004707"/>
              <a:gd name="connsiteY552" fmla="*/ 1631817 h 10808782"/>
              <a:gd name="connsiteX553" fmla="*/ 5658194 w 25004707"/>
              <a:gd name="connsiteY553" fmla="*/ 2262267 h 10808782"/>
              <a:gd name="connsiteX554" fmla="*/ 5911822 w 25004707"/>
              <a:gd name="connsiteY554" fmla="*/ 2295353 h 10808782"/>
              <a:gd name="connsiteX555" fmla="*/ 6898297 w 25004707"/>
              <a:gd name="connsiteY555" fmla="*/ 2360015 h 10808782"/>
              <a:gd name="connsiteX556" fmla="*/ 6930156 w 25004707"/>
              <a:gd name="connsiteY556" fmla="*/ 1875126 h 10808782"/>
              <a:gd name="connsiteX557" fmla="*/ 5455005 w 25004707"/>
              <a:gd name="connsiteY557" fmla="*/ 4698958 h 10808782"/>
              <a:gd name="connsiteX558" fmla="*/ 5486817 w 25004707"/>
              <a:gd name="connsiteY558" fmla="*/ 4214524 h 10808782"/>
              <a:gd name="connsiteX559" fmla="*/ 6771003 w 25004707"/>
              <a:gd name="connsiteY559" fmla="*/ 4298708 h 10808782"/>
              <a:gd name="connsiteX560" fmla="*/ 5455005 w 25004707"/>
              <a:gd name="connsiteY560" fmla="*/ 4698958 h 10808782"/>
              <a:gd name="connsiteX561" fmla="*/ 6739176 w 25004707"/>
              <a:gd name="connsiteY561" fmla="*/ 4783142 h 10808782"/>
              <a:gd name="connsiteX562" fmla="*/ 5455005 w 25004707"/>
              <a:gd name="connsiteY562" fmla="*/ 4698958 h 10808782"/>
              <a:gd name="connsiteX563" fmla="*/ 5254428 w 25004707"/>
              <a:gd name="connsiteY563" fmla="*/ 4685802 h 10808782"/>
              <a:gd name="connsiteX564" fmla="*/ 4154818 w 25004707"/>
              <a:gd name="connsiteY564" fmla="*/ 4858838 h 10808782"/>
              <a:gd name="connsiteX565" fmla="*/ 5455005 w 25004707"/>
              <a:gd name="connsiteY565" fmla="*/ 4698958 h 10808782"/>
              <a:gd name="connsiteX566" fmla="*/ 5391335 w 25004707"/>
              <a:gd name="connsiteY566" fmla="*/ 5668281 h 10808782"/>
              <a:gd name="connsiteX567" fmla="*/ 4107179 w 25004707"/>
              <a:gd name="connsiteY567" fmla="*/ 5584097 h 10808782"/>
              <a:gd name="connsiteX568" fmla="*/ 5200355 w 25004707"/>
              <a:gd name="connsiteY568" fmla="*/ 8576736 h 10808782"/>
              <a:gd name="connsiteX569" fmla="*/ 5168543 w 25004707"/>
              <a:gd name="connsiteY569" fmla="*/ 9061169 h 10808782"/>
              <a:gd name="connsiteX570" fmla="*/ 3884356 w 25004707"/>
              <a:gd name="connsiteY570" fmla="*/ 8976986 h 10808782"/>
              <a:gd name="connsiteX571" fmla="*/ 5200355 w 25004707"/>
              <a:gd name="connsiteY571" fmla="*/ 8576736 h 10808782"/>
              <a:gd name="connsiteX572" fmla="*/ 5232197 w 25004707"/>
              <a:gd name="connsiteY572" fmla="*/ 8091847 h 10808782"/>
              <a:gd name="connsiteX573" fmla="*/ 5200355 w 25004707"/>
              <a:gd name="connsiteY573" fmla="*/ 8576736 h 10808782"/>
              <a:gd name="connsiteX574" fmla="*/ 3916184 w 25004707"/>
              <a:gd name="connsiteY574" fmla="*/ 8492568 h 10808782"/>
              <a:gd name="connsiteX575" fmla="*/ 5658225 w 25004707"/>
              <a:gd name="connsiteY575" fmla="*/ 2262283 h 10808782"/>
              <a:gd name="connsiteX576" fmla="*/ 5637521 w 25004707"/>
              <a:gd name="connsiteY576" fmla="*/ 2763912 h 10808782"/>
              <a:gd name="connsiteX577" fmla="*/ 6866517 w 25004707"/>
              <a:gd name="connsiteY577" fmla="*/ 2844465 h 10808782"/>
              <a:gd name="connsiteX578" fmla="*/ 5592415 w 25004707"/>
              <a:gd name="connsiteY578" fmla="*/ 3263937 h 10808782"/>
              <a:gd name="connsiteX579" fmla="*/ 5637489 w 25004707"/>
              <a:gd name="connsiteY579" fmla="*/ 2763896 h 10808782"/>
              <a:gd name="connsiteX580" fmla="*/ 4298128 w 25004707"/>
              <a:gd name="connsiteY580" fmla="*/ 2676113 h 10808782"/>
              <a:gd name="connsiteX581" fmla="*/ 5592415 w 25004707"/>
              <a:gd name="connsiteY581" fmla="*/ 3263937 h 10808782"/>
              <a:gd name="connsiteX582" fmla="*/ 5533291 w 25004707"/>
              <a:gd name="connsiteY582" fmla="*/ 3742335 h 10808782"/>
              <a:gd name="connsiteX583" fmla="*/ 5592415 w 25004707"/>
              <a:gd name="connsiteY583" fmla="*/ 3263937 h 10808782"/>
              <a:gd name="connsiteX584" fmla="*/ 5848183 w 25004707"/>
              <a:gd name="connsiteY584" fmla="*/ 3264220 h 10808782"/>
              <a:gd name="connsiteX585" fmla="*/ 6834674 w 25004707"/>
              <a:gd name="connsiteY585" fmla="*/ 3328898 h 10808782"/>
              <a:gd name="connsiteX586" fmla="*/ 5709640 w 25004707"/>
              <a:gd name="connsiteY586" fmla="*/ 821626 h 10808782"/>
              <a:gd name="connsiteX587" fmla="*/ 5677828 w 25004707"/>
              <a:gd name="connsiteY587" fmla="*/ 1306056 h 10808782"/>
              <a:gd name="connsiteX588" fmla="*/ 5622638 w 25004707"/>
              <a:gd name="connsiteY588" fmla="*/ 1302440 h 10808782"/>
              <a:gd name="connsiteX589" fmla="*/ 5501527 w 25004707"/>
              <a:gd name="connsiteY589" fmla="*/ 1263917 h 10808782"/>
              <a:gd name="connsiteX590" fmla="*/ 4424446 w 25004707"/>
              <a:gd name="connsiteY590" fmla="*/ 752908 h 10808782"/>
              <a:gd name="connsiteX591" fmla="*/ 5709640 w 25004707"/>
              <a:gd name="connsiteY591" fmla="*/ 821626 h 10808782"/>
              <a:gd name="connsiteX592" fmla="*/ 5741483 w 25004707"/>
              <a:gd name="connsiteY592" fmla="*/ 336712 h 10808782"/>
              <a:gd name="connsiteX593" fmla="*/ 5709640 w 25004707"/>
              <a:gd name="connsiteY593" fmla="*/ 821626 h 10808782"/>
              <a:gd name="connsiteX594" fmla="*/ 5509063 w 25004707"/>
              <a:gd name="connsiteY594" fmla="*/ 808462 h 10808782"/>
              <a:gd name="connsiteX595" fmla="*/ 4441500 w 25004707"/>
              <a:gd name="connsiteY595" fmla="*/ 493335 h 10808782"/>
              <a:gd name="connsiteX596" fmla="*/ 5136715 w 25004707"/>
              <a:gd name="connsiteY596" fmla="*/ 9546074 h 10808782"/>
              <a:gd name="connsiteX597" fmla="*/ 5168575 w 25004707"/>
              <a:gd name="connsiteY597" fmla="*/ 9061169 h 10808782"/>
              <a:gd name="connsiteX598" fmla="*/ 5136715 w 25004707"/>
              <a:gd name="connsiteY598" fmla="*/ 9546074 h 10808782"/>
              <a:gd name="connsiteX599" fmla="*/ 6420871 w 25004707"/>
              <a:gd name="connsiteY599" fmla="*/ 9630242 h 10808782"/>
              <a:gd name="connsiteX600" fmla="*/ 6452730 w 25004707"/>
              <a:gd name="connsiteY600" fmla="*/ 9145353 h 10808782"/>
              <a:gd name="connsiteX601" fmla="*/ 7736885 w 25004707"/>
              <a:gd name="connsiteY601" fmla="*/ 9229521 h 10808782"/>
              <a:gd name="connsiteX602" fmla="*/ 5136715 w 25004707"/>
              <a:gd name="connsiteY602" fmla="*/ 9546074 h 10808782"/>
              <a:gd name="connsiteX603" fmla="*/ 3852544 w 25004707"/>
              <a:gd name="connsiteY603" fmla="*/ 9461890 h 10808782"/>
              <a:gd name="connsiteX604" fmla="*/ 5486801 w 25004707"/>
              <a:gd name="connsiteY604" fmla="*/ 4214981 h 10808782"/>
              <a:gd name="connsiteX605" fmla="*/ 5491773 w 25004707"/>
              <a:gd name="connsiteY605" fmla="*/ 4139080 h 10808782"/>
              <a:gd name="connsiteX606" fmla="*/ 5497892 w 25004707"/>
              <a:gd name="connsiteY606" fmla="*/ 4062315 h 10808782"/>
              <a:gd name="connsiteX607" fmla="*/ 5533276 w 25004707"/>
              <a:gd name="connsiteY607" fmla="*/ 3742335 h 10808782"/>
              <a:gd name="connsiteX608" fmla="*/ 4193442 w 25004707"/>
              <a:gd name="connsiteY608" fmla="*/ 4269945 h 10808782"/>
              <a:gd name="connsiteX609" fmla="*/ 5327633 w 25004707"/>
              <a:gd name="connsiteY609" fmla="*/ 6638091 h 10808782"/>
              <a:gd name="connsiteX610" fmla="*/ 5359476 w 25004707"/>
              <a:gd name="connsiteY610" fmla="*/ 6153186 h 10808782"/>
              <a:gd name="connsiteX611" fmla="*/ 6643678 w 25004707"/>
              <a:gd name="connsiteY611" fmla="*/ 6237369 h 10808782"/>
              <a:gd name="connsiteX612" fmla="*/ 5327633 w 25004707"/>
              <a:gd name="connsiteY612" fmla="*/ 6638091 h 10808782"/>
              <a:gd name="connsiteX613" fmla="*/ 5295821 w 25004707"/>
              <a:gd name="connsiteY613" fmla="*/ 7122508 h 10808782"/>
              <a:gd name="connsiteX614" fmla="*/ 5327633 w 25004707"/>
              <a:gd name="connsiteY614" fmla="*/ 6638091 h 10808782"/>
              <a:gd name="connsiteX615" fmla="*/ 6611819 w 25004707"/>
              <a:gd name="connsiteY615" fmla="*/ 6722259 h 10808782"/>
              <a:gd name="connsiteX616" fmla="*/ 5327633 w 25004707"/>
              <a:gd name="connsiteY616" fmla="*/ 6638091 h 10808782"/>
              <a:gd name="connsiteX617" fmla="*/ 4043446 w 25004707"/>
              <a:gd name="connsiteY617" fmla="*/ 6553891 h 10808782"/>
              <a:gd name="connsiteX618" fmla="*/ 5295821 w 25004707"/>
              <a:gd name="connsiteY618" fmla="*/ 7122508 h 10808782"/>
              <a:gd name="connsiteX619" fmla="*/ 4011634 w 25004707"/>
              <a:gd name="connsiteY619" fmla="*/ 7038325 h 10808782"/>
              <a:gd name="connsiteX620" fmla="*/ 5295821 w 25004707"/>
              <a:gd name="connsiteY620" fmla="*/ 7122508 h 10808782"/>
              <a:gd name="connsiteX621" fmla="*/ 6579992 w 25004707"/>
              <a:gd name="connsiteY621" fmla="*/ 7206692 h 10808782"/>
              <a:gd name="connsiteX622" fmla="*/ 5391303 w 25004707"/>
              <a:gd name="connsiteY622" fmla="*/ 5668281 h 10808782"/>
              <a:gd name="connsiteX623" fmla="*/ 5359460 w 25004707"/>
              <a:gd name="connsiteY623" fmla="*/ 6153186 h 10808782"/>
              <a:gd name="connsiteX624" fmla="*/ 4075304 w 25004707"/>
              <a:gd name="connsiteY624" fmla="*/ 6069002 h 10808782"/>
              <a:gd name="connsiteX625" fmla="*/ 5676774 w 25004707"/>
              <a:gd name="connsiteY625" fmla="*/ 1305997 h 10808782"/>
              <a:gd name="connsiteX626" fmla="*/ 5661592 w 25004707"/>
              <a:gd name="connsiteY626" fmla="*/ 1780223 h 10808782"/>
              <a:gd name="connsiteX627" fmla="*/ 5295774 w 25004707"/>
              <a:gd name="connsiteY627" fmla="*/ 7122508 h 10808782"/>
              <a:gd name="connsiteX628" fmla="*/ 5263931 w 25004707"/>
              <a:gd name="connsiteY628" fmla="*/ 7607414 h 10808782"/>
              <a:gd name="connsiteX629" fmla="*/ 3979775 w 25004707"/>
              <a:gd name="connsiteY629" fmla="*/ 7523230 h 10808782"/>
              <a:gd name="connsiteX630" fmla="*/ 1666131 w 25004707"/>
              <a:gd name="connsiteY630" fmla="*/ 3477068 h 10808782"/>
              <a:gd name="connsiteX631" fmla="*/ 1697943 w 25004707"/>
              <a:gd name="connsiteY631" fmla="*/ 2992651 h 10808782"/>
              <a:gd name="connsiteX632" fmla="*/ 1666131 w 25004707"/>
              <a:gd name="connsiteY632" fmla="*/ 3477068 h 10808782"/>
              <a:gd name="connsiteX633" fmla="*/ 1634272 w 25004707"/>
              <a:gd name="connsiteY633" fmla="*/ 3961989 h 10808782"/>
              <a:gd name="connsiteX634" fmla="*/ 1666131 w 25004707"/>
              <a:gd name="connsiteY634" fmla="*/ 3477068 h 10808782"/>
              <a:gd name="connsiteX635" fmla="*/ 381954 w 25004707"/>
              <a:gd name="connsiteY635" fmla="*/ 3392900 h 10808782"/>
              <a:gd name="connsiteX636" fmla="*/ 1666131 w 25004707"/>
              <a:gd name="connsiteY636" fmla="*/ 3477068 h 10808782"/>
              <a:gd name="connsiteX637" fmla="*/ 2652607 w 25004707"/>
              <a:gd name="connsiteY637" fmla="*/ 3541731 h 10808782"/>
              <a:gd name="connsiteX638" fmla="*/ 2934679 w 25004707"/>
              <a:gd name="connsiteY638" fmla="*/ 3571987 h 10808782"/>
              <a:gd name="connsiteX639" fmla="*/ 1697943 w 25004707"/>
              <a:gd name="connsiteY639" fmla="*/ 2992651 h 10808782"/>
              <a:gd name="connsiteX640" fmla="*/ 1729801 w 25004707"/>
              <a:gd name="connsiteY640" fmla="*/ 2507730 h 10808782"/>
              <a:gd name="connsiteX641" fmla="*/ 1697943 w 25004707"/>
              <a:gd name="connsiteY641" fmla="*/ 2992651 h 10808782"/>
              <a:gd name="connsiteX642" fmla="*/ 403160 w 25004707"/>
              <a:gd name="connsiteY642" fmla="*/ 2907760 h 10808782"/>
              <a:gd name="connsiteX643" fmla="*/ 1602492 w 25004707"/>
              <a:gd name="connsiteY643" fmla="*/ 4446422 h 10808782"/>
              <a:gd name="connsiteX644" fmla="*/ 1634304 w 25004707"/>
              <a:gd name="connsiteY644" fmla="*/ 3961989 h 10808782"/>
              <a:gd name="connsiteX645" fmla="*/ 1602492 w 25004707"/>
              <a:gd name="connsiteY645" fmla="*/ 4446422 h 10808782"/>
              <a:gd name="connsiteX646" fmla="*/ 2886663 w 25004707"/>
              <a:gd name="connsiteY646" fmla="*/ 4530606 h 10808782"/>
              <a:gd name="connsiteX647" fmla="*/ 1602492 w 25004707"/>
              <a:gd name="connsiteY647" fmla="*/ 4446422 h 10808782"/>
              <a:gd name="connsiteX648" fmla="*/ 318315 w 25004707"/>
              <a:gd name="connsiteY648" fmla="*/ 4362239 h 10808782"/>
              <a:gd name="connsiteX649" fmla="*/ 1347818 w 25004707"/>
              <a:gd name="connsiteY649" fmla="*/ 8324201 h 10808782"/>
              <a:gd name="connsiteX650" fmla="*/ 1379664 w 25004707"/>
              <a:gd name="connsiteY650" fmla="*/ 7839312 h 10808782"/>
              <a:gd name="connsiteX651" fmla="*/ 1347818 w 25004707"/>
              <a:gd name="connsiteY651" fmla="*/ 8324201 h 10808782"/>
              <a:gd name="connsiteX652" fmla="*/ 2631997 w 25004707"/>
              <a:gd name="connsiteY652" fmla="*/ 8408384 h 10808782"/>
              <a:gd name="connsiteX653" fmla="*/ 2663840 w 25004707"/>
              <a:gd name="connsiteY653" fmla="*/ 7923495 h 10808782"/>
              <a:gd name="connsiteX654" fmla="*/ 1347818 w 25004707"/>
              <a:gd name="connsiteY654" fmla="*/ 8324201 h 10808782"/>
              <a:gd name="connsiteX655" fmla="*/ 63640 w 25004707"/>
              <a:gd name="connsiteY655" fmla="*/ 8240033 h 10808782"/>
              <a:gd name="connsiteX656" fmla="*/ 1411411 w 25004707"/>
              <a:gd name="connsiteY656" fmla="*/ 7354878 h 10808782"/>
              <a:gd name="connsiteX657" fmla="*/ 1443258 w 25004707"/>
              <a:gd name="connsiteY657" fmla="*/ 6869973 h 10808782"/>
              <a:gd name="connsiteX658" fmla="*/ 2727447 w 25004707"/>
              <a:gd name="connsiteY658" fmla="*/ 6954157 h 10808782"/>
              <a:gd name="connsiteX659" fmla="*/ 1411411 w 25004707"/>
              <a:gd name="connsiteY659" fmla="*/ 7354878 h 10808782"/>
              <a:gd name="connsiteX660" fmla="*/ 1379615 w 25004707"/>
              <a:gd name="connsiteY660" fmla="*/ 7839312 h 10808782"/>
              <a:gd name="connsiteX661" fmla="*/ 1411411 w 25004707"/>
              <a:gd name="connsiteY661" fmla="*/ 7354878 h 10808782"/>
              <a:gd name="connsiteX662" fmla="*/ 127234 w 25004707"/>
              <a:gd name="connsiteY662" fmla="*/ 7270695 h 10808782"/>
              <a:gd name="connsiteX663" fmla="*/ 1793456 w 25004707"/>
              <a:gd name="connsiteY663" fmla="*/ 1538423 h 10808782"/>
              <a:gd name="connsiteX664" fmla="*/ 1825315 w 25004707"/>
              <a:gd name="connsiteY664" fmla="*/ 1053519 h 10808782"/>
              <a:gd name="connsiteX665" fmla="*/ 1793456 w 25004707"/>
              <a:gd name="connsiteY665" fmla="*/ 1538423 h 10808782"/>
              <a:gd name="connsiteX666" fmla="*/ 509285 w 25004707"/>
              <a:gd name="connsiteY666" fmla="*/ 1454241 h 10808782"/>
              <a:gd name="connsiteX667" fmla="*/ 1793456 w 25004707"/>
              <a:gd name="connsiteY667" fmla="*/ 1538423 h 10808782"/>
              <a:gd name="connsiteX668" fmla="*/ 2244530 w 25004707"/>
              <a:gd name="connsiteY668" fmla="*/ 1567988 h 10808782"/>
              <a:gd name="connsiteX669" fmla="*/ 3063877 w 25004707"/>
              <a:gd name="connsiteY669" fmla="*/ 1613223 h 10808782"/>
              <a:gd name="connsiteX670" fmla="*/ 1825315 w 25004707"/>
              <a:gd name="connsiteY670" fmla="*/ 1053519 h 10808782"/>
              <a:gd name="connsiteX671" fmla="*/ 1857095 w 25004707"/>
              <a:gd name="connsiteY671" fmla="*/ 569070 h 10808782"/>
              <a:gd name="connsiteX672" fmla="*/ 1825315 w 25004707"/>
              <a:gd name="connsiteY672" fmla="*/ 1053519 h 10808782"/>
              <a:gd name="connsiteX673" fmla="*/ 541117 w 25004707"/>
              <a:gd name="connsiteY673" fmla="*/ 969340 h 10808782"/>
              <a:gd name="connsiteX674" fmla="*/ 1315958 w 25004707"/>
              <a:gd name="connsiteY674" fmla="*/ 8808634 h 10808782"/>
              <a:gd name="connsiteX675" fmla="*/ 1284111 w 25004707"/>
              <a:gd name="connsiteY675" fmla="*/ 9293539 h 10808782"/>
              <a:gd name="connsiteX676" fmla="*/ 2568295 w 25004707"/>
              <a:gd name="connsiteY676" fmla="*/ 9377707 h 10808782"/>
              <a:gd name="connsiteX677" fmla="*/ 1538806 w 25004707"/>
              <a:gd name="connsiteY677" fmla="*/ 5415746 h 10808782"/>
              <a:gd name="connsiteX678" fmla="*/ 1570617 w 25004707"/>
              <a:gd name="connsiteY678" fmla="*/ 4931312 h 10808782"/>
              <a:gd name="connsiteX679" fmla="*/ 1538806 w 25004707"/>
              <a:gd name="connsiteY679" fmla="*/ 5415746 h 10808782"/>
              <a:gd name="connsiteX680" fmla="*/ 1506961 w 25004707"/>
              <a:gd name="connsiteY680" fmla="*/ 5900650 h 10808782"/>
              <a:gd name="connsiteX681" fmla="*/ 1538806 w 25004707"/>
              <a:gd name="connsiteY681" fmla="*/ 5415746 h 10808782"/>
              <a:gd name="connsiteX682" fmla="*/ 254622 w 25004707"/>
              <a:gd name="connsiteY682" fmla="*/ 5331577 h 10808782"/>
              <a:gd name="connsiteX683" fmla="*/ 1570617 w 25004707"/>
              <a:gd name="connsiteY683" fmla="*/ 4931312 h 10808782"/>
              <a:gd name="connsiteX684" fmla="*/ 1602461 w 25004707"/>
              <a:gd name="connsiteY684" fmla="*/ 4446407 h 10808782"/>
              <a:gd name="connsiteX685" fmla="*/ 1570617 w 25004707"/>
              <a:gd name="connsiteY685" fmla="*/ 4931312 h 10808782"/>
              <a:gd name="connsiteX686" fmla="*/ 286431 w 25004707"/>
              <a:gd name="connsiteY686" fmla="*/ 4847128 h 10808782"/>
              <a:gd name="connsiteX687" fmla="*/ 1729786 w 25004707"/>
              <a:gd name="connsiteY687" fmla="*/ 2507761 h 10808782"/>
              <a:gd name="connsiteX688" fmla="*/ 1761597 w 25004707"/>
              <a:gd name="connsiteY688" fmla="*/ 2023328 h 10808782"/>
              <a:gd name="connsiteX689" fmla="*/ 2414287 w 25004707"/>
              <a:gd name="connsiteY689" fmla="*/ 2066111 h 10808782"/>
              <a:gd name="connsiteX690" fmla="*/ 2740663 w 25004707"/>
              <a:gd name="connsiteY690" fmla="*/ 2087031 h 10808782"/>
              <a:gd name="connsiteX691" fmla="*/ 3004360 w 25004707"/>
              <a:gd name="connsiteY691" fmla="*/ 2088776 h 10808782"/>
              <a:gd name="connsiteX692" fmla="*/ 1729786 w 25004707"/>
              <a:gd name="connsiteY692" fmla="*/ 2507761 h 10808782"/>
              <a:gd name="connsiteX693" fmla="*/ 2958782 w 25004707"/>
              <a:gd name="connsiteY693" fmla="*/ 2588330 h 10808782"/>
              <a:gd name="connsiteX694" fmla="*/ 1729786 w 25004707"/>
              <a:gd name="connsiteY694" fmla="*/ 2507761 h 10808782"/>
              <a:gd name="connsiteX695" fmla="*/ 434989 w 25004707"/>
              <a:gd name="connsiteY695" fmla="*/ 2422886 h 10808782"/>
              <a:gd name="connsiteX696" fmla="*/ 1475135 w 25004707"/>
              <a:gd name="connsiteY696" fmla="*/ 6385540 h 10808782"/>
              <a:gd name="connsiteX697" fmla="*/ 1443319 w 25004707"/>
              <a:gd name="connsiteY697" fmla="*/ 6869973 h 10808782"/>
              <a:gd name="connsiteX698" fmla="*/ 159142 w 25004707"/>
              <a:gd name="connsiteY698" fmla="*/ 6785789 h 10808782"/>
              <a:gd name="connsiteX699" fmla="*/ 1475135 w 25004707"/>
              <a:gd name="connsiteY699" fmla="*/ 6385540 h 10808782"/>
              <a:gd name="connsiteX700" fmla="*/ 1506961 w 25004707"/>
              <a:gd name="connsiteY700" fmla="*/ 5900650 h 10808782"/>
              <a:gd name="connsiteX701" fmla="*/ 1475135 w 25004707"/>
              <a:gd name="connsiteY701" fmla="*/ 6385540 h 10808782"/>
              <a:gd name="connsiteX702" fmla="*/ 190938 w 25004707"/>
              <a:gd name="connsiteY702" fmla="*/ 6301372 h 10808782"/>
              <a:gd name="connsiteX703" fmla="*/ 1857095 w 25004707"/>
              <a:gd name="connsiteY703" fmla="*/ 569070 h 10808782"/>
              <a:gd name="connsiteX704" fmla="*/ 1888954 w 25004707"/>
              <a:gd name="connsiteY704" fmla="*/ 84169 h 10808782"/>
              <a:gd name="connsiteX705" fmla="*/ 1857095 w 25004707"/>
              <a:gd name="connsiteY705" fmla="*/ 569070 h 10808782"/>
              <a:gd name="connsiteX706" fmla="*/ 3141266 w 25004707"/>
              <a:gd name="connsiteY706" fmla="*/ 653251 h 10808782"/>
              <a:gd name="connsiteX707" fmla="*/ 3173109 w 25004707"/>
              <a:gd name="connsiteY707" fmla="*/ 168350 h 10808782"/>
              <a:gd name="connsiteX708" fmla="*/ 1857095 w 25004707"/>
              <a:gd name="connsiteY708" fmla="*/ 569070 h 10808782"/>
              <a:gd name="connsiteX709" fmla="*/ 572924 w 25004707"/>
              <a:gd name="connsiteY709" fmla="*/ 484891 h 10808782"/>
              <a:gd name="connsiteX710" fmla="*/ 1379615 w 25004707"/>
              <a:gd name="connsiteY710" fmla="*/ 7839312 h 10808782"/>
              <a:gd name="connsiteX711" fmla="*/ 95437 w 25004707"/>
              <a:gd name="connsiteY711" fmla="*/ 7755128 h 10808782"/>
              <a:gd name="connsiteX712" fmla="*/ 1379615 w 25004707"/>
              <a:gd name="connsiteY712" fmla="*/ 7839312 h 10808782"/>
              <a:gd name="connsiteX713" fmla="*/ 2663793 w 25004707"/>
              <a:gd name="connsiteY713" fmla="*/ 7923495 h 10808782"/>
              <a:gd name="connsiteX714" fmla="*/ 1634272 w 25004707"/>
              <a:gd name="connsiteY714" fmla="*/ 3961989 h 10808782"/>
              <a:gd name="connsiteX715" fmla="*/ 2918475 w 25004707"/>
              <a:gd name="connsiteY715" fmla="*/ 4046173 h 10808782"/>
              <a:gd name="connsiteX716" fmla="*/ 1634272 w 25004707"/>
              <a:gd name="connsiteY716" fmla="*/ 3961989 h 10808782"/>
              <a:gd name="connsiteX717" fmla="*/ 350101 w 25004707"/>
              <a:gd name="connsiteY717" fmla="*/ 3877805 h 10808782"/>
              <a:gd name="connsiteX718" fmla="*/ 1506961 w 25004707"/>
              <a:gd name="connsiteY718" fmla="*/ 5900650 h 10808782"/>
              <a:gd name="connsiteX719" fmla="*/ 222779 w 25004707"/>
              <a:gd name="connsiteY719" fmla="*/ 5816467 h 10808782"/>
              <a:gd name="connsiteX720" fmla="*/ 1506961 w 25004707"/>
              <a:gd name="connsiteY720" fmla="*/ 5900650 h 10808782"/>
              <a:gd name="connsiteX721" fmla="*/ 2791118 w 25004707"/>
              <a:gd name="connsiteY721" fmla="*/ 5984834 h 10808782"/>
              <a:gd name="connsiteX722" fmla="*/ 1793441 w 25004707"/>
              <a:gd name="connsiteY722" fmla="*/ 1538407 h 10808782"/>
              <a:gd name="connsiteX723" fmla="*/ 1761597 w 25004707"/>
              <a:gd name="connsiteY723" fmla="*/ 2023296 h 10808782"/>
              <a:gd name="connsiteX724" fmla="*/ 477423 w 25004707"/>
              <a:gd name="connsiteY724" fmla="*/ 1939128 h 10808782"/>
              <a:gd name="connsiteX725" fmla="*/ 1347747 w 25004707"/>
              <a:gd name="connsiteY725" fmla="*/ 8324185 h 10808782"/>
              <a:gd name="connsiteX726" fmla="*/ 1315932 w 25004707"/>
              <a:gd name="connsiteY726" fmla="*/ 8808618 h 10808782"/>
              <a:gd name="connsiteX727" fmla="*/ 31754 w 25004707"/>
              <a:gd name="connsiteY727" fmla="*/ 8724434 h 10808782"/>
              <a:gd name="connsiteX728" fmla="*/ 2918475 w 25004707"/>
              <a:gd name="connsiteY728" fmla="*/ 4046173 h 10808782"/>
              <a:gd name="connsiteX729" fmla="*/ 2886663 w 25004707"/>
              <a:gd name="connsiteY729" fmla="*/ 4530606 h 10808782"/>
              <a:gd name="connsiteX730" fmla="*/ 2918475 w 25004707"/>
              <a:gd name="connsiteY730" fmla="*/ 4046173 h 10808782"/>
              <a:gd name="connsiteX731" fmla="*/ 2923446 w 25004707"/>
              <a:gd name="connsiteY731" fmla="*/ 3970272 h 10808782"/>
              <a:gd name="connsiteX732" fmla="*/ 2934176 w 25004707"/>
              <a:gd name="connsiteY732" fmla="*/ 3571956 h 10808782"/>
              <a:gd name="connsiteX733" fmla="*/ 2886663 w 25004707"/>
              <a:gd name="connsiteY733" fmla="*/ 4530606 h 10808782"/>
              <a:gd name="connsiteX734" fmla="*/ 3087240 w 25004707"/>
              <a:gd name="connsiteY734" fmla="*/ 4543731 h 10808782"/>
              <a:gd name="connsiteX735" fmla="*/ 4154818 w 25004707"/>
              <a:gd name="connsiteY735" fmla="*/ 4858838 h 10808782"/>
              <a:gd name="connsiteX736" fmla="*/ 2958782 w 25004707"/>
              <a:gd name="connsiteY736" fmla="*/ 2588330 h 10808782"/>
              <a:gd name="connsiteX737" fmla="*/ 3003841 w 25004707"/>
              <a:gd name="connsiteY737" fmla="*/ 2088289 h 10808782"/>
              <a:gd name="connsiteX738" fmla="*/ 3062980 w 25004707"/>
              <a:gd name="connsiteY738" fmla="*/ 1609875 h 10808782"/>
              <a:gd name="connsiteX739" fmla="*/ 2958782 w 25004707"/>
              <a:gd name="connsiteY739" fmla="*/ 2588330 h 10808782"/>
              <a:gd name="connsiteX740" fmla="*/ 2938062 w 25004707"/>
              <a:gd name="connsiteY740" fmla="*/ 3089943 h 10808782"/>
              <a:gd name="connsiteX741" fmla="*/ 4229533 w 25004707"/>
              <a:gd name="connsiteY741" fmla="*/ 3720409 h 10808782"/>
              <a:gd name="connsiteX742" fmla="*/ 4298128 w 25004707"/>
              <a:gd name="connsiteY742" fmla="*/ 2676113 h 10808782"/>
              <a:gd name="connsiteX743" fmla="*/ 2958782 w 25004707"/>
              <a:gd name="connsiteY743" fmla="*/ 2588330 h 10808782"/>
              <a:gd name="connsiteX744" fmla="*/ 4298128 w 25004707"/>
              <a:gd name="connsiteY744" fmla="*/ 2676113 h 10808782"/>
              <a:gd name="connsiteX745" fmla="*/ 3141329 w 25004707"/>
              <a:gd name="connsiteY745" fmla="*/ 653273 h 10808782"/>
              <a:gd name="connsiteX746" fmla="*/ 3109502 w 25004707"/>
              <a:gd name="connsiteY746" fmla="*/ 1137705 h 10808782"/>
              <a:gd name="connsiteX747" fmla="*/ 3109502 w 25004707"/>
              <a:gd name="connsiteY747" fmla="*/ 1137705 h 10808782"/>
              <a:gd name="connsiteX748" fmla="*/ 3063043 w 25004707"/>
              <a:gd name="connsiteY748" fmla="*/ 1609891 h 10808782"/>
              <a:gd name="connsiteX749" fmla="*/ 4402830 w 25004707"/>
              <a:gd name="connsiteY749" fmla="*/ 1082261 h 10808782"/>
              <a:gd name="connsiteX750" fmla="*/ 3109502 w 25004707"/>
              <a:gd name="connsiteY750" fmla="*/ 1137705 h 10808782"/>
              <a:gd name="connsiteX751" fmla="*/ 1825331 w 25004707"/>
              <a:gd name="connsiteY751" fmla="*/ 1053526 h 10808782"/>
              <a:gd name="connsiteX752" fmla="*/ 2938125 w 25004707"/>
              <a:gd name="connsiteY752" fmla="*/ 3089943 h 10808782"/>
              <a:gd name="connsiteX753" fmla="*/ 2934176 w 25004707"/>
              <a:gd name="connsiteY753" fmla="*/ 3571956 h 10808782"/>
              <a:gd name="connsiteX754" fmla="*/ 2934176 w 25004707"/>
              <a:gd name="connsiteY754" fmla="*/ 3571956 h 10808782"/>
              <a:gd name="connsiteX755" fmla="*/ 4193489 w 25004707"/>
              <a:gd name="connsiteY755" fmla="*/ 4269945 h 10808782"/>
              <a:gd name="connsiteX756" fmla="*/ 4229580 w 25004707"/>
              <a:gd name="connsiteY756" fmla="*/ 3720393 h 10808782"/>
              <a:gd name="connsiteX757" fmla="*/ 2854836 w 25004707"/>
              <a:gd name="connsiteY757" fmla="*/ 5015496 h 10808782"/>
              <a:gd name="connsiteX758" fmla="*/ 2823024 w 25004707"/>
              <a:gd name="connsiteY758" fmla="*/ 5499929 h 10808782"/>
              <a:gd name="connsiteX759" fmla="*/ 2854836 w 25004707"/>
              <a:gd name="connsiteY759" fmla="*/ 5015496 h 10808782"/>
              <a:gd name="connsiteX760" fmla="*/ 2886695 w 25004707"/>
              <a:gd name="connsiteY760" fmla="*/ 4530606 h 10808782"/>
              <a:gd name="connsiteX761" fmla="*/ 2854836 w 25004707"/>
              <a:gd name="connsiteY761" fmla="*/ 5015496 h 10808782"/>
              <a:gd name="connsiteX762" fmla="*/ 1570665 w 25004707"/>
              <a:gd name="connsiteY762" fmla="*/ 4931328 h 10808782"/>
              <a:gd name="connsiteX763" fmla="*/ 2823024 w 25004707"/>
              <a:gd name="connsiteY763" fmla="*/ 5499929 h 10808782"/>
              <a:gd name="connsiteX764" fmla="*/ 4107179 w 25004707"/>
              <a:gd name="connsiteY764" fmla="*/ 5584097 h 10808782"/>
              <a:gd name="connsiteX765" fmla="*/ 2823024 w 25004707"/>
              <a:gd name="connsiteY765" fmla="*/ 5499929 h 10808782"/>
              <a:gd name="connsiteX766" fmla="*/ 1538853 w 25004707"/>
              <a:gd name="connsiteY766" fmla="*/ 5415746 h 10808782"/>
              <a:gd name="connsiteX767" fmla="*/ 2663793 w 25004707"/>
              <a:gd name="connsiteY767" fmla="*/ 7923495 h 10808782"/>
              <a:gd name="connsiteX768" fmla="*/ 2695604 w 25004707"/>
              <a:gd name="connsiteY768" fmla="*/ 7439062 h 10808782"/>
              <a:gd name="connsiteX769" fmla="*/ 3979775 w 25004707"/>
              <a:gd name="connsiteY769" fmla="*/ 7523230 h 10808782"/>
              <a:gd name="connsiteX770" fmla="*/ 2663793 w 25004707"/>
              <a:gd name="connsiteY770" fmla="*/ 7923495 h 10808782"/>
              <a:gd name="connsiteX771" fmla="*/ 3947948 w 25004707"/>
              <a:gd name="connsiteY771" fmla="*/ 8007663 h 10808782"/>
              <a:gd name="connsiteX772" fmla="*/ 3979775 w 25004707"/>
              <a:gd name="connsiteY772" fmla="*/ 7523230 h 10808782"/>
              <a:gd name="connsiteX773" fmla="*/ 2568295 w 25004707"/>
              <a:gd name="connsiteY773" fmla="*/ 9377707 h 10808782"/>
              <a:gd name="connsiteX774" fmla="*/ 2600138 w 25004707"/>
              <a:gd name="connsiteY774" fmla="*/ 8892802 h 10808782"/>
              <a:gd name="connsiteX775" fmla="*/ 3884340 w 25004707"/>
              <a:gd name="connsiteY775" fmla="*/ 8976986 h 10808782"/>
              <a:gd name="connsiteX776" fmla="*/ 3916152 w 25004707"/>
              <a:gd name="connsiteY776" fmla="*/ 8492552 h 10808782"/>
              <a:gd name="connsiteX777" fmla="*/ 2568295 w 25004707"/>
              <a:gd name="connsiteY777" fmla="*/ 9377707 h 10808782"/>
              <a:gd name="connsiteX778" fmla="*/ 3852450 w 25004707"/>
              <a:gd name="connsiteY778" fmla="*/ 9461875 h 10808782"/>
              <a:gd name="connsiteX779" fmla="*/ 3884293 w 25004707"/>
              <a:gd name="connsiteY779" fmla="*/ 8976986 h 10808782"/>
              <a:gd name="connsiteX780" fmla="*/ 2822961 w 25004707"/>
              <a:gd name="connsiteY780" fmla="*/ 5499929 h 10808782"/>
              <a:gd name="connsiteX781" fmla="*/ 2791118 w 25004707"/>
              <a:gd name="connsiteY781" fmla="*/ 5984834 h 10808782"/>
              <a:gd name="connsiteX782" fmla="*/ 2791118 w 25004707"/>
              <a:gd name="connsiteY782" fmla="*/ 5984834 h 10808782"/>
              <a:gd name="connsiteX783" fmla="*/ 2759275 w 25004707"/>
              <a:gd name="connsiteY783" fmla="*/ 6469723 h 10808782"/>
              <a:gd name="connsiteX784" fmla="*/ 2791118 w 25004707"/>
              <a:gd name="connsiteY784" fmla="*/ 5984834 h 10808782"/>
              <a:gd name="connsiteX785" fmla="*/ 4075304 w 25004707"/>
              <a:gd name="connsiteY785" fmla="*/ 6069002 h 10808782"/>
              <a:gd name="connsiteX786" fmla="*/ 2759275 w 25004707"/>
              <a:gd name="connsiteY786" fmla="*/ 6469723 h 10808782"/>
              <a:gd name="connsiteX787" fmla="*/ 2727447 w 25004707"/>
              <a:gd name="connsiteY787" fmla="*/ 6954157 h 10808782"/>
              <a:gd name="connsiteX788" fmla="*/ 2759275 w 25004707"/>
              <a:gd name="connsiteY788" fmla="*/ 6469723 h 10808782"/>
              <a:gd name="connsiteX789" fmla="*/ 1475099 w 25004707"/>
              <a:gd name="connsiteY789" fmla="*/ 6385555 h 10808782"/>
              <a:gd name="connsiteX790" fmla="*/ 2759275 w 25004707"/>
              <a:gd name="connsiteY790" fmla="*/ 6469723 h 10808782"/>
              <a:gd name="connsiteX791" fmla="*/ 4043446 w 25004707"/>
              <a:gd name="connsiteY791" fmla="*/ 6553891 h 10808782"/>
              <a:gd name="connsiteX792" fmla="*/ 2727479 w 25004707"/>
              <a:gd name="connsiteY792" fmla="*/ 6954157 h 10808782"/>
              <a:gd name="connsiteX793" fmla="*/ 2695636 w 25004707"/>
              <a:gd name="connsiteY793" fmla="*/ 7439062 h 10808782"/>
              <a:gd name="connsiteX794" fmla="*/ 1411460 w 25004707"/>
              <a:gd name="connsiteY794" fmla="*/ 7354878 h 10808782"/>
              <a:gd name="connsiteX795" fmla="*/ 2727447 w 25004707"/>
              <a:gd name="connsiteY795" fmla="*/ 6954157 h 10808782"/>
              <a:gd name="connsiteX796" fmla="*/ 4011634 w 25004707"/>
              <a:gd name="connsiteY796" fmla="*/ 7038325 h 10808782"/>
              <a:gd name="connsiteX797" fmla="*/ 4298128 w 25004707"/>
              <a:gd name="connsiteY797" fmla="*/ 2676113 h 10808782"/>
              <a:gd name="connsiteX798" fmla="*/ 4366723 w 25004707"/>
              <a:gd name="connsiteY798" fmla="*/ 1631817 h 10808782"/>
              <a:gd name="connsiteX799" fmla="*/ 4043446 w 25004707"/>
              <a:gd name="connsiteY799" fmla="*/ 6553891 h 10808782"/>
              <a:gd name="connsiteX800" fmla="*/ 4011634 w 25004707"/>
              <a:gd name="connsiteY800" fmla="*/ 7038325 h 10808782"/>
              <a:gd name="connsiteX801" fmla="*/ 4043446 w 25004707"/>
              <a:gd name="connsiteY801" fmla="*/ 6553891 h 10808782"/>
              <a:gd name="connsiteX802" fmla="*/ 4075304 w 25004707"/>
              <a:gd name="connsiteY802" fmla="*/ 6069002 h 10808782"/>
              <a:gd name="connsiteX803" fmla="*/ 4011634 w 25004707"/>
              <a:gd name="connsiteY803" fmla="*/ 7038325 h 10808782"/>
              <a:gd name="connsiteX804" fmla="*/ 3979775 w 25004707"/>
              <a:gd name="connsiteY804" fmla="*/ 7523230 h 10808782"/>
              <a:gd name="connsiteX805" fmla="*/ 4457312 w 25004707"/>
              <a:gd name="connsiteY805" fmla="*/ 252523 h 10808782"/>
              <a:gd name="connsiteX806" fmla="*/ 4441500 w 25004707"/>
              <a:gd name="connsiteY806" fmla="*/ 493335 h 10808782"/>
              <a:gd name="connsiteX807" fmla="*/ 4441500 w 25004707"/>
              <a:gd name="connsiteY807" fmla="*/ 493335 h 10808782"/>
              <a:gd name="connsiteX808" fmla="*/ 3341890 w 25004707"/>
              <a:gd name="connsiteY808" fmla="*/ 666397 h 10808782"/>
              <a:gd name="connsiteX809" fmla="*/ 3141314 w 25004707"/>
              <a:gd name="connsiteY809" fmla="*/ 653248 h 10808782"/>
              <a:gd name="connsiteX810" fmla="*/ 4193505 w 25004707"/>
              <a:gd name="connsiteY810" fmla="*/ 4269945 h 10808782"/>
              <a:gd name="connsiteX811" fmla="*/ 4171904 w 25004707"/>
              <a:gd name="connsiteY811" fmla="*/ 4598837 h 10808782"/>
              <a:gd name="connsiteX812" fmla="*/ 4402830 w 25004707"/>
              <a:gd name="connsiteY812" fmla="*/ 1082261 h 10808782"/>
              <a:gd name="connsiteX813" fmla="*/ 4424415 w 25004707"/>
              <a:gd name="connsiteY813" fmla="*/ 753372 h 10808782"/>
              <a:gd name="connsiteX814" fmla="*/ 3289752 w 25004707"/>
              <a:gd name="connsiteY814" fmla="*/ 1119395 h 10808782"/>
              <a:gd name="connsiteX815" fmla="*/ 3109439 w 25004707"/>
              <a:gd name="connsiteY815" fmla="*/ 1138162 h 10808782"/>
              <a:gd name="connsiteX816" fmla="*/ 4366723 w 25004707"/>
              <a:gd name="connsiteY816" fmla="*/ 1631817 h 10808782"/>
              <a:gd name="connsiteX817" fmla="*/ 3003872 w 25004707"/>
              <a:gd name="connsiteY817" fmla="*/ 2088273 h 10808782"/>
              <a:gd name="connsiteX818" fmla="*/ 4402766 w 25004707"/>
              <a:gd name="connsiteY818" fmla="*/ 1082272 h 10808782"/>
              <a:gd name="connsiteX819" fmla="*/ 4366676 w 25004707"/>
              <a:gd name="connsiteY819" fmla="*/ 1631817 h 10808782"/>
              <a:gd name="connsiteX820" fmla="*/ 4107148 w 25004707"/>
              <a:gd name="connsiteY820" fmla="*/ 5584097 h 10808782"/>
              <a:gd name="connsiteX821" fmla="*/ 4075304 w 25004707"/>
              <a:gd name="connsiteY821" fmla="*/ 6069002 h 10808782"/>
              <a:gd name="connsiteX822" fmla="*/ 4136254 w 25004707"/>
              <a:gd name="connsiteY822" fmla="*/ 5141363 h 10808782"/>
              <a:gd name="connsiteX823" fmla="*/ 4107179 w 25004707"/>
              <a:gd name="connsiteY823" fmla="*/ 5584097 h 10808782"/>
              <a:gd name="connsiteX824" fmla="*/ 4136254 w 25004707"/>
              <a:gd name="connsiteY824" fmla="*/ 5141363 h 10808782"/>
              <a:gd name="connsiteX825" fmla="*/ 4154818 w 25004707"/>
              <a:gd name="connsiteY825" fmla="*/ 4858838 h 10808782"/>
              <a:gd name="connsiteX826" fmla="*/ 4136254 w 25004707"/>
              <a:gd name="connsiteY826" fmla="*/ 5141363 h 10808782"/>
              <a:gd name="connsiteX827" fmla="*/ 4901023 w 25004707"/>
              <a:gd name="connsiteY827" fmla="*/ 5149598 h 10808782"/>
              <a:gd name="connsiteX828" fmla="*/ 5423193 w 25004707"/>
              <a:gd name="connsiteY828" fmla="*/ 5183816 h 10808782"/>
              <a:gd name="connsiteX829" fmla="*/ 4136254 w 25004707"/>
              <a:gd name="connsiteY829" fmla="*/ 5141363 h 10808782"/>
              <a:gd name="connsiteX830" fmla="*/ 3509586 w 25004707"/>
              <a:gd name="connsiteY830" fmla="*/ 5059317 h 10808782"/>
              <a:gd name="connsiteX831" fmla="*/ 2854836 w 25004707"/>
              <a:gd name="connsiteY831" fmla="*/ 5015464 h 10808782"/>
              <a:gd name="connsiteX832" fmla="*/ 3948026 w 25004707"/>
              <a:gd name="connsiteY832" fmla="*/ 8007663 h 10808782"/>
              <a:gd name="connsiteX833" fmla="*/ 3916184 w 25004707"/>
              <a:gd name="connsiteY833" fmla="*/ 8492568 h 10808782"/>
              <a:gd name="connsiteX834" fmla="*/ 3916184 w 25004707"/>
              <a:gd name="connsiteY834" fmla="*/ 8492568 h 10808782"/>
              <a:gd name="connsiteX835" fmla="*/ 2632012 w 25004707"/>
              <a:gd name="connsiteY835" fmla="*/ 8408369 h 10808782"/>
              <a:gd name="connsiteX836" fmla="*/ 2600201 w 25004707"/>
              <a:gd name="connsiteY836" fmla="*/ 8892802 h 10808782"/>
              <a:gd name="connsiteX837" fmla="*/ 1316024 w 25004707"/>
              <a:gd name="connsiteY837" fmla="*/ 8808634 h 10808782"/>
              <a:gd name="connsiteX838" fmla="*/ 4154818 w 25004707"/>
              <a:gd name="connsiteY838" fmla="*/ 4858838 h 10808782"/>
              <a:gd name="connsiteX839" fmla="*/ 4171888 w 25004707"/>
              <a:gd name="connsiteY839" fmla="*/ 4598837 h 10808782"/>
              <a:gd name="connsiteX840" fmla="*/ 4441469 w 25004707"/>
              <a:gd name="connsiteY840" fmla="*/ 493350 h 10808782"/>
              <a:gd name="connsiteX841" fmla="*/ 4424383 w 25004707"/>
              <a:gd name="connsiteY841" fmla="*/ 753369 h 10808782"/>
              <a:gd name="connsiteX842" fmla="*/ 4171888 w 25004707"/>
              <a:gd name="connsiteY842" fmla="*/ 4598837 h 10808782"/>
              <a:gd name="connsiteX843" fmla="*/ 5486817 w 25004707"/>
              <a:gd name="connsiteY843" fmla="*/ 4214493 h 10808782"/>
              <a:gd name="connsiteX844" fmla="*/ 4171888 w 25004707"/>
              <a:gd name="connsiteY844" fmla="*/ 4598837 h 10808782"/>
              <a:gd name="connsiteX845" fmla="*/ 2918475 w 25004707"/>
              <a:gd name="connsiteY845" fmla="*/ 4046141 h 10808782"/>
              <a:gd name="connsiteX846" fmla="*/ 6516337 w 25004707"/>
              <a:gd name="connsiteY846" fmla="*/ 8176030 h 10808782"/>
              <a:gd name="connsiteX847" fmla="*/ 6484494 w 25004707"/>
              <a:gd name="connsiteY847" fmla="*/ 8660920 h 10808782"/>
              <a:gd name="connsiteX848" fmla="*/ 5200323 w 25004707"/>
              <a:gd name="connsiteY848" fmla="*/ 8576751 h 10808782"/>
              <a:gd name="connsiteX849" fmla="*/ 6516337 w 25004707"/>
              <a:gd name="connsiteY849" fmla="*/ 8176030 h 10808782"/>
              <a:gd name="connsiteX850" fmla="*/ 6548180 w 25004707"/>
              <a:gd name="connsiteY850" fmla="*/ 7691597 h 10808782"/>
              <a:gd name="connsiteX851" fmla="*/ 7832335 w 25004707"/>
              <a:gd name="connsiteY851" fmla="*/ 7775781 h 10808782"/>
              <a:gd name="connsiteX852" fmla="*/ 6516337 w 25004707"/>
              <a:gd name="connsiteY852" fmla="*/ 8176030 h 10808782"/>
              <a:gd name="connsiteX853" fmla="*/ 5232182 w 25004707"/>
              <a:gd name="connsiteY853" fmla="*/ 8091847 h 10808782"/>
              <a:gd name="connsiteX854" fmla="*/ 6516337 w 25004707"/>
              <a:gd name="connsiteY854" fmla="*/ 8176030 h 10808782"/>
              <a:gd name="connsiteX855" fmla="*/ 7800540 w 25004707"/>
              <a:gd name="connsiteY855" fmla="*/ 8260199 h 10808782"/>
              <a:gd name="connsiteX856" fmla="*/ 6484447 w 25004707"/>
              <a:gd name="connsiteY856" fmla="*/ 8660904 h 10808782"/>
              <a:gd name="connsiteX857" fmla="*/ 6452635 w 25004707"/>
              <a:gd name="connsiteY857" fmla="*/ 9145338 h 10808782"/>
              <a:gd name="connsiteX858" fmla="*/ 5168449 w 25004707"/>
              <a:gd name="connsiteY858" fmla="*/ 9061154 h 10808782"/>
              <a:gd name="connsiteX859" fmla="*/ 6707364 w 25004707"/>
              <a:gd name="connsiteY859" fmla="*/ 5268031 h 10808782"/>
              <a:gd name="connsiteX860" fmla="*/ 6675537 w 25004707"/>
              <a:gd name="connsiteY860" fmla="*/ 5752465 h 10808782"/>
              <a:gd name="connsiteX861" fmla="*/ 6675537 w 25004707"/>
              <a:gd name="connsiteY861" fmla="*/ 5752465 h 10808782"/>
              <a:gd name="connsiteX862" fmla="*/ 6643678 w 25004707"/>
              <a:gd name="connsiteY862" fmla="*/ 6237369 h 10808782"/>
              <a:gd name="connsiteX863" fmla="*/ 6675537 w 25004707"/>
              <a:gd name="connsiteY863" fmla="*/ 5752465 h 10808782"/>
              <a:gd name="connsiteX864" fmla="*/ 7959724 w 25004707"/>
              <a:gd name="connsiteY864" fmla="*/ 5836648 h 10808782"/>
              <a:gd name="connsiteX865" fmla="*/ 6675537 w 25004707"/>
              <a:gd name="connsiteY865" fmla="*/ 5752465 h 10808782"/>
              <a:gd name="connsiteX866" fmla="*/ 5391366 w 25004707"/>
              <a:gd name="connsiteY866" fmla="*/ 5668297 h 10808782"/>
              <a:gd name="connsiteX867" fmla="*/ 6739145 w 25004707"/>
              <a:gd name="connsiteY867" fmla="*/ 4783126 h 10808782"/>
              <a:gd name="connsiteX868" fmla="*/ 6707301 w 25004707"/>
              <a:gd name="connsiteY868" fmla="*/ 5268031 h 10808782"/>
              <a:gd name="connsiteX869" fmla="*/ 5423115 w 25004707"/>
              <a:gd name="connsiteY869" fmla="*/ 5183847 h 10808782"/>
              <a:gd name="connsiteX870" fmla="*/ 6771003 w 25004707"/>
              <a:gd name="connsiteY870" fmla="*/ 4298708 h 10808782"/>
              <a:gd name="connsiteX871" fmla="*/ 6802846 w 25004707"/>
              <a:gd name="connsiteY871" fmla="*/ 3813819 h 10808782"/>
              <a:gd name="connsiteX872" fmla="*/ 8087017 w 25004707"/>
              <a:gd name="connsiteY872" fmla="*/ 3897971 h 10808782"/>
              <a:gd name="connsiteX873" fmla="*/ 8118845 w 25004707"/>
              <a:gd name="connsiteY873" fmla="*/ 3413538 h 10808782"/>
              <a:gd name="connsiteX874" fmla="*/ 6771003 w 25004707"/>
              <a:gd name="connsiteY874" fmla="*/ 4298708 h 10808782"/>
              <a:gd name="connsiteX875" fmla="*/ 6739176 w 25004707"/>
              <a:gd name="connsiteY875" fmla="*/ 4783142 h 10808782"/>
              <a:gd name="connsiteX876" fmla="*/ 6962031 w 25004707"/>
              <a:gd name="connsiteY876" fmla="*/ 1390234 h 10808782"/>
              <a:gd name="connsiteX877" fmla="*/ 6930187 w 25004707"/>
              <a:gd name="connsiteY877" fmla="*/ 1875142 h 10808782"/>
              <a:gd name="connsiteX878" fmla="*/ 6962031 w 25004707"/>
              <a:gd name="connsiteY878" fmla="*/ 1390234 h 10808782"/>
              <a:gd name="connsiteX879" fmla="*/ 6993842 w 25004707"/>
              <a:gd name="connsiteY879" fmla="*/ 905794 h 10808782"/>
              <a:gd name="connsiteX880" fmla="*/ 6962031 w 25004707"/>
              <a:gd name="connsiteY880" fmla="*/ 1390234 h 10808782"/>
              <a:gd name="connsiteX881" fmla="*/ 5677875 w 25004707"/>
              <a:gd name="connsiteY881" fmla="*/ 1306052 h 10808782"/>
              <a:gd name="connsiteX882" fmla="*/ 6962031 w 25004707"/>
              <a:gd name="connsiteY882" fmla="*/ 1390234 h 10808782"/>
              <a:gd name="connsiteX883" fmla="*/ 8246217 w 25004707"/>
              <a:gd name="connsiteY883" fmla="*/ 1474414 h 10808782"/>
              <a:gd name="connsiteX884" fmla="*/ 6930187 w 25004707"/>
              <a:gd name="connsiteY884" fmla="*/ 1875142 h 10808782"/>
              <a:gd name="connsiteX885" fmla="*/ 8214374 w 25004707"/>
              <a:gd name="connsiteY885" fmla="*/ 1959310 h 10808782"/>
              <a:gd name="connsiteX886" fmla="*/ 8246217 w 25004707"/>
              <a:gd name="connsiteY886" fmla="*/ 1474414 h 10808782"/>
              <a:gd name="connsiteX887" fmla="*/ 7025685 w 25004707"/>
              <a:gd name="connsiteY887" fmla="*/ 420894 h 10808782"/>
              <a:gd name="connsiteX888" fmla="*/ 6993842 w 25004707"/>
              <a:gd name="connsiteY888" fmla="*/ 905794 h 10808782"/>
              <a:gd name="connsiteX889" fmla="*/ 6993842 w 25004707"/>
              <a:gd name="connsiteY889" fmla="*/ 905794 h 10808782"/>
              <a:gd name="connsiteX890" fmla="*/ 5709671 w 25004707"/>
              <a:gd name="connsiteY890" fmla="*/ 821615 h 10808782"/>
              <a:gd name="connsiteX891" fmla="*/ 6993842 w 25004707"/>
              <a:gd name="connsiteY891" fmla="*/ 905794 h 10808782"/>
              <a:gd name="connsiteX892" fmla="*/ 8278013 w 25004707"/>
              <a:gd name="connsiteY892" fmla="*/ 989967 h 10808782"/>
              <a:gd name="connsiteX893" fmla="*/ 8309856 w 25004707"/>
              <a:gd name="connsiteY893" fmla="*/ 505066 h 10808782"/>
              <a:gd name="connsiteX894" fmla="*/ 6739176 w 25004707"/>
              <a:gd name="connsiteY894" fmla="*/ 4783142 h 10808782"/>
              <a:gd name="connsiteX895" fmla="*/ 8023347 w 25004707"/>
              <a:gd name="connsiteY895" fmla="*/ 4867310 h 10808782"/>
              <a:gd name="connsiteX896" fmla="*/ 6611819 w 25004707"/>
              <a:gd name="connsiteY896" fmla="*/ 6722259 h 10808782"/>
              <a:gd name="connsiteX897" fmla="*/ 6579992 w 25004707"/>
              <a:gd name="connsiteY897" fmla="*/ 7206692 h 10808782"/>
              <a:gd name="connsiteX898" fmla="*/ 6611819 w 25004707"/>
              <a:gd name="connsiteY898" fmla="*/ 6722259 h 10808782"/>
              <a:gd name="connsiteX899" fmla="*/ 6643647 w 25004707"/>
              <a:gd name="connsiteY899" fmla="*/ 6237369 h 10808782"/>
              <a:gd name="connsiteX900" fmla="*/ 6611819 w 25004707"/>
              <a:gd name="connsiteY900" fmla="*/ 6722259 h 10808782"/>
              <a:gd name="connsiteX901" fmla="*/ 7895990 w 25004707"/>
              <a:gd name="connsiteY901" fmla="*/ 6806442 h 10808782"/>
              <a:gd name="connsiteX902" fmla="*/ 6579992 w 25004707"/>
              <a:gd name="connsiteY902" fmla="*/ 7206692 h 10808782"/>
              <a:gd name="connsiteX903" fmla="*/ 6548133 w 25004707"/>
              <a:gd name="connsiteY903" fmla="*/ 7691613 h 10808782"/>
              <a:gd name="connsiteX904" fmla="*/ 5263978 w 25004707"/>
              <a:gd name="connsiteY904" fmla="*/ 7607414 h 10808782"/>
              <a:gd name="connsiteX905" fmla="*/ 5232150 w 25004707"/>
              <a:gd name="connsiteY905" fmla="*/ 8091847 h 10808782"/>
              <a:gd name="connsiteX906" fmla="*/ 3947979 w 25004707"/>
              <a:gd name="connsiteY906" fmla="*/ 8007663 h 10808782"/>
              <a:gd name="connsiteX907" fmla="*/ 6643678 w 25004707"/>
              <a:gd name="connsiteY907" fmla="*/ 6237369 h 10808782"/>
              <a:gd name="connsiteX908" fmla="*/ 7927849 w 25004707"/>
              <a:gd name="connsiteY908" fmla="*/ 6321553 h 10808782"/>
              <a:gd name="connsiteX909" fmla="*/ 6898344 w 25004707"/>
              <a:gd name="connsiteY909" fmla="*/ 2360031 h 10808782"/>
              <a:gd name="connsiteX910" fmla="*/ 6866517 w 25004707"/>
              <a:gd name="connsiteY910" fmla="*/ 2844465 h 10808782"/>
              <a:gd name="connsiteX911" fmla="*/ 6866517 w 25004707"/>
              <a:gd name="connsiteY911" fmla="*/ 2844465 h 10808782"/>
              <a:gd name="connsiteX912" fmla="*/ 8150688 w 25004707"/>
              <a:gd name="connsiteY912" fmla="*/ 2928648 h 10808782"/>
              <a:gd name="connsiteX913" fmla="*/ 6866517 w 25004707"/>
              <a:gd name="connsiteY913" fmla="*/ 2844465 h 10808782"/>
              <a:gd name="connsiteX914" fmla="*/ 6802862 w 25004707"/>
              <a:gd name="connsiteY914" fmla="*/ 3813787 h 10808782"/>
              <a:gd name="connsiteX915" fmla="*/ 7832335 w 25004707"/>
              <a:gd name="connsiteY915" fmla="*/ 7775781 h 10808782"/>
              <a:gd name="connsiteX916" fmla="*/ 7864178 w 25004707"/>
              <a:gd name="connsiteY916" fmla="*/ 7290876 h 10808782"/>
              <a:gd name="connsiteX917" fmla="*/ 7832335 w 25004707"/>
              <a:gd name="connsiteY917" fmla="*/ 7775781 h 10808782"/>
              <a:gd name="connsiteX918" fmla="*/ 7800540 w 25004707"/>
              <a:gd name="connsiteY918" fmla="*/ 8260199 h 10808782"/>
              <a:gd name="connsiteX919" fmla="*/ 7832335 w 25004707"/>
              <a:gd name="connsiteY919" fmla="*/ 7775781 h 10808782"/>
              <a:gd name="connsiteX920" fmla="*/ 9116522 w 25004707"/>
              <a:gd name="connsiteY920" fmla="*/ 7859965 h 10808782"/>
              <a:gd name="connsiteX921" fmla="*/ 7864178 w 25004707"/>
              <a:gd name="connsiteY921" fmla="*/ 7290876 h 10808782"/>
              <a:gd name="connsiteX922" fmla="*/ 7895990 w 25004707"/>
              <a:gd name="connsiteY922" fmla="*/ 6806442 h 10808782"/>
              <a:gd name="connsiteX923" fmla="*/ 7864178 w 25004707"/>
              <a:gd name="connsiteY923" fmla="*/ 7290876 h 10808782"/>
              <a:gd name="connsiteX924" fmla="*/ 6580023 w 25004707"/>
              <a:gd name="connsiteY924" fmla="*/ 7206692 h 10808782"/>
              <a:gd name="connsiteX925" fmla="*/ 7864178 w 25004707"/>
              <a:gd name="connsiteY925" fmla="*/ 7290876 h 10808782"/>
              <a:gd name="connsiteX926" fmla="*/ 9148365 w 25004707"/>
              <a:gd name="connsiteY926" fmla="*/ 7375028 h 10808782"/>
              <a:gd name="connsiteX927" fmla="*/ 9180177 w 25004707"/>
              <a:gd name="connsiteY927" fmla="*/ 6890626 h 10808782"/>
              <a:gd name="connsiteX928" fmla="*/ 8023347 w 25004707"/>
              <a:gd name="connsiteY928" fmla="*/ 4867310 h 10808782"/>
              <a:gd name="connsiteX929" fmla="*/ 7991504 w 25004707"/>
              <a:gd name="connsiteY929" fmla="*/ 5352199 h 10808782"/>
              <a:gd name="connsiteX930" fmla="*/ 6707317 w 25004707"/>
              <a:gd name="connsiteY930" fmla="*/ 5268031 h 10808782"/>
              <a:gd name="connsiteX931" fmla="*/ 8023347 w 25004707"/>
              <a:gd name="connsiteY931" fmla="*/ 4867310 h 10808782"/>
              <a:gd name="connsiteX932" fmla="*/ 8055159 w 25004707"/>
              <a:gd name="connsiteY932" fmla="*/ 4382892 h 10808782"/>
              <a:gd name="connsiteX933" fmla="*/ 8023347 w 25004707"/>
              <a:gd name="connsiteY933" fmla="*/ 4867310 h 10808782"/>
              <a:gd name="connsiteX934" fmla="*/ 9307518 w 25004707"/>
              <a:gd name="connsiteY934" fmla="*/ 4951493 h 10808782"/>
              <a:gd name="connsiteX935" fmla="*/ 9339345 w 25004707"/>
              <a:gd name="connsiteY935" fmla="*/ 4467060 h 10808782"/>
              <a:gd name="connsiteX936" fmla="*/ 8150735 w 25004707"/>
              <a:gd name="connsiteY936" fmla="*/ 2928633 h 10808782"/>
              <a:gd name="connsiteX937" fmla="*/ 8118892 w 25004707"/>
              <a:gd name="connsiteY937" fmla="*/ 3413522 h 10808782"/>
              <a:gd name="connsiteX938" fmla="*/ 8118892 w 25004707"/>
              <a:gd name="connsiteY938" fmla="*/ 3413522 h 10808782"/>
              <a:gd name="connsiteX939" fmla="*/ 6834705 w 25004707"/>
              <a:gd name="connsiteY939" fmla="*/ 3329354 h 10808782"/>
              <a:gd name="connsiteX940" fmla="*/ 8118892 w 25004707"/>
              <a:gd name="connsiteY940" fmla="*/ 3413522 h 10808782"/>
              <a:gd name="connsiteX941" fmla="*/ 9403063 w 25004707"/>
              <a:gd name="connsiteY941" fmla="*/ 3497721 h 10808782"/>
              <a:gd name="connsiteX942" fmla="*/ 7927849 w 25004707"/>
              <a:gd name="connsiteY942" fmla="*/ 6321553 h 10808782"/>
              <a:gd name="connsiteX943" fmla="*/ 7895990 w 25004707"/>
              <a:gd name="connsiteY943" fmla="*/ 6806442 h 10808782"/>
              <a:gd name="connsiteX944" fmla="*/ 7927849 w 25004707"/>
              <a:gd name="connsiteY944" fmla="*/ 6321553 h 10808782"/>
              <a:gd name="connsiteX945" fmla="*/ 7959692 w 25004707"/>
              <a:gd name="connsiteY945" fmla="*/ 5836632 h 10808782"/>
              <a:gd name="connsiteX946" fmla="*/ 7895990 w 25004707"/>
              <a:gd name="connsiteY946" fmla="*/ 6806442 h 10808782"/>
              <a:gd name="connsiteX947" fmla="*/ 9180177 w 25004707"/>
              <a:gd name="connsiteY947" fmla="*/ 6890626 h 10808782"/>
              <a:gd name="connsiteX948" fmla="*/ 7736885 w 25004707"/>
              <a:gd name="connsiteY948" fmla="*/ 9229521 h 10808782"/>
              <a:gd name="connsiteX949" fmla="*/ 7705010 w 25004707"/>
              <a:gd name="connsiteY949" fmla="*/ 9714426 h 10808782"/>
              <a:gd name="connsiteX950" fmla="*/ 7736885 w 25004707"/>
              <a:gd name="connsiteY950" fmla="*/ 9229521 h 10808782"/>
              <a:gd name="connsiteX951" fmla="*/ 9021040 w 25004707"/>
              <a:gd name="connsiteY951" fmla="*/ 9313690 h 10808782"/>
              <a:gd name="connsiteX952" fmla="*/ 7736885 w 25004707"/>
              <a:gd name="connsiteY952" fmla="*/ 9229521 h 10808782"/>
              <a:gd name="connsiteX953" fmla="*/ 7800540 w 25004707"/>
              <a:gd name="connsiteY953" fmla="*/ 8260199 h 10808782"/>
              <a:gd name="connsiteX954" fmla="*/ 8087049 w 25004707"/>
              <a:gd name="connsiteY954" fmla="*/ 3897987 h 10808782"/>
              <a:gd name="connsiteX955" fmla="*/ 8055206 w 25004707"/>
              <a:gd name="connsiteY955" fmla="*/ 4382892 h 10808782"/>
              <a:gd name="connsiteX956" fmla="*/ 8055206 w 25004707"/>
              <a:gd name="connsiteY956" fmla="*/ 4382892 h 10808782"/>
              <a:gd name="connsiteX957" fmla="*/ 6771019 w 25004707"/>
              <a:gd name="connsiteY957" fmla="*/ 4298708 h 10808782"/>
              <a:gd name="connsiteX958" fmla="*/ 8055206 w 25004707"/>
              <a:gd name="connsiteY958" fmla="*/ 4382892 h 10808782"/>
              <a:gd name="connsiteX959" fmla="*/ 9339392 w 25004707"/>
              <a:gd name="connsiteY959" fmla="*/ 4467060 h 10808782"/>
              <a:gd name="connsiteX960" fmla="*/ 7959724 w 25004707"/>
              <a:gd name="connsiteY960" fmla="*/ 5836648 h 10808782"/>
              <a:gd name="connsiteX961" fmla="*/ 7991535 w 25004707"/>
              <a:gd name="connsiteY961" fmla="*/ 5352214 h 10808782"/>
              <a:gd name="connsiteX962" fmla="*/ 9275706 w 25004707"/>
              <a:gd name="connsiteY962" fmla="*/ 5436398 h 10808782"/>
              <a:gd name="connsiteX963" fmla="*/ 7959724 w 25004707"/>
              <a:gd name="connsiteY963" fmla="*/ 5836648 h 10808782"/>
              <a:gd name="connsiteX964" fmla="*/ 9243879 w 25004707"/>
              <a:gd name="connsiteY964" fmla="*/ 5920832 h 10808782"/>
              <a:gd name="connsiteX965" fmla="*/ 7705010 w 25004707"/>
              <a:gd name="connsiteY965" fmla="*/ 9714426 h 10808782"/>
              <a:gd name="connsiteX966" fmla="*/ 6420839 w 25004707"/>
              <a:gd name="connsiteY966" fmla="*/ 9630242 h 10808782"/>
              <a:gd name="connsiteX967" fmla="*/ 7705010 w 25004707"/>
              <a:gd name="connsiteY967" fmla="*/ 9714426 h 10808782"/>
              <a:gd name="connsiteX968" fmla="*/ 8989196 w 25004707"/>
              <a:gd name="connsiteY968" fmla="*/ 9798594 h 10808782"/>
              <a:gd name="connsiteX969" fmla="*/ 9021040 w 25004707"/>
              <a:gd name="connsiteY969" fmla="*/ 9313690 h 10808782"/>
              <a:gd name="connsiteX970" fmla="*/ 8246217 w 25004707"/>
              <a:gd name="connsiteY970" fmla="*/ 1474414 h 10808782"/>
              <a:gd name="connsiteX971" fmla="*/ 8278029 w 25004707"/>
              <a:gd name="connsiteY971" fmla="*/ 989981 h 10808782"/>
              <a:gd name="connsiteX972" fmla="*/ 9562184 w 25004707"/>
              <a:gd name="connsiteY972" fmla="*/ 1074155 h 10808782"/>
              <a:gd name="connsiteX973" fmla="*/ 7800540 w 25004707"/>
              <a:gd name="connsiteY973" fmla="*/ 8260199 h 10808782"/>
              <a:gd name="connsiteX974" fmla="*/ 9084726 w 25004707"/>
              <a:gd name="connsiteY974" fmla="*/ 8344382 h 10808782"/>
              <a:gd name="connsiteX975" fmla="*/ 8182500 w 25004707"/>
              <a:gd name="connsiteY975" fmla="*/ 2444199 h 10808782"/>
              <a:gd name="connsiteX976" fmla="*/ 8214343 w 25004707"/>
              <a:gd name="connsiteY976" fmla="*/ 1959294 h 10808782"/>
              <a:gd name="connsiteX977" fmla="*/ 9498529 w 25004707"/>
              <a:gd name="connsiteY977" fmla="*/ 2043493 h 10808782"/>
              <a:gd name="connsiteX978" fmla="*/ 8182500 w 25004707"/>
              <a:gd name="connsiteY978" fmla="*/ 2444199 h 10808782"/>
              <a:gd name="connsiteX979" fmla="*/ 8150688 w 25004707"/>
              <a:gd name="connsiteY979" fmla="*/ 2928648 h 10808782"/>
              <a:gd name="connsiteX980" fmla="*/ 8182500 w 25004707"/>
              <a:gd name="connsiteY980" fmla="*/ 2444199 h 10808782"/>
              <a:gd name="connsiteX981" fmla="*/ 9466686 w 25004707"/>
              <a:gd name="connsiteY981" fmla="*/ 2528399 h 10808782"/>
              <a:gd name="connsiteX982" fmla="*/ 8182500 w 25004707"/>
              <a:gd name="connsiteY982" fmla="*/ 2444199 h 10808782"/>
              <a:gd name="connsiteX983" fmla="*/ 6898329 w 25004707"/>
              <a:gd name="connsiteY983" fmla="*/ 2360015 h 10808782"/>
              <a:gd name="connsiteX984" fmla="*/ 8150688 w 25004707"/>
              <a:gd name="connsiteY984" fmla="*/ 2928648 h 10808782"/>
              <a:gd name="connsiteX985" fmla="*/ 9434859 w 25004707"/>
              <a:gd name="connsiteY985" fmla="*/ 3012832 h 10808782"/>
              <a:gd name="connsiteX986" fmla="*/ 9275706 w 25004707"/>
              <a:gd name="connsiteY986" fmla="*/ 5436398 h 10808782"/>
              <a:gd name="connsiteX987" fmla="*/ 9243879 w 25004707"/>
              <a:gd name="connsiteY987" fmla="*/ 5920832 h 10808782"/>
              <a:gd name="connsiteX988" fmla="*/ 9243879 w 25004707"/>
              <a:gd name="connsiteY988" fmla="*/ 5920832 h 10808782"/>
              <a:gd name="connsiteX989" fmla="*/ 9212035 w 25004707"/>
              <a:gd name="connsiteY989" fmla="*/ 6405721 h 10808782"/>
              <a:gd name="connsiteX990" fmla="*/ 9212035 w 25004707"/>
              <a:gd name="connsiteY990" fmla="*/ 6405721 h 10808782"/>
              <a:gd name="connsiteX991" fmla="*/ 9180177 w 25004707"/>
              <a:gd name="connsiteY991" fmla="*/ 6890626 h 10808782"/>
              <a:gd name="connsiteX992" fmla="*/ 9212035 w 25004707"/>
              <a:gd name="connsiteY992" fmla="*/ 6405721 h 10808782"/>
              <a:gd name="connsiteX993" fmla="*/ 7927865 w 25004707"/>
              <a:gd name="connsiteY993" fmla="*/ 6321538 h 10808782"/>
              <a:gd name="connsiteX994" fmla="*/ 9371235 w 25004707"/>
              <a:gd name="connsiteY994" fmla="*/ 3982171 h 10808782"/>
              <a:gd name="connsiteX995" fmla="*/ 9339392 w 25004707"/>
              <a:gd name="connsiteY995" fmla="*/ 4467060 h 10808782"/>
              <a:gd name="connsiteX996" fmla="*/ 9562184 w 25004707"/>
              <a:gd name="connsiteY996" fmla="*/ 1074155 h 10808782"/>
              <a:gd name="connsiteX997" fmla="*/ 9530372 w 25004707"/>
              <a:gd name="connsiteY997" fmla="*/ 1558589 h 10808782"/>
              <a:gd name="connsiteX998" fmla="*/ 9562184 w 25004707"/>
              <a:gd name="connsiteY998" fmla="*/ 1074155 h 10808782"/>
              <a:gd name="connsiteX999" fmla="*/ 9594027 w 25004707"/>
              <a:gd name="connsiteY999" fmla="*/ 589247 h 10808782"/>
              <a:gd name="connsiteX1000" fmla="*/ 9530372 w 25004707"/>
              <a:gd name="connsiteY1000" fmla="*/ 1558589 h 10808782"/>
              <a:gd name="connsiteX1001" fmla="*/ 9498529 w 25004707"/>
              <a:gd name="connsiteY1001" fmla="*/ 2043493 h 10808782"/>
              <a:gd name="connsiteX1002" fmla="*/ 9530372 w 25004707"/>
              <a:gd name="connsiteY1002" fmla="*/ 1558589 h 10808782"/>
              <a:gd name="connsiteX1003" fmla="*/ 8246186 w 25004707"/>
              <a:gd name="connsiteY1003" fmla="*/ 1474408 h 10808782"/>
              <a:gd name="connsiteX1004" fmla="*/ 9116522 w 25004707"/>
              <a:gd name="connsiteY1004" fmla="*/ 7859965 h 10808782"/>
              <a:gd name="connsiteX1005" fmla="*/ 9084726 w 25004707"/>
              <a:gd name="connsiteY1005" fmla="*/ 8344382 h 10808782"/>
              <a:gd name="connsiteX1006" fmla="*/ 9403063 w 25004707"/>
              <a:gd name="connsiteY1006" fmla="*/ 3497721 h 10808782"/>
              <a:gd name="connsiteX1007" fmla="*/ 9371251 w 25004707"/>
              <a:gd name="connsiteY1007" fmla="*/ 3982155 h 10808782"/>
              <a:gd name="connsiteX1008" fmla="*/ 9403063 w 25004707"/>
              <a:gd name="connsiteY1008" fmla="*/ 3497721 h 10808782"/>
              <a:gd name="connsiteX1009" fmla="*/ 9434921 w 25004707"/>
              <a:gd name="connsiteY1009" fmla="*/ 3012801 h 10808782"/>
              <a:gd name="connsiteX1010" fmla="*/ 9371251 w 25004707"/>
              <a:gd name="connsiteY1010" fmla="*/ 3982155 h 10808782"/>
              <a:gd name="connsiteX1011" fmla="*/ 8087081 w 25004707"/>
              <a:gd name="connsiteY1011" fmla="*/ 3897971 h 10808782"/>
              <a:gd name="connsiteX1012" fmla="*/ 9498529 w 25004707"/>
              <a:gd name="connsiteY1012" fmla="*/ 2043493 h 10808782"/>
              <a:gd name="connsiteX1013" fmla="*/ 9466686 w 25004707"/>
              <a:gd name="connsiteY1013" fmla="*/ 2528399 h 10808782"/>
              <a:gd name="connsiteX1014" fmla="*/ 9466686 w 25004707"/>
              <a:gd name="connsiteY1014" fmla="*/ 2528399 h 10808782"/>
              <a:gd name="connsiteX1015" fmla="*/ 9434859 w 25004707"/>
              <a:gd name="connsiteY1015" fmla="*/ 3012832 h 10808782"/>
              <a:gd name="connsiteX1016" fmla="*/ 9021040 w 25004707"/>
              <a:gd name="connsiteY1016" fmla="*/ 9313690 h 10808782"/>
              <a:gd name="connsiteX1017" fmla="*/ 9052851 w 25004707"/>
              <a:gd name="connsiteY1017" fmla="*/ 8829272 h 10808782"/>
              <a:gd name="connsiteX1018" fmla="*/ 9084726 w 25004707"/>
              <a:gd name="connsiteY1018" fmla="*/ 8344382 h 10808782"/>
              <a:gd name="connsiteX1019" fmla="*/ 9052883 w 25004707"/>
              <a:gd name="connsiteY1019" fmla="*/ 8829287 h 10808782"/>
              <a:gd name="connsiteX1020" fmla="*/ 9052883 w 25004707"/>
              <a:gd name="connsiteY1020" fmla="*/ 8829287 h 10808782"/>
              <a:gd name="connsiteX1021" fmla="*/ 6484525 w 25004707"/>
              <a:gd name="connsiteY1021" fmla="*/ 8660920 h 10808782"/>
              <a:gd name="connsiteX1022" fmla="*/ 11589397 w 25004707"/>
              <a:gd name="connsiteY1022" fmla="*/ 9482057 h 10808782"/>
              <a:gd name="connsiteX1023" fmla="*/ 11621209 w 25004707"/>
              <a:gd name="connsiteY1023" fmla="*/ 8997623 h 10808782"/>
              <a:gd name="connsiteX1024" fmla="*/ 11589397 w 25004707"/>
              <a:gd name="connsiteY1024" fmla="*/ 9482057 h 10808782"/>
              <a:gd name="connsiteX1025" fmla="*/ 11557539 w 25004707"/>
              <a:gd name="connsiteY1025" fmla="*/ 9966962 h 10808782"/>
              <a:gd name="connsiteX1026" fmla="*/ 10273352 w 25004707"/>
              <a:gd name="connsiteY1026" fmla="*/ 9882778 h 10808782"/>
              <a:gd name="connsiteX1027" fmla="*/ 11589397 w 25004707"/>
              <a:gd name="connsiteY1027" fmla="*/ 9482057 h 10808782"/>
              <a:gd name="connsiteX1028" fmla="*/ 12873584 w 25004707"/>
              <a:gd name="connsiteY1028" fmla="*/ 9566240 h 10808782"/>
              <a:gd name="connsiteX1029" fmla="*/ 11589397 w 25004707"/>
              <a:gd name="connsiteY1029" fmla="*/ 9482057 h 10808782"/>
              <a:gd name="connsiteX1030" fmla="*/ 10305227 w 25004707"/>
              <a:gd name="connsiteY1030" fmla="*/ 9397873 h 10808782"/>
              <a:gd name="connsiteX1031" fmla="*/ 11621209 w 25004707"/>
              <a:gd name="connsiteY1031" fmla="*/ 8997623 h 10808782"/>
              <a:gd name="connsiteX1032" fmla="*/ 11653068 w 25004707"/>
              <a:gd name="connsiteY1032" fmla="*/ 8512733 h 10808782"/>
              <a:gd name="connsiteX1033" fmla="*/ 11621209 w 25004707"/>
              <a:gd name="connsiteY1033" fmla="*/ 8997623 h 10808782"/>
              <a:gd name="connsiteX1034" fmla="*/ 10337038 w 25004707"/>
              <a:gd name="connsiteY1034" fmla="*/ 8913455 h 10808782"/>
              <a:gd name="connsiteX1035" fmla="*/ 12098730 w 25004707"/>
              <a:gd name="connsiteY1035" fmla="*/ 1726956 h 10808782"/>
              <a:gd name="connsiteX1036" fmla="*/ 12066887 w 25004707"/>
              <a:gd name="connsiteY1036" fmla="*/ 2211845 h 10808782"/>
              <a:gd name="connsiteX1037" fmla="*/ 12098730 w 25004707"/>
              <a:gd name="connsiteY1037" fmla="*/ 1726956 h 10808782"/>
              <a:gd name="connsiteX1038" fmla="*/ 12130541 w 25004707"/>
              <a:gd name="connsiteY1038" fmla="*/ 1242500 h 10808782"/>
              <a:gd name="connsiteX1039" fmla="*/ 12098730 w 25004707"/>
              <a:gd name="connsiteY1039" fmla="*/ 1726956 h 10808782"/>
              <a:gd name="connsiteX1040" fmla="*/ 13382917 w 25004707"/>
              <a:gd name="connsiteY1040" fmla="*/ 1811140 h 10808782"/>
              <a:gd name="connsiteX1041" fmla="*/ 12066887 w 25004707"/>
              <a:gd name="connsiteY1041" fmla="*/ 2211845 h 10808782"/>
              <a:gd name="connsiteX1042" fmla="*/ 12035043 w 25004707"/>
              <a:gd name="connsiteY1042" fmla="*/ 2696735 h 10808782"/>
              <a:gd name="connsiteX1043" fmla="*/ 12066887 w 25004707"/>
              <a:gd name="connsiteY1043" fmla="*/ 2211845 h 10808782"/>
              <a:gd name="connsiteX1044" fmla="*/ 13351074 w 25004707"/>
              <a:gd name="connsiteY1044" fmla="*/ 2296029 h 10808782"/>
              <a:gd name="connsiteX1045" fmla="*/ 13382917 w 25004707"/>
              <a:gd name="connsiteY1045" fmla="*/ 1811140 h 10808782"/>
              <a:gd name="connsiteX1046" fmla="*/ 11684864 w 25004707"/>
              <a:gd name="connsiteY1046" fmla="*/ 8028316 h 10808782"/>
              <a:gd name="connsiteX1047" fmla="*/ 11700769 w 25004707"/>
              <a:gd name="connsiteY1047" fmla="*/ 7786092 h 10808782"/>
              <a:gd name="connsiteX1048" fmla="*/ 11645721 w 25004707"/>
              <a:gd name="connsiteY1048" fmla="*/ 7561345 h 10808782"/>
              <a:gd name="connsiteX1049" fmla="*/ 11684864 w 25004707"/>
              <a:gd name="connsiteY1049" fmla="*/ 8028316 h 10808782"/>
              <a:gd name="connsiteX1050" fmla="*/ 11653068 w 25004707"/>
              <a:gd name="connsiteY1050" fmla="*/ 8512733 h 10808782"/>
              <a:gd name="connsiteX1051" fmla="*/ 12162401 w 25004707"/>
              <a:gd name="connsiteY1051" fmla="*/ 757600 h 10808782"/>
              <a:gd name="connsiteX1052" fmla="*/ 12130541 w 25004707"/>
              <a:gd name="connsiteY1052" fmla="*/ 1242500 h 10808782"/>
              <a:gd name="connsiteX1053" fmla="*/ 12130541 w 25004707"/>
              <a:gd name="connsiteY1053" fmla="*/ 1242500 h 10808782"/>
              <a:gd name="connsiteX1054" fmla="*/ 13414713 w 25004707"/>
              <a:gd name="connsiteY1054" fmla="*/ 1326681 h 10808782"/>
              <a:gd name="connsiteX1055" fmla="*/ 11971389 w 25004707"/>
              <a:gd name="connsiteY1055" fmla="*/ 3666073 h 10808782"/>
              <a:gd name="connsiteX1056" fmla="*/ 11939593 w 25004707"/>
              <a:gd name="connsiteY1056" fmla="*/ 4150506 h 10808782"/>
              <a:gd name="connsiteX1057" fmla="*/ 11971389 w 25004707"/>
              <a:gd name="connsiteY1057" fmla="*/ 3666073 h 10808782"/>
              <a:gd name="connsiteX1058" fmla="*/ 10687203 w 25004707"/>
              <a:gd name="connsiteY1058" fmla="*/ 3581889 h 10808782"/>
              <a:gd name="connsiteX1059" fmla="*/ 11971389 w 25004707"/>
              <a:gd name="connsiteY1059" fmla="*/ 3666073 h 10808782"/>
              <a:gd name="connsiteX1060" fmla="*/ 12035043 w 25004707"/>
              <a:gd name="connsiteY1060" fmla="*/ 2696750 h 10808782"/>
              <a:gd name="connsiteX1061" fmla="*/ 11939562 w 25004707"/>
              <a:gd name="connsiteY1061" fmla="*/ 4150506 h 10808782"/>
              <a:gd name="connsiteX1062" fmla="*/ 11923656 w 25004707"/>
              <a:gd name="connsiteY1062" fmla="*/ 4392731 h 10808782"/>
              <a:gd name="connsiteX1063" fmla="*/ 11839674 w 25004707"/>
              <a:gd name="connsiteY1063" fmla="*/ 4608362 h 10808782"/>
              <a:gd name="connsiteX1064" fmla="*/ 11939593 w 25004707"/>
              <a:gd name="connsiteY1064" fmla="*/ 4150506 h 10808782"/>
              <a:gd name="connsiteX1065" fmla="*/ 12272294 w 25004707"/>
              <a:gd name="connsiteY1065" fmla="*/ 4172322 h 10808782"/>
              <a:gd name="connsiteX1066" fmla="*/ 13140632 w 25004707"/>
              <a:gd name="connsiteY1066" fmla="*/ 4177462 h 10808782"/>
              <a:gd name="connsiteX1067" fmla="*/ 11123456 w 25004707"/>
              <a:gd name="connsiteY1067" fmla="*/ 6044043 h 10808782"/>
              <a:gd name="connsiteX1068" fmla="*/ 11191500 w 25004707"/>
              <a:gd name="connsiteY1068" fmla="*/ 6598074 h 10808782"/>
              <a:gd name="connsiteX1069" fmla="*/ 10491927 w 25004707"/>
              <a:gd name="connsiteY1069" fmla="*/ 6490078 h 10808782"/>
              <a:gd name="connsiteX1070" fmla="*/ 11123456 w 25004707"/>
              <a:gd name="connsiteY1070" fmla="*/ 6044043 h 10808782"/>
              <a:gd name="connsiteX1071" fmla="*/ 11503937 w 25004707"/>
              <a:gd name="connsiteY1071" fmla="*/ 6068971 h 10808782"/>
              <a:gd name="connsiteX1072" fmla="*/ 11646287 w 25004707"/>
              <a:gd name="connsiteY1072" fmla="*/ 7561361 h 10808782"/>
              <a:gd name="connsiteX1073" fmla="*/ 11412797 w 25004707"/>
              <a:gd name="connsiteY1073" fmla="*/ 7108001 h 10808782"/>
              <a:gd name="connsiteX1074" fmla="*/ 11130048 w 25004707"/>
              <a:gd name="connsiteY1074" fmla="*/ 7039111 h 10808782"/>
              <a:gd name="connsiteX1075" fmla="*/ 10846071 w 25004707"/>
              <a:gd name="connsiteY1075" fmla="*/ 7005444 h 10808782"/>
              <a:gd name="connsiteX1076" fmla="*/ 10464379 w 25004707"/>
              <a:gd name="connsiteY1076" fmla="*/ 6974779 h 10808782"/>
              <a:gd name="connsiteX1077" fmla="*/ 11191531 w 25004707"/>
              <a:gd name="connsiteY1077" fmla="*/ 6598058 h 10808782"/>
              <a:gd name="connsiteX1078" fmla="*/ 11412813 w 25004707"/>
              <a:gd name="connsiteY1078" fmla="*/ 7107545 h 10808782"/>
              <a:gd name="connsiteX1079" fmla="*/ 12088126 w 25004707"/>
              <a:gd name="connsiteY1079" fmla="*/ 7357425 h 10808782"/>
              <a:gd name="connsiteX1080" fmla="*/ 12035043 w 25004707"/>
              <a:gd name="connsiteY1080" fmla="*/ 2696735 h 10808782"/>
              <a:gd name="connsiteX1081" fmla="*/ 13319230 w 25004707"/>
              <a:gd name="connsiteY1081" fmla="*/ 2780918 h 10808782"/>
              <a:gd name="connsiteX1082" fmla="*/ 11840162 w 25004707"/>
              <a:gd name="connsiteY1082" fmla="*/ 4608393 h 10808782"/>
              <a:gd name="connsiteX1083" fmla="*/ 11549389 w 25004707"/>
              <a:gd name="connsiteY1083" fmla="*/ 5027378 h 10808782"/>
              <a:gd name="connsiteX1084" fmla="*/ 11263368 w 25004707"/>
              <a:gd name="connsiteY1084" fmla="*/ 5504110 h 10808782"/>
              <a:gd name="connsiteX1085" fmla="*/ 11123440 w 25004707"/>
              <a:gd name="connsiteY1085" fmla="*/ 6044498 h 10808782"/>
              <a:gd name="connsiteX1086" fmla="*/ 11549436 w 25004707"/>
              <a:gd name="connsiteY1086" fmla="*/ 5027394 h 10808782"/>
              <a:gd name="connsiteX1087" fmla="*/ 11263415 w 25004707"/>
              <a:gd name="connsiteY1087" fmla="*/ 5503623 h 10808782"/>
              <a:gd name="connsiteX1088" fmla="*/ 11752593 w 25004707"/>
              <a:gd name="connsiteY1088" fmla="*/ 5391241 h 10808782"/>
              <a:gd name="connsiteX1089" fmla="*/ 12251684 w 25004707"/>
              <a:gd name="connsiteY1089" fmla="*/ 4867812 h 10808782"/>
              <a:gd name="connsiteX1090" fmla="*/ 13275399 w 25004707"/>
              <a:gd name="connsiteY1090" fmla="*/ 4617321 h 10808782"/>
              <a:gd name="connsiteX1091" fmla="*/ 13140664 w 25004707"/>
              <a:gd name="connsiteY1091" fmla="*/ 4177494 h 10808782"/>
              <a:gd name="connsiteX1092" fmla="*/ 12761818 w 25004707"/>
              <a:gd name="connsiteY1092" fmla="*/ 4492837 h 10808782"/>
              <a:gd name="connsiteX1093" fmla="*/ 11661721 w 25004707"/>
              <a:gd name="connsiteY1093" fmla="*/ 6773813 h 10808782"/>
              <a:gd name="connsiteX1094" fmla="*/ 11503858 w 25004707"/>
              <a:gd name="connsiteY1094" fmla="*/ 6069442 h 10808782"/>
              <a:gd name="connsiteX1095" fmla="*/ 12905427 w 25004707"/>
              <a:gd name="connsiteY1095" fmla="*/ 9081823 h 10808782"/>
              <a:gd name="connsiteX1096" fmla="*/ 12937271 w 25004707"/>
              <a:gd name="connsiteY1096" fmla="*/ 8596917 h 10808782"/>
              <a:gd name="connsiteX1097" fmla="*/ 12905427 w 25004707"/>
              <a:gd name="connsiteY1097" fmla="*/ 9081823 h 10808782"/>
              <a:gd name="connsiteX1098" fmla="*/ 14190133 w 25004707"/>
              <a:gd name="connsiteY1098" fmla="*/ 9166037 h 10808782"/>
              <a:gd name="connsiteX1099" fmla="*/ 12905427 w 25004707"/>
              <a:gd name="connsiteY1099" fmla="*/ 9081823 h 10808782"/>
              <a:gd name="connsiteX1100" fmla="*/ 11621240 w 25004707"/>
              <a:gd name="connsiteY1100" fmla="*/ 8997639 h 10808782"/>
              <a:gd name="connsiteX1101" fmla="*/ 12251620 w 25004707"/>
              <a:gd name="connsiteY1101" fmla="*/ 4868269 h 10808782"/>
              <a:gd name="connsiteX1102" fmla="*/ 12762275 w 25004707"/>
              <a:gd name="connsiteY1102" fmla="*/ 4493340 h 10808782"/>
              <a:gd name="connsiteX1103" fmla="*/ 11503937 w 25004707"/>
              <a:gd name="connsiteY1103" fmla="*/ 6068971 h 10808782"/>
              <a:gd name="connsiteX1104" fmla="*/ 11752562 w 25004707"/>
              <a:gd name="connsiteY1104" fmla="*/ 5391257 h 10808782"/>
              <a:gd name="connsiteX1105" fmla="*/ 11503937 w 25004707"/>
              <a:gd name="connsiteY1105" fmla="*/ 6068971 h 10808782"/>
              <a:gd name="connsiteX1106" fmla="*/ 11995302 w 25004707"/>
              <a:gd name="connsiteY1106" fmla="*/ 6101176 h 10808782"/>
              <a:gd name="connsiteX1107" fmla="*/ 13319215 w 25004707"/>
              <a:gd name="connsiteY1107" fmla="*/ 2780934 h 10808782"/>
              <a:gd name="connsiteX1108" fmla="*/ 13287403 w 25004707"/>
              <a:gd name="connsiteY1108" fmla="*/ 3265368 h 10808782"/>
              <a:gd name="connsiteX1109" fmla="*/ 10719045 w 25004707"/>
              <a:gd name="connsiteY1109" fmla="*/ 3097000 h 10808782"/>
              <a:gd name="connsiteX1110" fmla="*/ 12879185 w 25004707"/>
              <a:gd name="connsiteY1110" fmla="*/ 8157877 h 10808782"/>
              <a:gd name="connsiteX1111" fmla="*/ 12953113 w 25004707"/>
              <a:gd name="connsiteY1111" fmla="*/ 8354693 h 10808782"/>
              <a:gd name="connsiteX1112" fmla="*/ 12937192 w 25004707"/>
              <a:gd name="connsiteY1112" fmla="*/ 8596917 h 10808782"/>
              <a:gd name="connsiteX1113" fmla="*/ 11653021 w 25004707"/>
              <a:gd name="connsiteY1113" fmla="*/ 8512733 h 10808782"/>
              <a:gd name="connsiteX1114" fmla="*/ 13351074 w 25004707"/>
              <a:gd name="connsiteY1114" fmla="*/ 2296013 h 10808782"/>
              <a:gd name="connsiteX1115" fmla="*/ 13319230 w 25004707"/>
              <a:gd name="connsiteY1115" fmla="*/ 2780918 h 10808782"/>
              <a:gd name="connsiteX1116" fmla="*/ 13319230 w 25004707"/>
              <a:gd name="connsiteY1116" fmla="*/ 2780918 h 10808782"/>
              <a:gd name="connsiteX1117" fmla="*/ 14603952 w 25004707"/>
              <a:gd name="connsiteY1117" fmla="*/ 2865118 h 10808782"/>
              <a:gd name="connsiteX1118" fmla="*/ 14635795 w 25004707"/>
              <a:gd name="connsiteY1118" fmla="*/ 2380244 h 10808782"/>
              <a:gd name="connsiteX1119" fmla="*/ 13382917 w 25004707"/>
              <a:gd name="connsiteY1119" fmla="*/ 1811140 h 10808782"/>
              <a:gd name="connsiteX1120" fmla="*/ 13414713 w 25004707"/>
              <a:gd name="connsiteY1120" fmla="*/ 1326681 h 10808782"/>
              <a:gd name="connsiteX1121" fmla="*/ 13382917 w 25004707"/>
              <a:gd name="connsiteY1121" fmla="*/ 1811140 h 10808782"/>
              <a:gd name="connsiteX1122" fmla="*/ 14667607 w 25004707"/>
              <a:gd name="connsiteY1122" fmla="*/ 1895339 h 10808782"/>
              <a:gd name="connsiteX1123" fmla="*/ 13287451 w 25004707"/>
              <a:gd name="connsiteY1123" fmla="*/ 3265336 h 10808782"/>
              <a:gd name="connsiteX1124" fmla="*/ 13255607 w 25004707"/>
              <a:gd name="connsiteY1124" fmla="*/ 3750241 h 10808782"/>
              <a:gd name="connsiteX1125" fmla="*/ 11971436 w 25004707"/>
              <a:gd name="connsiteY1125" fmla="*/ 3666057 h 10808782"/>
              <a:gd name="connsiteX1126" fmla="*/ 13140585 w 25004707"/>
              <a:gd name="connsiteY1126" fmla="*/ 4177934 h 10808782"/>
              <a:gd name="connsiteX1127" fmla="*/ 13239622 w 25004707"/>
              <a:gd name="connsiteY1127" fmla="*/ 3992450 h 10808782"/>
              <a:gd name="connsiteX1128" fmla="*/ 13255529 w 25004707"/>
              <a:gd name="connsiteY1128" fmla="*/ 3750241 h 10808782"/>
              <a:gd name="connsiteX1129" fmla="*/ 14206023 w 25004707"/>
              <a:gd name="connsiteY1129" fmla="*/ 3811147 h 10808782"/>
              <a:gd name="connsiteX1130" fmla="*/ 14533910 w 25004707"/>
              <a:gd name="connsiteY1130" fmla="*/ 3825576 h 10808782"/>
              <a:gd name="connsiteX1131" fmla="*/ 14311810 w 25004707"/>
              <a:gd name="connsiteY1131" fmla="*/ 4099440 h 10808782"/>
              <a:gd name="connsiteX1132" fmla="*/ 12544864 w 25004707"/>
              <a:gd name="connsiteY1132" fmla="*/ 7795774 h 10808782"/>
              <a:gd name="connsiteX1133" fmla="*/ 12879217 w 25004707"/>
              <a:gd name="connsiteY1133" fmla="*/ 8157877 h 10808782"/>
              <a:gd name="connsiteX1134" fmla="*/ 14029580 w 25004707"/>
              <a:gd name="connsiteY1134" fmla="*/ 8388549 h 10808782"/>
              <a:gd name="connsiteX1135" fmla="*/ 12545383 w 25004707"/>
              <a:gd name="connsiteY1135" fmla="*/ 7795805 h 10808782"/>
              <a:gd name="connsiteX1136" fmla="*/ 12088126 w 25004707"/>
              <a:gd name="connsiteY1136" fmla="*/ 7357425 h 10808782"/>
              <a:gd name="connsiteX1137" fmla="*/ 12088126 w 25004707"/>
              <a:gd name="connsiteY1137" fmla="*/ 7357425 h 10808782"/>
              <a:gd name="connsiteX1138" fmla="*/ 11661799 w 25004707"/>
              <a:gd name="connsiteY1138" fmla="*/ 6773325 h 10808782"/>
              <a:gd name="connsiteX1139" fmla="*/ 12088126 w 25004707"/>
              <a:gd name="connsiteY1139" fmla="*/ 7357425 h 10808782"/>
              <a:gd name="connsiteX1140" fmla="*/ 13070307 w 25004707"/>
              <a:gd name="connsiteY1140" fmla="*/ 7739410 h 10808782"/>
              <a:gd name="connsiteX1141" fmla="*/ 12873584 w 25004707"/>
              <a:gd name="connsiteY1141" fmla="*/ 9566240 h 10808782"/>
              <a:gd name="connsiteX1142" fmla="*/ 12905396 w 25004707"/>
              <a:gd name="connsiteY1142" fmla="*/ 9081806 h 10808782"/>
              <a:gd name="connsiteX1143" fmla="*/ 12873584 w 25004707"/>
              <a:gd name="connsiteY1143" fmla="*/ 9566240 h 10808782"/>
              <a:gd name="connsiteX1144" fmla="*/ 14158290 w 25004707"/>
              <a:gd name="connsiteY1144" fmla="*/ 9650455 h 10808782"/>
              <a:gd name="connsiteX1145" fmla="*/ 12873631 w 25004707"/>
              <a:gd name="connsiteY1145" fmla="*/ 9566240 h 10808782"/>
              <a:gd name="connsiteX1146" fmla="*/ 12841773 w 25004707"/>
              <a:gd name="connsiteY1146" fmla="*/ 10051145 h 10808782"/>
              <a:gd name="connsiteX1147" fmla="*/ 11557601 w 25004707"/>
              <a:gd name="connsiteY1147" fmla="*/ 9966962 h 10808782"/>
              <a:gd name="connsiteX1148" fmla="*/ 13446556 w 25004707"/>
              <a:gd name="connsiteY1148" fmla="*/ 841781 h 10808782"/>
              <a:gd name="connsiteX1149" fmla="*/ 13414713 w 25004707"/>
              <a:gd name="connsiteY1149" fmla="*/ 1326681 h 10808782"/>
              <a:gd name="connsiteX1150" fmla="*/ 14190133 w 25004707"/>
              <a:gd name="connsiteY1150" fmla="*/ 9166037 h 10808782"/>
              <a:gd name="connsiteX1151" fmla="*/ 14206039 w 25004707"/>
              <a:gd name="connsiteY1151" fmla="*/ 8923813 h 10808782"/>
              <a:gd name="connsiteX1152" fmla="*/ 14214503 w 25004707"/>
              <a:gd name="connsiteY1152" fmla="*/ 8689589 h 10808782"/>
              <a:gd name="connsiteX1153" fmla="*/ 14190133 w 25004707"/>
              <a:gd name="connsiteY1153" fmla="*/ 9166037 h 10808782"/>
              <a:gd name="connsiteX1154" fmla="*/ 14158290 w 25004707"/>
              <a:gd name="connsiteY1154" fmla="*/ 9650455 h 10808782"/>
              <a:gd name="connsiteX1155" fmla="*/ 14190133 w 25004707"/>
              <a:gd name="connsiteY1155" fmla="*/ 9166037 h 10808782"/>
              <a:gd name="connsiteX1156" fmla="*/ 15474273 w 25004707"/>
              <a:gd name="connsiteY1156" fmla="*/ 9250206 h 10808782"/>
              <a:gd name="connsiteX1157" fmla="*/ 14603889 w 25004707"/>
              <a:gd name="connsiteY1157" fmla="*/ 2865133 h 10808782"/>
              <a:gd name="connsiteX1158" fmla="*/ 14572062 w 25004707"/>
              <a:gd name="connsiteY1158" fmla="*/ 3349567 h 10808782"/>
              <a:gd name="connsiteX1159" fmla="*/ 14572062 w 25004707"/>
              <a:gd name="connsiteY1159" fmla="*/ 3349567 h 10808782"/>
              <a:gd name="connsiteX1160" fmla="*/ 13287355 w 25004707"/>
              <a:gd name="connsiteY1160" fmla="*/ 3265352 h 10808782"/>
              <a:gd name="connsiteX1161" fmla="*/ 14572062 w 25004707"/>
              <a:gd name="connsiteY1161" fmla="*/ 3349567 h 10808782"/>
              <a:gd name="connsiteX1162" fmla="*/ 15856264 w 25004707"/>
              <a:gd name="connsiteY1162" fmla="*/ 3433766 h 10808782"/>
              <a:gd name="connsiteX1163" fmla="*/ 14731277 w 25004707"/>
              <a:gd name="connsiteY1163" fmla="*/ 925990 h 10808782"/>
              <a:gd name="connsiteX1164" fmla="*/ 14699434 w 25004707"/>
              <a:gd name="connsiteY1164" fmla="*/ 1410890 h 10808782"/>
              <a:gd name="connsiteX1165" fmla="*/ 14699434 w 25004707"/>
              <a:gd name="connsiteY1165" fmla="*/ 1410890 h 10808782"/>
              <a:gd name="connsiteX1166" fmla="*/ 14667607 w 25004707"/>
              <a:gd name="connsiteY1166" fmla="*/ 1895339 h 10808782"/>
              <a:gd name="connsiteX1167" fmla="*/ 14699434 w 25004707"/>
              <a:gd name="connsiteY1167" fmla="*/ 1410890 h 10808782"/>
              <a:gd name="connsiteX1168" fmla="*/ 15983542 w 25004707"/>
              <a:gd name="connsiteY1168" fmla="*/ 1495075 h 10808782"/>
              <a:gd name="connsiteX1169" fmla="*/ 14699434 w 25004707"/>
              <a:gd name="connsiteY1169" fmla="*/ 1410890 h 10808782"/>
              <a:gd name="connsiteX1170" fmla="*/ 13414728 w 25004707"/>
              <a:gd name="connsiteY1170" fmla="*/ 1326676 h 10808782"/>
              <a:gd name="connsiteX1171" fmla="*/ 14029580 w 25004707"/>
              <a:gd name="connsiteY1171" fmla="*/ 8388549 h 10808782"/>
              <a:gd name="connsiteX1172" fmla="*/ 13647070 w 25004707"/>
              <a:gd name="connsiteY1172" fmla="*/ 8118803 h 10808782"/>
              <a:gd name="connsiteX1173" fmla="*/ 14029580 w 25004707"/>
              <a:gd name="connsiteY1173" fmla="*/ 8388549 h 10808782"/>
              <a:gd name="connsiteX1174" fmla="*/ 15397386 w 25004707"/>
              <a:gd name="connsiteY1174" fmla="*/ 8603361 h 10808782"/>
              <a:gd name="connsiteX1175" fmla="*/ 14126447 w 25004707"/>
              <a:gd name="connsiteY1175" fmla="*/ 10135345 h 10808782"/>
              <a:gd name="connsiteX1176" fmla="*/ 14158290 w 25004707"/>
              <a:gd name="connsiteY1176" fmla="*/ 9650455 h 10808782"/>
              <a:gd name="connsiteX1177" fmla="*/ 14126447 w 25004707"/>
              <a:gd name="connsiteY1177" fmla="*/ 10135345 h 10808782"/>
              <a:gd name="connsiteX1178" fmla="*/ 15410602 w 25004707"/>
              <a:gd name="connsiteY1178" fmla="*/ 10219528 h 10808782"/>
              <a:gd name="connsiteX1179" fmla="*/ 14126447 w 25004707"/>
              <a:gd name="connsiteY1179" fmla="*/ 10135345 h 10808782"/>
              <a:gd name="connsiteX1180" fmla="*/ 12841741 w 25004707"/>
              <a:gd name="connsiteY1180" fmla="*/ 10051145 h 10808782"/>
              <a:gd name="connsiteX1181" fmla="*/ 14158290 w 25004707"/>
              <a:gd name="connsiteY1181" fmla="*/ 9650455 h 10808782"/>
              <a:gd name="connsiteX1182" fmla="*/ 15442445 w 25004707"/>
              <a:gd name="connsiteY1182" fmla="*/ 9734623 h 10808782"/>
              <a:gd name="connsiteX1183" fmla="*/ 14667607 w 25004707"/>
              <a:gd name="connsiteY1183" fmla="*/ 1895339 h 10808782"/>
              <a:gd name="connsiteX1184" fmla="*/ 15951762 w 25004707"/>
              <a:gd name="connsiteY1184" fmla="*/ 1979523 h 10808782"/>
              <a:gd name="connsiteX1185" fmla="*/ 14667638 w 25004707"/>
              <a:gd name="connsiteY1185" fmla="*/ 1895339 h 10808782"/>
              <a:gd name="connsiteX1186" fmla="*/ 14635795 w 25004707"/>
              <a:gd name="connsiteY1186" fmla="*/ 2380244 h 10808782"/>
              <a:gd name="connsiteX1187" fmla="*/ 14635795 w 25004707"/>
              <a:gd name="connsiteY1187" fmla="*/ 2380244 h 10808782"/>
              <a:gd name="connsiteX1188" fmla="*/ 13351089 w 25004707"/>
              <a:gd name="connsiteY1188" fmla="*/ 2296029 h 10808782"/>
              <a:gd name="connsiteX1189" fmla="*/ 14030052 w 25004707"/>
              <a:gd name="connsiteY1189" fmla="*/ 8388596 h 10808782"/>
              <a:gd name="connsiteX1190" fmla="*/ 14214425 w 25004707"/>
              <a:gd name="connsiteY1190" fmla="*/ 8689101 h 10808782"/>
              <a:gd name="connsiteX1191" fmla="*/ 12937176 w 25004707"/>
              <a:gd name="connsiteY1191" fmla="*/ 8596886 h 10808782"/>
              <a:gd name="connsiteX1192" fmla="*/ 14572109 w 25004707"/>
              <a:gd name="connsiteY1192" fmla="*/ 3349551 h 10808782"/>
              <a:gd name="connsiteX1193" fmla="*/ 14556188 w 25004707"/>
              <a:gd name="connsiteY1193" fmla="*/ 3591776 h 10808782"/>
              <a:gd name="connsiteX1194" fmla="*/ 14533957 w 25004707"/>
              <a:gd name="connsiteY1194" fmla="*/ 3825104 h 10808782"/>
              <a:gd name="connsiteX1195" fmla="*/ 15812999 w 25004707"/>
              <a:gd name="connsiteY1195" fmla="*/ 3865656 h 10808782"/>
              <a:gd name="connsiteX1196" fmla="*/ 15695947 w 25004707"/>
              <a:gd name="connsiteY1196" fmla="*/ 4065002 h 10808782"/>
              <a:gd name="connsiteX1197" fmla="*/ 14311842 w 25004707"/>
              <a:gd name="connsiteY1197" fmla="*/ 4099440 h 10808782"/>
              <a:gd name="connsiteX1198" fmla="*/ 11994799 w 25004707"/>
              <a:gd name="connsiteY1198" fmla="*/ 6101616 h 10808782"/>
              <a:gd name="connsiteX1199" fmla="*/ 12359705 w 25004707"/>
              <a:gd name="connsiteY1199" fmla="*/ 7093871 h 10808782"/>
              <a:gd name="connsiteX1200" fmla="*/ 13070307 w 25004707"/>
              <a:gd name="connsiteY1200" fmla="*/ 7739882 h 10808782"/>
              <a:gd name="connsiteX1201" fmla="*/ 12486354 w 25004707"/>
              <a:gd name="connsiteY1201" fmla="*/ 5165033 h 10808782"/>
              <a:gd name="connsiteX1202" fmla="*/ 13275368 w 25004707"/>
              <a:gd name="connsiteY1202" fmla="*/ 4617305 h 10808782"/>
              <a:gd name="connsiteX1203" fmla="*/ 12486354 w 25004707"/>
              <a:gd name="connsiteY1203" fmla="*/ 5165033 h 10808782"/>
              <a:gd name="connsiteX1204" fmla="*/ 11752027 w 25004707"/>
              <a:gd name="connsiteY1204" fmla="*/ 5391210 h 10808782"/>
              <a:gd name="connsiteX1205" fmla="*/ 13275368 w 25004707"/>
              <a:gd name="connsiteY1205" fmla="*/ 4617305 h 10808782"/>
              <a:gd name="connsiteX1206" fmla="*/ 13897330 w 25004707"/>
              <a:gd name="connsiteY1206" fmla="*/ 4316485 h 10808782"/>
              <a:gd name="connsiteX1207" fmla="*/ 13275368 w 25004707"/>
              <a:gd name="connsiteY1207" fmla="*/ 4617305 h 10808782"/>
              <a:gd name="connsiteX1208" fmla="*/ 15121623 w 25004707"/>
              <a:gd name="connsiteY1208" fmla="*/ 4395796 h 10808782"/>
              <a:gd name="connsiteX1209" fmla="*/ 11995302 w 25004707"/>
              <a:gd name="connsiteY1209" fmla="*/ 6101176 h 10808782"/>
              <a:gd name="connsiteX1210" fmla="*/ 12486872 w 25004707"/>
              <a:gd name="connsiteY1210" fmla="*/ 5165065 h 10808782"/>
              <a:gd name="connsiteX1211" fmla="*/ 11995302 w 25004707"/>
              <a:gd name="connsiteY1211" fmla="*/ 6101176 h 10808782"/>
              <a:gd name="connsiteX1212" fmla="*/ 13443441 w 25004707"/>
              <a:gd name="connsiteY1212" fmla="*/ 6196111 h 10808782"/>
              <a:gd name="connsiteX1213" fmla="*/ 14385691 w 25004707"/>
              <a:gd name="connsiteY1213" fmla="*/ 4808195 h 10808782"/>
              <a:gd name="connsiteX1214" fmla="*/ 15121623 w 25004707"/>
              <a:gd name="connsiteY1214" fmla="*/ 4395796 h 10808782"/>
              <a:gd name="connsiteX1215" fmla="*/ 13897330 w 25004707"/>
              <a:gd name="connsiteY1215" fmla="*/ 4316485 h 10808782"/>
              <a:gd name="connsiteX1216" fmla="*/ 14311857 w 25004707"/>
              <a:gd name="connsiteY1216" fmla="*/ 4098984 h 10808782"/>
              <a:gd name="connsiteX1217" fmla="*/ 13897330 w 25004707"/>
              <a:gd name="connsiteY1217" fmla="*/ 4316485 h 10808782"/>
              <a:gd name="connsiteX1218" fmla="*/ 12762306 w 25004707"/>
              <a:gd name="connsiteY1218" fmla="*/ 4492884 h 10808782"/>
              <a:gd name="connsiteX1219" fmla="*/ 11840209 w 25004707"/>
              <a:gd name="connsiteY1219" fmla="*/ 4608409 h 10808782"/>
              <a:gd name="connsiteX1220" fmla="*/ 13647557 w 25004707"/>
              <a:gd name="connsiteY1220" fmla="*/ 8119305 h 10808782"/>
              <a:gd name="connsiteX1221" fmla="*/ 13070260 w 25004707"/>
              <a:gd name="connsiteY1221" fmla="*/ 7739866 h 10808782"/>
              <a:gd name="connsiteX1222" fmla="*/ 15121623 w 25004707"/>
              <a:gd name="connsiteY1222" fmla="*/ 4395796 h 10808782"/>
              <a:gd name="connsiteX1223" fmla="*/ 15490320 w 25004707"/>
              <a:gd name="connsiteY1223" fmla="*/ 4210579 h 10808782"/>
              <a:gd name="connsiteX1224" fmla="*/ 15121623 w 25004707"/>
              <a:gd name="connsiteY1224" fmla="*/ 4395796 h 10808782"/>
              <a:gd name="connsiteX1225" fmla="*/ 17654676 w 25004707"/>
              <a:gd name="connsiteY1225" fmla="*/ 4542536 h 10808782"/>
              <a:gd name="connsiteX1226" fmla="*/ 15489786 w 25004707"/>
              <a:gd name="connsiteY1226" fmla="*/ 4210564 h 10808782"/>
              <a:gd name="connsiteX1227" fmla="*/ 15695475 w 25004707"/>
              <a:gd name="connsiteY1227" fmla="*/ 4065002 h 10808782"/>
              <a:gd name="connsiteX1228" fmla="*/ 14871157 w 25004707"/>
              <a:gd name="connsiteY1228" fmla="*/ 8200471 h 10808782"/>
              <a:gd name="connsiteX1229" fmla="*/ 15212479 w 25004707"/>
              <a:gd name="connsiteY1229" fmla="*/ 8432228 h 10808782"/>
              <a:gd name="connsiteX1230" fmla="*/ 17080274 w 25004707"/>
              <a:gd name="connsiteY1230" fmla="*/ 8565010 h 10808782"/>
              <a:gd name="connsiteX1231" fmla="*/ 14196065 w 25004707"/>
              <a:gd name="connsiteY1231" fmla="*/ 7695574 h 10808782"/>
              <a:gd name="connsiteX1232" fmla="*/ 13443425 w 25004707"/>
              <a:gd name="connsiteY1232" fmla="*/ 6196566 h 10808782"/>
              <a:gd name="connsiteX1233" fmla="*/ 14196065 w 25004707"/>
              <a:gd name="connsiteY1233" fmla="*/ 7695574 h 10808782"/>
              <a:gd name="connsiteX1234" fmla="*/ 12359657 w 25004707"/>
              <a:gd name="connsiteY1234" fmla="*/ 7093855 h 10808782"/>
              <a:gd name="connsiteX1235" fmla="*/ 14196065 w 25004707"/>
              <a:gd name="connsiteY1235" fmla="*/ 7695574 h 10808782"/>
              <a:gd name="connsiteX1236" fmla="*/ 18066716 w 25004707"/>
              <a:gd name="connsiteY1236" fmla="*/ 7989289 h 10808782"/>
              <a:gd name="connsiteX1237" fmla="*/ 14196048 w 25004707"/>
              <a:gd name="connsiteY1237" fmla="*/ 7695558 h 10808782"/>
              <a:gd name="connsiteX1238" fmla="*/ 14871692 w 25004707"/>
              <a:gd name="connsiteY1238" fmla="*/ 8200488 h 10808782"/>
              <a:gd name="connsiteX1239" fmla="*/ 13070244 w 25004707"/>
              <a:gd name="connsiteY1239" fmla="*/ 7739850 h 10808782"/>
              <a:gd name="connsiteX1240" fmla="*/ 15397921 w 25004707"/>
              <a:gd name="connsiteY1240" fmla="*/ 8603409 h 10808782"/>
              <a:gd name="connsiteX1241" fmla="*/ 15213046 w 25004707"/>
              <a:gd name="connsiteY1241" fmla="*/ 8432244 h 10808782"/>
              <a:gd name="connsiteX1242" fmla="*/ 15397921 w 25004707"/>
              <a:gd name="connsiteY1242" fmla="*/ 8603409 h 10808782"/>
              <a:gd name="connsiteX1243" fmla="*/ 15487834 w 25004707"/>
              <a:gd name="connsiteY1243" fmla="*/ 8816336 h 10808782"/>
              <a:gd name="connsiteX1244" fmla="*/ 14214487 w 25004707"/>
              <a:gd name="connsiteY1244" fmla="*/ 8689086 h 10808782"/>
              <a:gd name="connsiteX1245" fmla="*/ 15397921 w 25004707"/>
              <a:gd name="connsiteY1245" fmla="*/ 8603409 h 10808782"/>
              <a:gd name="connsiteX1246" fmla="*/ 16902492 w 25004707"/>
              <a:gd name="connsiteY1246" fmla="*/ 8707695 h 10808782"/>
              <a:gd name="connsiteX1247" fmla="*/ 15410602 w 25004707"/>
              <a:gd name="connsiteY1247" fmla="*/ 10219528 h 10808782"/>
              <a:gd name="connsiteX1248" fmla="*/ 15442445 w 25004707"/>
              <a:gd name="connsiteY1248" fmla="*/ 9734623 h 10808782"/>
              <a:gd name="connsiteX1249" fmla="*/ 15442445 w 25004707"/>
              <a:gd name="connsiteY1249" fmla="*/ 9734623 h 10808782"/>
              <a:gd name="connsiteX1250" fmla="*/ 15474273 w 25004707"/>
              <a:gd name="connsiteY1250" fmla="*/ 9250206 h 10808782"/>
              <a:gd name="connsiteX1251" fmla="*/ 15474273 w 25004707"/>
              <a:gd name="connsiteY1251" fmla="*/ 9250206 h 10808782"/>
              <a:gd name="connsiteX1252" fmla="*/ 15487866 w 25004707"/>
              <a:gd name="connsiteY1252" fmla="*/ 8816336 h 10808782"/>
              <a:gd name="connsiteX1253" fmla="*/ 15888044 w 25004707"/>
              <a:gd name="connsiteY1253" fmla="*/ 2949333 h 10808782"/>
              <a:gd name="connsiteX1254" fmla="*/ 15856264 w 25004707"/>
              <a:gd name="connsiteY1254" fmla="*/ 3433766 h 10808782"/>
              <a:gd name="connsiteX1255" fmla="*/ 15856264 w 25004707"/>
              <a:gd name="connsiteY1255" fmla="*/ 3433766 h 10808782"/>
              <a:gd name="connsiteX1256" fmla="*/ 15812999 w 25004707"/>
              <a:gd name="connsiteY1256" fmla="*/ 3865671 h 10808782"/>
              <a:gd name="connsiteX1257" fmla="*/ 17124954 w 25004707"/>
              <a:gd name="connsiteY1257" fmla="*/ 3949352 h 10808782"/>
              <a:gd name="connsiteX1258" fmla="*/ 15919982 w 25004707"/>
              <a:gd name="connsiteY1258" fmla="*/ 2464396 h 10808782"/>
              <a:gd name="connsiteX1259" fmla="*/ 15888044 w 25004707"/>
              <a:gd name="connsiteY1259" fmla="*/ 2949301 h 10808782"/>
              <a:gd name="connsiteX1260" fmla="*/ 14603921 w 25004707"/>
              <a:gd name="connsiteY1260" fmla="*/ 2865118 h 10808782"/>
              <a:gd name="connsiteX1261" fmla="*/ 15919982 w 25004707"/>
              <a:gd name="connsiteY1261" fmla="*/ 2464396 h 10808782"/>
              <a:gd name="connsiteX1262" fmla="*/ 15951762 w 25004707"/>
              <a:gd name="connsiteY1262" fmla="*/ 1979523 h 10808782"/>
              <a:gd name="connsiteX1263" fmla="*/ 15919982 w 25004707"/>
              <a:gd name="connsiteY1263" fmla="*/ 2464396 h 10808782"/>
              <a:gd name="connsiteX1264" fmla="*/ 14635747 w 25004707"/>
              <a:gd name="connsiteY1264" fmla="*/ 2380244 h 10808782"/>
              <a:gd name="connsiteX1265" fmla="*/ 16015479 w 25004707"/>
              <a:gd name="connsiteY1265" fmla="*/ 1010175 h 10808782"/>
              <a:gd name="connsiteX1266" fmla="*/ 15983542 w 25004707"/>
              <a:gd name="connsiteY1266" fmla="*/ 1495075 h 10808782"/>
              <a:gd name="connsiteX1267" fmla="*/ 15951762 w 25004707"/>
              <a:gd name="connsiteY1267" fmla="*/ 1979523 h 10808782"/>
              <a:gd name="connsiteX1268" fmla="*/ 15983542 w 25004707"/>
              <a:gd name="connsiteY1268" fmla="*/ 1495086 h 10808782"/>
              <a:gd name="connsiteX1269" fmla="*/ 24431722 w 25004707"/>
              <a:gd name="connsiteY1269" fmla="*/ 10323878 h 10808782"/>
              <a:gd name="connsiteX1270" fmla="*/ 24442890 w 25004707"/>
              <a:gd name="connsiteY1270" fmla="*/ 10324617 h 10808782"/>
              <a:gd name="connsiteX1271" fmla="*/ 24474672 w 25004707"/>
              <a:gd name="connsiteY1271" fmla="*/ 9840199 h 10808782"/>
              <a:gd name="connsiteX1272" fmla="*/ 24463658 w 25004707"/>
              <a:gd name="connsiteY1272" fmla="*/ 9839460 h 10808782"/>
              <a:gd name="connsiteX1273" fmla="*/ 11684880 w 25004707"/>
              <a:gd name="connsiteY1273" fmla="*/ 8028300 h 10808782"/>
              <a:gd name="connsiteX1274" fmla="*/ 12879185 w 25004707"/>
              <a:gd name="connsiteY1274" fmla="*/ 8158364 h 10808782"/>
              <a:gd name="connsiteX1275" fmla="*/ 20674580 w 25004707"/>
              <a:gd name="connsiteY1275" fmla="*/ 8617586 h 10808782"/>
              <a:gd name="connsiteX1276" fmla="*/ 20341988 w 25004707"/>
              <a:gd name="connsiteY1276" fmla="*/ 8595770 h 10808782"/>
              <a:gd name="connsiteX1277" fmla="*/ 19488328 w 25004707"/>
              <a:gd name="connsiteY1277" fmla="*/ 8602418 h 10808782"/>
              <a:gd name="connsiteX1278" fmla="*/ 11646271 w 25004707"/>
              <a:gd name="connsiteY1278" fmla="*/ 7561376 h 10808782"/>
              <a:gd name="connsiteX1279" fmla="*/ 12545352 w 25004707"/>
              <a:gd name="connsiteY1279" fmla="*/ 7796293 h 10808782"/>
              <a:gd name="connsiteX1280" fmla="*/ 10432568 w 25004707"/>
              <a:gd name="connsiteY1280" fmla="*/ 7459228 h 10808782"/>
              <a:gd name="connsiteX1281" fmla="*/ 11645783 w 25004707"/>
              <a:gd name="connsiteY1281" fmla="*/ 7560874 h 10808782"/>
              <a:gd name="connsiteX1282" fmla="*/ 19877714 w 25004707"/>
              <a:gd name="connsiteY1282" fmla="*/ 8295736 h 10808782"/>
              <a:gd name="connsiteX1283" fmla="*/ 18710818 w 25004707"/>
              <a:gd name="connsiteY1283" fmla="*/ 8471900 h 10808782"/>
              <a:gd name="connsiteX1284" fmla="*/ 12545414 w 25004707"/>
              <a:gd name="connsiteY1284" fmla="*/ 7795821 h 10808782"/>
              <a:gd name="connsiteX1285" fmla="*/ 13647621 w 25004707"/>
              <a:gd name="connsiteY1285" fmla="*/ 8118850 h 10808782"/>
              <a:gd name="connsiteX1286" fmla="*/ 18710188 w 25004707"/>
              <a:gd name="connsiteY1286" fmla="*/ 8471883 h 10808782"/>
              <a:gd name="connsiteX1287" fmla="*/ 17080274 w 25004707"/>
              <a:gd name="connsiteY1287" fmla="*/ 8564539 h 10808782"/>
              <a:gd name="connsiteX1288" fmla="*/ 20800442 w 25004707"/>
              <a:gd name="connsiteY1288" fmla="*/ 8170357 h 10808782"/>
              <a:gd name="connsiteX1289" fmla="*/ 19877714 w 25004707"/>
              <a:gd name="connsiteY1289" fmla="*/ 8295264 h 10808782"/>
              <a:gd name="connsiteX1290" fmla="*/ 13647557 w 25004707"/>
              <a:gd name="connsiteY1290" fmla="*/ 8119337 h 10808782"/>
              <a:gd name="connsiteX1291" fmla="*/ 15213031 w 25004707"/>
              <a:gd name="connsiteY1291" fmla="*/ 8432275 h 10808782"/>
              <a:gd name="connsiteX1292" fmla="*/ 24570168 w 25004707"/>
              <a:gd name="connsiteY1292" fmla="*/ 8385956 h 10808782"/>
              <a:gd name="connsiteX1293" fmla="*/ 24558998 w 25004707"/>
              <a:gd name="connsiteY1293" fmla="*/ 8385217 h 10808782"/>
              <a:gd name="connsiteX1294" fmla="*/ 11191453 w 25004707"/>
              <a:gd name="connsiteY1294" fmla="*/ 6598058 h 10808782"/>
              <a:gd name="connsiteX1295" fmla="*/ 11661705 w 25004707"/>
              <a:gd name="connsiteY1295" fmla="*/ 6773325 h 10808782"/>
              <a:gd name="connsiteX1296" fmla="*/ 11661752 w 25004707"/>
              <a:gd name="connsiteY1296" fmla="*/ 6773797 h 10808782"/>
              <a:gd name="connsiteX1297" fmla="*/ 12360192 w 25004707"/>
              <a:gd name="connsiteY1297" fmla="*/ 7093886 h 10808782"/>
              <a:gd name="connsiteX1298" fmla="*/ 21415434 w 25004707"/>
              <a:gd name="connsiteY1298" fmla="*/ 7277170 h 10808782"/>
              <a:gd name="connsiteX1299" fmla="*/ 20922056 w 25004707"/>
              <a:gd name="connsiteY1299" fmla="*/ 7397268 h 10808782"/>
              <a:gd name="connsiteX1300" fmla="*/ 20922686 w 25004707"/>
              <a:gd name="connsiteY1300" fmla="*/ 7397316 h 10808782"/>
              <a:gd name="connsiteX1301" fmla="*/ 20142814 w 25004707"/>
              <a:gd name="connsiteY1301" fmla="*/ 7635564 h 10808782"/>
              <a:gd name="connsiteX1302" fmla="*/ 24622718 w 25004707"/>
              <a:gd name="connsiteY1302" fmla="*/ 7415894 h 10808782"/>
              <a:gd name="connsiteX1303" fmla="*/ 24633886 w 25004707"/>
              <a:gd name="connsiteY1303" fmla="*/ 7416633 h 10808782"/>
              <a:gd name="connsiteX1304" fmla="*/ 20142814 w 25004707"/>
              <a:gd name="connsiteY1304" fmla="*/ 7635108 h 10808782"/>
              <a:gd name="connsiteX1305" fmla="*/ 18066244 w 25004707"/>
              <a:gd name="connsiteY1305" fmla="*/ 7988802 h 10808782"/>
              <a:gd name="connsiteX1306" fmla="*/ 24665668 w 25004707"/>
              <a:gd name="connsiteY1306" fmla="*/ 6931728 h 10808782"/>
              <a:gd name="connsiteX1307" fmla="*/ 24654654 w 25004707"/>
              <a:gd name="connsiteY1307" fmla="*/ 6931005 h 10808782"/>
              <a:gd name="connsiteX1308" fmla="*/ 18998254 w 25004707"/>
              <a:gd name="connsiteY1308" fmla="*/ 6560194 h 10808782"/>
              <a:gd name="connsiteX1309" fmla="*/ 13443409 w 25004707"/>
              <a:gd name="connsiteY1309" fmla="*/ 6196079 h 10808782"/>
              <a:gd name="connsiteX1310" fmla="*/ 9275737 w 25004707"/>
              <a:gd name="connsiteY1310" fmla="*/ 5436398 h 10808782"/>
              <a:gd name="connsiteX1311" fmla="*/ 10227192 w 25004707"/>
              <a:gd name="connsiteY1311" fmla="*/ 5498766 h 10808782"/>
              <a:gd name="connsiteX1312" fmla="*/ 10555661 w 25004707"/>
              <a:gd name="connsiteY1312" fmla="*/ 5520299 h 10808782"/>
              <a:gd name="connsiteX1313" fmla="*/ 10555676 w 25004707"/>
              <a:gd name="connsiteY1313" fmla="*/ 5519796 h 10808782"/>
              <a:gd name="connsiteX1314" fmla="*/ 11263383 w 25004707"/>
              <a:gd name="connsiteY1314" fmla="*/ 5504063 h 10808782"/>
              <a:gd name="connsiteX1315" fmla="*/ 24761164 w 25004707"/>
              <a:gd name="connsiteY1315" fmla="*/ 5477971 h 10808782"/>
              <a:gd name="connsiteX1316" fmla="*/ 24749994 w 25004707"/>
              <a:gd name="connsiteY1316" fmla="*/ 5477249 h 10808782"/>
              <a:gd name="connsiteX1317" fmla="*/ 15489769 w 25004707"/>
              <a:gd name="connsiteY1317" fmla="*/ 4210548 h 10808782"/>
              <a:gd name="connsiteX1318" fmla="*/ 13896795 w 25004707"/>
              <a:gd name="connsiteY1318" fmla="*/ 4316454 h 10808782"/>
              <a:gd name="connsiteX1319" fmla="*/ 11840225 w 25004707"/>
              <a:gd name="connsiteY1319" fmla="*/ 4608393 h 10808782"/>
              <a:gd name="connsiteX1320" fmla="*/ 11564650 w 25004707"/>
              <a:gd name="connsiteY1320" fmla="*/ 4609163 h 10808782"/>
              <a:gd name="connsiteX1321" fmla="*/ 10623579 w 25004707"/>
              <a:gd name="connsiteY1321" fmla="*/ 4550772 h 10808782"/>
              <a:gd name="connsiteX1322" fmla="*/ 17200786 w 25004707"/>
              <a:gd name="connsiteY1322" fmla="*/ 4157957 h 10808782"/>
              <a:gd name="connsiteX1323" fmla="*/ 15695475 w 25004707"/>
              <a:gd name="connsiteY1323" fmla="*/ 4064971 h 10808782"/>
              <a:gd name="connsiteX1324" fmla="*/ 24792944 w 25004707"/>
              <a:gd name="connsiteY1324" fmla="*/ 4993051 h 10808782"/>
              <a:gd name="connsiteX1325" fmla="*/ 24781932 w 25004707"/>
              <a:gd name="connsiteY1325" fmla="*/ 4992328 h 10808782"/>
              <a:gd name="connsiteX1326" fmla="*/ 14311291 w 25004707"/>
              <a:gd name="connsiteY1326" fmla="*/ 4099408 h 10808782"/>
              <a:gd name="connsiteX1327" fmla="*/ 13140600 w 25004707"/>
              <a:gd name="connsiteY1327" fmla="*/ 4177934 h 10808782"/>
              <a:gd name="connsiteX1328" fmla="*/ 5533323 w 25004707"/>
              <a:gd name="connsiteY1328" fmla="*/ 3742335 h 10808782"/>
              <a:gd name="connsiteX1329" fmla="*/ 5816937 w 25004707"/>
              <a:gd name="connsiteY1329" fmla="*/ 3749157 h 10808782"/>
              <a:gd name="connsiteX1330" fmla="*/ 6803413 w 25004707"/>
              <a:gd name="connsiteY1330" fmla="*/ 3813819 h 10808782"/>
              <a:gd name="connsiteX1331" fmla="*/ 17402166 w 25004707"/>
              <a:gd name="connsiteY1331" fmla="*/ 8385657 h 10808782"/>
              <a:gd name="connsiteX1332" fmla="*/ 14871708 w 25004707"/>
              <a:gd name="connsiteY1332" fmla="*/ 8200471 h 10808782"/>
              <a:gd name="connsiteX1333" fmla="*/ 21113996 w 25004707"/>
              <a:gd name="connsiteY1333" fmla="*/ 7756165 h 10808782"/>
              <a:gd name="connsiteX1334" fmla="*/ 20402560 w 25004707"/>
              <a:gd name="connsiteY1334" fmla="*/ 7924564 h 10808782"/>
              <a:gd name="connsiteX1335" fmla="*/ 24729384 w 25004707"/>
              <a:gd name="connsiteY1335" fmla="*/ 5962405 h 10808782"/>
              <a:gd name="connsiteX1336" fmla="*/ 24718214 w 25004707"/>
              <a:gd name="connsiteY1336" fmla="*/ 5961666 h 10808782"/>
              <a:gd name="connsiteX1337" fmla="*/ 12251605 w 25004707"/>
              <a:gd name="connsiteY1337" fmla="*/ 4868284 h 10808782"/>
              <a:gd name="connsiteX1338" fmla="*/ 11549373 w 25004707"/>
              <a:gd name="connsiteY1338" fmla="*/ 5027865 h 10808782"/>
              <a:gd name="connsiteX1339" fmla="*/ 4229596 w 25004707"/>
              <a:gd name="connsiteY1339" fmla="*/ 3720409 h 10808782"/>
              <a:gd name="connsiteX1340" fmla="*/ 5592446 w 25004707"/>
              <a:gd name="connsiteY1340" fmla="*/ 3263937 h 10808782"/>
              <a:gd name="connsiteX1341" fmla="*/ 1697927 w 25004707"/>
              <a:gd name="connsiteY1341" fmla="*/ 2992635 h 10808782"/>
              <a:gd name="connsiteX1342" fmla="*/ 2684403 w 25004707"/>
              <a:gd name="connsiteY1342" fmla="*/ 3057297 h 10808782"/>
              <a:gd name="connsiteX1343" fmla="*/ 2938046 w 25004707"/>
              <a:gd name="connsiteY1343" fmla="*/ 3090399 h 10808782"/>
              <a:gd name="connsiteX1344" fmla="*/ 24824882 w 25004707"/>
              <a:gd name="connsiteY1344" fmla="*/ 4508602 h 10808782"/>
              <a:gd name="connsiteX1345" fmla="*/ 24813712 w 25004707"/>
              <a:gd name="connsiteY1345" fmla="*/ 4507879 h 10808782"/>
              <a:gd name="connsiteX1346" fmla="*/ 24888442 w 25004707"/>
              <a:gd name="connsiteY1346" fmla="*/ 3539279 h 10808782"/>
              <a:gd name="connsiteX1347" fmla="*/ 24877430 w 25004707"/>
              <a:gd name="connsiteY1347" fmla="*/ 3538556 h 10808782"/>
              <a:gd name="connsiteX1348" fmla="*/ 24920380 w 25004707"/>
              <a:gd name="connsiteY1348" fmla="*/ 3054405 h 10808782"/>
              <a:gd name="connsiteX1349" fmla="*/ 24909210 w 25004707"/>
              <a:gd name="connsiteY1349" fmla="*/ 3053682 h 10808782"/>
              <a:gd name="connsiteX1350" fmla="*/ 24984098 w 25004707"/>
              <a:gd name="connsiteY1350" fmla="*/ 2085067 h 10808782"/>
              <a:gd name="connsiteX1351" fmla="*/ 24972926 w 25004707"/>
              <a:gd name="connsiteY1351" fmla="*/ 2084328 h 10808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</a:cxnLst>
            <a:rect l="l" t="t" r="r" b="b"/>
            <a:pathLst>
              <a:path w="25004707" h="10808782">
                <a:moveTo>
                  <a:pt x="24781932" y="4992328"/>
                </a:moveTo>
                <a:lnTo>
                  <a:pt x="24813712" y="4507894"/>
                </a:lnTo>
                <a:moveTo>
                  <a:pt x="24781932" y="4992328"/>
                </a:moveTo>
                <a:lnTo>
                  <a:pt x="24749994" y="5477249"/>
                </a:lnTo>
                <a:moveTo>
                  <a:pt x="24781932" y="4992328"/>
                </a:moveTo>
                <a:lnTo>
                  <a:pt x="23497668" y="4908160"/>
                </a:lnTo>
                <a:lnTo>
                  <a:pt x="23465886" y="5393065"/>
                </a:lnTo>
                <a:moveTo>
                  <a:pt x="24813712" y="4507894"/>
                </a:moveTo>
                <a:lnTo>
                  <a:pt x="24845492" y="4022989"/>
                </a:lnTo>
                <a:moveTo>
                  <a:pt x="24813712" y="4507894"/>
                </a:moveTo>
                <a:lnTo>
                  <a:pt x="23529446" y="4423711"/>
                </a:lnTo>
                <a:moveTo>
                  <a:pt x="24718214" y="5961666"/>
                </a:moveTo>
                <a:lnTo>
                  <a:pt x="24686276" y="6446571"/>
                </a:lnTo>
                <a:lnTo>
                  <a:pt x="23402168" y="6362388"/>
                </a:lnTo>
                <a:moveTo>
                  <a:pt x="24718214" y="5961666"/>
                </a:moveTo>
                <a:lnTo>
                  <a:pt x="24749994" y="5477249"/>
                </a:lnTo>
                <a:moveTo>
                  <a:pt x="24718214" y="5961666"/>
                </a:moveTo>
                <a:lnTo>
                  <a:pt x="23433948" y="5877498"/>
                </a:lnTo>
                <a:moveTo>
                  <a:pt x="24749994" y="5477249"/>
                </a:moveTo>
                <a:lnTo>
                  <a:pt x="23465886" y="5393065"/>
                </a:lnTo>
                <a:moveTo>
                  <a:pt x="24940990" y="2568777"/>
                </a:moveTo>
                <a:lnTo>
                  <a:pt x="24909210" y="3053682"/>
                </a:lnTo>
                <a:lnTo>
                  <a:pt x="23624944" y="2969499"/>
                </a:lnTo>
                <a:moveTo>
                  <a:pt x="24877430" y="3538571"/>
                </a:moveTo>
                <a:lnTo>
                  <a:pt x="24845492" y="4023005"/>
                </a:lnTo>
                <a:moveTo>
                  <a:pt x="24845492" y="4023005"/>
                </a:moveTo>
                <a:lnTo>
                  <a:pt x="24856664" y="4023744"/>
                </a:lnTo>
                <a:moveTo>
                  <a:pt x="24845492" y="4023005"/>
                </a:moveTo>
                <a:lnTo>
                  <a:pt x="23561384" y="3938837"/>
                </a:lnTo>
                <a:moveTo>
                  <a:pt x="24940990" y="2568777"/>
                </a:moveTo>
                <a:lnTo>
                  <a:pt x="23656882" y="2484594"/>
                </a:lnTo>
                <a:lnTo>
                  <a:pt x="23624944" y="2969499"/>
                </a:lnTo>
                <a:moveTo>
                  <a:pt x="24940990" y="2568777"/>
                </a:moveTo>
                <a:lnTo>
                  <a:pt x="24952160" y="2569500"/>
                </a:lnTo>
                <a:moveTo>
                  <a:pt x="24940990" y="2568777"/>
                </a:moveTo>
                <a:lnTo>
                  <a:pt x="25004708" y="1599423"/>
                </a:lnTo>
                <a:lnTo>
                  <a:pt x="5763304" y="338142"/>
                </a:lnTo>
                <a:cubicBezTo>
                  <a:pt x="5433766" y="316539"/>
                  <a:pt x="631905" y="1774"/>
                  <a:pt x="631905" y="1774"/>
                </a:cubicBezTo>
                <a:lnTo>
                  <a:pt x="604841" y="0"/>
                </a:lnTo>
                <a:lnTo>
                  <a:pt x="0" y="9209356"/>
                </a:lnTo>
                <a:lnTo>
                  <a:pt x="1284177" y="9293539"/>
                </a:lnTo>
                <a:moveTo>
                  <a:pt x="24909210" y="3053651"/>
                </a:moveTo>
                <a:lnTo>
                  <a:pt x="24877430" y="3538556"/>
                </a:lnTo>
                <a:lnTo>
                  <a:pt x="23593164" y="3454388"/>
                </a:lnTo>
                <a:moveTo>
                  <a:pt x="24590780" y="7900799"/>
                </a:moveTo>
                <a:lnTo>
                  <a:pt x="24622718" y="7415910"/>
                </a:lnTo>
                <a:moveTo>
                  <a:pt x="24590780" y="7900799"/>
                </a:moveTo>
                <a:lnTo>
                  <a:pt x="23306672" y="7816615"/>
                </a:lnTo>
                <a:lnTo>
                  <a:pt x="23274890" y="8301049"/>
                </a:lnTo>
                <a:lnTo>
                  <a:pt x="21990782" y="8216849"/>
                </a:lnTo>
                <a:cubicBezTo>
                  <a:pt x="21990782" y="8216849"/>
                  <a:pt x="21573078" y="8189485"/>
                  <a:pt x="21466882" y="8182522"/>
                </a:cubicBezTo>
                <a:cubicBezTo>
                  <a:pt x="21222396" y="8166490"/>
                  <a:pt x="20955724" y="8169257"/>
                  <a:pt x="20799970" y="8169870"/>
                </a:cubicBezTo>
                <a:moveTo>
                  <a:pt x="24590780" y="7900799"/>
                </a:moveTo>
                <a:lnTo>
                  <a:pt x="24601948" y="7901538"/>
                </a:lnTo>
                <a:moveTo>
                  <a:pt x="24622718" y="7415910"/>
                </a:moveTo>
                <a:lnTo>
                  <a:pt x="24654496" y="6931005"/>
                </a:lnTo>
                <a:moveTo>
                  <a:pt x="24622718" y="7415910"/>
                </a:moveTo>
                <a:lnTo>
                  <a:pt x="23338452" y="7331710"/>
                </a:lnTo>
                <a:moveTo>
                  <a:pt x="24558998" y="8385232"/>
                </a:moveTo>
                <a:lnTo>
                  <a:pt x="24527218" y="8870137"/>
                </a:lnTo>
                <a:lnTo>
                  <a:pt x="23242952" y="8785953"/>
                </a:lnTo>
                <a:moveTo>
                  <a:pt x="24558998" y="8385232"/>
                </a:moveTo>
                <a:lnTo>
                  <a:pt x="24590780" y="7900799"/>
                </a:lnTo>
                <a:moveTo>
                  <a:pt x="24558998" y="8385232"/>
                </a:moveTo>
                <a:lnTo>
                  <a:pt x="23274890" y="8301049"/>
                </a:lnTo>
                <a:lnTo>
                  <a:pt x="23242952" y="8785953"/>
                </a:lnTo>
                <a:moveTo>
                  <a:pt x="24654496" y="6931005"/>
                </a:moveTo>
                <a:lnTo>
                  <a:pt x="24686434" y="6446571"/>
                </a:lnTo>
                <a:lnTo>
                  <a:pt x="24697448" y="6447294"/>
                </a:lnTo>
                <a:moveTo>
                  <a:pt x="24654496" y="6931005"/>
                </a:moveTo>
                <a:lnTo>
                  <a:pt x="23370388" y="6846837"/>
                </a:lnTo>
                <a:moveTo>
                  <a:pt x="24463500" y="9839444"/>
                </a:moveTo>
                <a:lnTo>
                  <a:pt x="24431722" y="10323878"/>
                </a:lnTo>
                <a:lnTo>
                  <a:pt x="23147614" y="10239694"/>
                </a:lnTo>
                <a:moveTo>
                  <a:pt x="23338608" y="7331726"/>
                </a:moveTo>
                <a:lnTo>
                  <a:pt x="23306672" y="7816631"/>
                </a:lnTo>
                <a:lnTo>
                  <a:pt x="22022564" y="7732447"/>
                </a:lnTo>
                <a:moveTo>
                  <a:pt x="23242952" y="8785953"/>
                </a:moveTo>
                <a:lnTo>
                  <a:pt x="23211172" y="9270371"/>
                </a:lnTo>
                <a:moveTo>
                  <a:pt x="23242952" y="8785953"/>
                </a:moveTo>
                <a:lnTo>
                  <a:pt x="21958844" y="8701770"/>
                </a:lnTo>
                <a:moveTo>
                  <a:pt x="23433948" y="5877498"/>
                </a:moveTo>
                <a:lnTo>
                  <a:pt x="23465886" y="5393065"/>
                </a:lnTo>
                <a:moveTo>
                  <a:pt x="23433948" y="5877498"/>
                </a:moveTo>
                <a:lnTo>
                  <a:pt x="22149840" y="5793299"/>
                </a:lnTo>
                <a:cubicBezTo>
                  <a:pt x="22139300" y="5953996"/>
                  <a:pt x="22133164" y="6038761"/>
                  <a:pt x="22138828" y="6277685"/>
                </a:cubicBezTo>
                <a:moveTo>
                  <a:pt x="23465886" y="5393065"/>
                </a:moveTo>
                <a:lnTo>
                  <a:pt x="22181622" y="5308881"/>
                </a:lnTo>
                <a:moveTo>
                  <a:pt x="23115676" y="10724599"/>
                </a:moveTo>
                <a:lnTo>
                  <a:pt x="23147614" y="10239709"/>
                </a:lnTo>
                <a:moveTo>
                  <a:pt x="23115676" y="10724599"/>
                </a:moveTo>
                <a:lnTo>
                  <a:pt x="24399940" y="10808782"/>
                </a:lnTo>
                <a:lnTo>
                  <a:pt x="24431722" y="10323878"/>
                </a:lnTo>
                <a:moveTo>
                  <a:pt x="23115676" y="10724599"/>
                </a:moveTo>
                <a:lnTo>
                  <a:pt x="21831568" y="10640431"/>
                </a:lnTo>
                <a:moveTo>
                  <a:pt x="23147614" y="10239709"/>
                </a:moveTo>
                <a:lnTo>
                  <a:pt x="23179392" y="9755261"/>
                </a:lnTo>
                <a:moveTo>
                  <a:pt x="23147614" y="10239709"/>
                </a:moveTo>
                <a:lnTo>
                  <a:pt x="21863348" y="10155526"/>
                </a:lnTo>
                <a:moveTo>
                  <a:pt x="23720600" y="1515244"/>
                </a:moveTo>
                <a:lnTo>
                  <a:pt x="23688662" y="2000144"/>
                </a:lnTo>
                <a:moveTo>
                  <a:pt x="23688662" y="2000144"/>
                </a:moveTo>
                <a:lnTo>
                  <a:pt x="24972772" y="2084312"/>
                </a:lnTo>
                <a:moveTo>
                  <a:pt x="23688662" y="2000144"/>
                </a:moveTo>
                <a:lnTo>
                  <a:pt x="22404554" y="1915976"/>
                </a:lnTo>
                <a:moveTo>
                  <a:pt x="23179392" y="9755261"/>
                </a:moveTo>
                <a:lnTo>
                  <a:pt x="23211172" y="9270387"/>
                </a:lnTo>
                <a:moveTo>
                  <a:pt x="23179392" y="9755261"/>
                </a:moveTo>
                <a:lnTo>
                  <a:pt x="21895126" y="9671092"/>
                </a:lnTo>
                <a:lnTo>
                  <a:pt x="21863348" y="10155526"/>
                </a:lnTo>
                <a:moveTo>
                  <a:pt x="23179392" y="9755261"/>
                </a:moveTo>
                <a:lnTo>
                  <a:pt x="24463500" y="9839460"/>
                </a:lnTo>
                <a:lnTo>
                  <a:pt x="24495438" y="9354555"/>
                </a:lnTo>
                <a:lnTo>
                  <a:pt x="24506452" y="9355294"/>
                </a:lnTo>
                <a:moveTo>
                  <a:pt x="23593164" y="3454388"/>
                </a:moveTo>
                <a:lnTo>
                  <a:pt x="23625102" y="2969483"/>
                </a:lnTo>
                <a:moveTo>
                  <a:pt x="23593164" y="3454388"/>
                </a:moveTo>
                <a:lnTo>
                  <a:pt x="22309056" y="3370204"/>
                </a:lnTo>
                <a:moveTo>
                  <a:pt x="23624944" y="2969499"/>
                </a:moveTo>
                <a:lnTo>
                  <a:pt x="22340836" y="2885315"/>
                </a:lnTo>
                <a:moveTo>
                  <a:pt x="23593164" y="3454388"/>
                </a:moveTo>
                <a:lnTo>
                  <a:pt x="23561384" y="3938821"/>
                </a:lnTo>
                <a:lnTo>
                  <a:pt x="22277118" y="3854653"/>
                </a:lnTo>
                <a:moveTo>
                  <a:pt x="23434106" y="5877482"/>
                </a:moveTo>
                <a:lnTo>
                  <a:pt x="23402168" y="6362388"/>
                </a:lnTo>
                <a:lnTo>
                  <a:pt x="22450808" y="6300020"/>
                </a:lnTo>
                <a:cubicBezTo>
                  <a:pt x="22261858" y="6287634"/>
                  <a:pt x="22138828" y="6277685"/>
                  <a:pt x="22138828" y="6277685"/>
                </a:cubicBezTo>
                <a:moveTo>
                  <a:pt x="23370388" y="6846837"/>
                </a:moveTo>
                <a:lnTo>
                  <a:pt x="23402168" y="6362404"/>
                </a:lnTo>
                <a:moveTo>
                  <a:pt x="23370388" y="6846837"/>
                </a:moveTo>
                <a:lnTo>
                  <a:pt x="23338452" y="7331710"/>
                </a:lnTo>
                <a:moveTo>
                  <a:pt x="23370388" y="6846837"/>
                </a:moveTo>
                <a:lnTo>
                  <a:pt x="22133950" y="6765781"/>
                </a:lnTo>
                <a:moveTo>
                  <a:pt x="23529604" y="4423711"/>
                </a:moveTo>
                <a:lnTo>
                  <a:pt x="23561384" y="3938806"/>
                </a:lnTo>
                <a:moveTo>
                  <a:pt x="23529604" y="4423711"/>
                </a:moveTo>
                <a:lnTo>
                  <a:pt x="23497668" y="4908160"/>
                </a:lnTo>
                <a:lnTo>
                  <a:pt x="22213560" y="4823976"/>
                </a:lnTo>
                <a:moveTo>
                  <a:pt x="23529604" y="4423711"/>
                </a:moveTo>
                <a:lnTo>
                  <a:pt x="22245338" y="4339527"/>
                </a:lnTo>
                <a:moveTo>
                  <a:pt x="23338452" y="7331710"/>
                </a:moveTo>
                <a:lnTo>
                  <a:pt x="22387090" y="7269358"/>
                </a:lnTo>
                <a:cubicBezTo>
                  <a:pt x="22198140" y="7256973"/>
                  <a:pt x="22074952" y="7250780"/>
                  <a:pt x="22074952" y="7250780"/>
                </a:cubicBezTo>
                <a:moveTo>
                  <a:pt x="23688662" y="2000160"/>
                </a:moveTo>
                <a:lnTo>
                  <a:pt x="23656882" y="2484594"/>
                </a:lnTo>
                <a:lnTo>
                  <a:pt x="22372618" y="2400410"/>
                </a:lnTo>
                <a:moveTo>
                  <a:pt x="23211172" y="9270371"/>
                </a:moveTo>
                <a:lnTo>
                  <a:pt x="24495438" y="9354555"/>
                </a:lnTo>
                <a:lnTo>
                  <a:pt x="24527218" y="8870122"/>
                </a:lnTo>
                <a:lnTo>
                  <a:pt x="24538388" y="8870860"/>
                </a:lnTo>
                <a:moveTo>
                  <a:pt x="23211172" y="9270371"/>
                </a:moveTo>
                <a:lnTo>
                  <a:pt x="21927064" y="9186203"/>
                </a:lnTo>
                <a:moveTo>
                  <a:pt x="21831568" y="10640431"/>
                </a:moveTo>
                <a:lnTo>
                  <a:pt x="21863348" y="10155526"/>
                </a:lnTo>
                <a:moveTo>
                  <a:pt x="21831568" y="10640431"/>
                </a:moveTo>
                <a:lnTo>
                  <a:pt x="20547302" y="10556248"/>
                </a:lnTo>
                <a:moveTo>
                  <a:pt x="21863348" y="10155526"/>
                </a:moveTo>
                <a:lnTo>
                  <a:pt x="20579240" y="10071342"/>
                </a:lnTo>
                <a:moveTo>
                  <a:pt x="22340836" y="2885299"/>
                </a:moveTo>
                <a:lnTo>
                  <a:pt x="22308898" y="3370204"/>
                </a:lnTo>
                <a:lnTo>
                  <a:pt x="21024790" y="3286020"/>
                </a:lnTo>
                <a:moveTo>
                  <a:pt x="22277118" y="3854653"/>
                </a:moveTo>
                <a:lnTo>
                  <a:pt x="22308898" y="3370220"/>
                </a:lnTo>
                <a:moveTo>
                  <a:pt x="22277118" y="3854653"/>
                </a:moveTo>
                <a:lnTo>
                  <a:pt x="20993010" y="3770469"/>
                </a:lnTo>
                <a:moveTo>
                  <a:pt x="21927064" y="9186203"/>
                </a:moveTo>
                <a:lnTo>
                  <a:pt x="21895126" y="9671109"/>
                </a:lnTo>
                <a:lnTo>
                  <a:pt x="20611018" y="9586925"/>
                </a:lnTo>
                <a:moveTo>
                  <a:pt x="21927064" y="9186203"/>
                </a:moveTo>
                <a:lnTo>
                  <a:pt x="21958844" y="8701770"/>
                </a:lnTo>
                <a:moveTo>
                  <a:pt x="21927064" y="9186203"/>
                </a:moveTo>
                <a:lnTo>
                  <a:pt x="20642800" y="9102019"/>
                </a:lnTo>
                <a:moveTo>
                  <a:pt x="22436334" y="1431070"/>
                </a:moveTo>
                <a:lnTo>
                  <a:pt x="22404554" y="1915976"/>
                </a:lnTo>
                <a:moveTo>
                  <a:pt x="22404554" y="1915976"/>
                </a:moveTo>
                <a:lnTo>
                  <a:pt x="21120288" y="1831793"/>
                </a:lnTo>
                <a:moveTo>
                  <a:pt x="22022564" y="7732431"/>
                </a:moveTo>
                <a:lnTo>
                  <a:pt x="22074952" y="7250780"/>
                </a:lnTo>
                <a:moveTo>
                  <a:pt x="22022564" y="7732431"/>
                </a:moveTo>
                <a:cubicBezTo>
                  <a:pt x="21593216" y="7704297"/>
                  <a:pt x="21304678" y="7722561"/>
                  <a:pt x="21113838" y="7756637"/>
                </a:cubicBezTo>
                <a:moveTo>
                  <a:pt x="22022564" y="7732431"/>
                </a:moveTo>
                <a:lnTo>
                  <a:pt x="21958844" y="8701770"/>
                </a:lnTo>
                <a:moveTo>
                  <a:pt x="22181622" y="5308897"/>
                </a:moveTo>
                <a:lnTo>
                  <a:pt x="22149840" y="5793330"/>
                </a:lnTo>
                <a:cubicBezTo>
                  <a:pt x="21856424" y="5773620"/>
                  <a:pt x="21532644" y="5736873"/>
                  <a:pt x="21252128" y="5650708"/>
                </a:cubicBezTo>
                <a:cubicBezTo>
                  <a:pt x="21357540" y="5840185"/>
                  <a:pt x="21418582" y="5988638"/>
                  <a:pt x="21488592" y="6165430"/>
                </a:cubicBezTo>
                <a:cubicBezTo>
                  <a:pt x="21381138" y="6137688"/>
                  <a:pt x="21161352" y="6067761"/>
                  <a:pt x="21015036" y="5981942"/>
                </a:cubicBezTo>
                <a:moveTo>
                  <a:pt x="22074952" y="7250780"/>
                </a:moveTo>
                <a:cubicBezTo>
                  <a:pt x="22082190" y="7163280"/>
                  <a:pt x="22118848" y="6995808"/>
                  <a:pt x="22133950" y="6766253"/>
                </a:cubicBezTo>
                <a:moveTo>
                  <a:pt x="22138828" y="6277685"/>
                </a:moveTo>
                <a:cubicBezTo>
                  <a:pt x="22133478" y="6440143"/>
                  <a:pt x="22152202" y="6487956"/>
                  <a:pt x="22133950" y="6765781"/>
                </a:cubicBezTo>
                <a:lnTo>
                  <a:pt x="21562380" y="6728310"/>
                </a:lnTo>
                <a:moveTo>
                  <a:pt x="22138828" y="6277685"/>
                </a:moveTo>
                <a:cubicBezTo>
                  <a:pt x="21841164" y="6258180"/>
                  <a:pt x="21640728" y="6210209"/>
                  <a:pt x="21488592" y="6165414"/>
                </a:cubicBezTo>
                <a:moveTo>
                  <a:pt x="22245338" y="4339527"/>
                </a:moveTo>
                <a:lnTo>
                  <a:pt x="22277276" y="3854622"/>
                </a:lnTo>
                <a:moveTo>
                  <a:pt x="22245338" y="4339527"/>
                </a:moveTo>
                <a:lnTo>
                  <a:pt x="20961230" y="4255359"/>
                </a:lnTo>
                <a:moveTo>
                  <a:pt x="21958844" y="8701770"/>
                </a:moveTo>
                <a:lnTo>
                  <a:pt x="20674580" y="8617586"/>
                </a:lnTo>
                <a:lnTo>
                  <a:pt x="20642800" y="9102019"/>
                </a:lnTo>
                <a:moveTo>
                  <a:pt x="22181622" y="5308881"/>
                </a:moveTo>
                <a:lnTo>
                  <a:pt x="22213560" y="4823992"/>
                </a:lnTo>
                <a:moveTo>
                  <a:pt x="22181622" y="5308881"/>
                </a:moveTo>
                <a:lnTo>
                  <a:pt x="21849030" y="5287081"/>
                </a:lnTo>
                <a:cubicBezTo>
                  <a:pt x="21563480" y="5268361"/>
                  <a:pt x="21279506" y="5234222"/>
                  <a:pt x="20995686" y="5199596"/>
                </a:cubicBezTo>
                <a:cubicBezTo>
                  <a:pt x="21087250" y="5355233"/>
                  <a:pt x="21157262" y="5465209"/>
                  <a:pt x="21252128" y="5651180"/>
                </a:cubicBezTo>
                <a:cubicBezTo>
                  <a:pt x="21018026" y="5564309"/>
                  <a:pt x="20878162" y="5518916"/>
                  <a:pt x="20568856" y="5391367"/>
                </a:cubicBezTo>
                <a:cubicBezTo>
                  <a:pt x="20753400" y="5568599"/>
                  <a:pt x="20900344" y="5766437"/>
                  <a:pt x="21015666" y="5981974"/>
                </a:cubicBezTo>
                <a:moveTo>
                  <a:pt x="22245338" y="4339543"/>
                </a:moveTo>
                <a:lnTo>
                  <a:pt x="22213560" y="4823976"/>
                </a:lnTo>
                <a:lnTo>
                  <a:pt x="20929452" y="4739792"/>
                </a:lnTo>
                <a:moveTo>
                  <a:pt x="22372774" y="2400425"/>
                </a:moveTo>
                <a:lnTo>
                  <a:pt x="22340836" y="2885315"/>
                </a:lnTo>
                <a:moveTo>
                  <a:pt x="22340836" y="2885315"/>
                </a:moveTo>
                <a:lnTo>
                  <a:pt x="21056728" y="2801147"/>
                </a:lnTo>
                <a:moveTo>
                  <a:pt x="22404398" y="1915976"/>
                </a:moveTo>
                <a:lnTo>
                  <a:pt x="22372618" y="2400410"/>
                </a:lnTo>
                <a:moveTo>
                  <a:pt x="22372618" y="2400410"/>
                </a:moveTo>
                <a:lnTo>
                  <a:pt x="21088510" y="2316226"/>
                </a:lnTo>
                <a:moveTo>
                  <a:pt x="20579240" y="10071342"/>
                </a:moveTo>
                <a:lnTo>
                  <a:pt x="20611018" y="9586909"/>
                </a:lnTo>
                <a:moveTo>
                  <a:pt x="20579240" y="10071342"/>
                </a:moveTo>
                <a:lnTo>
                  <a:pt x="19294974" y="9987158"/>
                </a:lnTo>
                <a:moveTo>
                  <a:pt x="21562380" y="6728766"/>
                </a:moveTo>
                <a:cubicBezTo>
                  <a:pt x="21551366" y="6897903"/>
                  <a:pt x="21513608" y="7106696"/>
                  <a:pt x="21415592" y="7277186"/>
                </a:cubicBezTo>
                <a:cubicBezTo>
                  <a:pt x="21613040" y="7231777"/>
                  <a:pt x="21816462" y="7233821"/>
                  <a:pt x="22074952" y="7250749"/>
                </a:cubicBezTo>
                <a:moveTo>
                  <a:pt x="20993010" y="3770469"/>
                </a:moveTo>
                <a:lnTo>
                  <a:pt x="21024790" y="3286052"/>
                </a:lnTo>
                <a:moveTo>
                  <a:pt x="20993010" y="3770469"/>
                </a:moveTo>
                <a:lnTo>
                  <a:pt x="19708746" y="3686286"/>
                </a:lnTo>
                <a:moveTo>
                  <a:pt x="20929294" y="4739792"/>
                </a:moveTo>
                <a:cubicBezTo>
                  <a:pt x="20917964" y="4912199"/>
                  <a:pt x="20908998" y="5049006"/>
                  <a:pt x="20995528" y="5199596"/>
                </a:cubicBezTo>
                <a:cubicBezTo>
                  <a:pt x="20674894" y="5140467"/>
                  <a:pt x="20423800" y="5069423"/>
                  <a:pt x="20097030" y="4955313"/>
                </a:cubicBezTo>
                <a:moveTo>
                  <a:pt x="20642800" y="9102019"/>
                </a:moveTo>
                <a:lnTo>
                  <a:pt x="20611018" y="9586925"/>
                </a:lnTo>
                <a:lnTo>
                  <a:pt x="19326754" y="9502741"/>
                </a:lnTo>
                <a:moveTo>
                  <a:pt x="20642800" y="9102019"/>
                </a:moveTo>
                <a:lnTo>
                  <a:pt x="19358692" y="9017836"/>
                </a:lnTo>
                <a:moveTo>
                  <a:pt x="20961230" y="4255359"/>
                </a:moveTo>
                <a:lnTo>
                  <a:pt x="20929294" y="4739792"/>
                </a:lnTo>
                <a:cubicBezTo>
                  <a:pt x="20497428" y="4711469"/>
                  <a:pt x="19951818" y="4635710"/>
                  <a:pt x="19750594" y="4599921"/>
                </a:cubicBezTo>
                <a:moveTo>
                  <a:pt x="20961230" y="4255359"/>
                </a:moveTo>
                <a:lnTo>
                  <a:pt x="20993010" y="3770454"/>
                </a:lnTo>
                <a:moveTo>
                  <a:pt x="20961230" y="4255359"/>
                </a:moveTo>
                <a:lnTo>
                  <a:pt x="19676964" y="4171175"/>
                </a:lnTo>
                <a:moveTo>
                  <a:pt x="21120288" y="1831808"/>
                </a:moveTo>
                <a:lnTo>
                  <a:pt x="21088510" y="2316226"/>
                </a:lnTo>
                <a:moveTo>
                  <a:pt x="21088510" y="2316226"/>
                </a:moveTo>
                <a:lnTo>
                  <a:pt x="21056728" y="2801131"/>
                </a:lnTo>
                <a:moveTo>
                  <a:pt x="21088510" y="2316226"/>
                </a:moveTo>
                <a:lnTo>
                  <a:pt x="19804244" y="2232058"/>
                </a:lnTo>
                <a:moveTo>
                  <a:pt x="21152226" y="1346888"/>
                </a:moveTo>
                <a:lnTo>
                  <a:pt x="21120288" y="1831793"/>
                </a:lnTo>
                <a:moveTo>
                  <a:pt x="21120288" y="1831793"/>
                </a:moveTo>
                <a:lnTo>
                  <a:pt x="19836180" y="1747609"/>
                </a:lnTo>
                <a:moveTo>
                  <a:pt x="21056728" y="2801131"/>
                </a:moveTo>
                <a:lnTo>
                  <a:pt x="21024790" y="3286020"/>
                </a:lnTo>
                <a:moveTo>
                  <a:pt x="21056728" y="2801131"/>
                </a:moveTo>
                <a:lnTo>
                  <a:pt x="19772464" y="2716963"/>
                </a:lnTo>
                <a:moveTo>
                  <a:pt x="21024790" y="3286020"/>
                </a:moveTo>
                <a:lnTo>
                  <a:pt x="19740684" y="3201853"/>
                </a:lnTo>
                <a:moveTo>
                  <a:pt x="21488592" y="6165430"/>
                </a:moveTo>
                <a:cubicBezTo>
                  <a:pt x="21553254" y="6373877"/>
                  <a:pt x="21574808" y="6539981"/>
                  <a:pt x="21562380" y="6728310"/>
                </a:cubicBezTo>
                <a:lnTo>
                  <a:pt x="21184006" y="6703508"/>
                </a:lnTo>
                <a:moveTo>
                  <a:pt x="20674736" y="8617602"/>
                </a:moveTo>
                <a:lnTo>
                  <a:pt x="20690628" y="8375378"/>
                </a:lnTo>
                <a:cubicBezTo>
                  <a:pt x="20698494" y="8254037"/>
                  <a:pt x="20800442" y="8170860"/>
                  <a:pt x="20800442" y="8170860"/>
                </a:cubicBezTo>
                <a:moveTo>
                  <a:pt x="21113838" y="7756165"/>
                </a:moveTo>
                <a:cubicBezTo>
                  <a:pt x="21242846" y="7593346"/>
                  <a:pt x="21324500" y="7452846"/>
                  <a:pt x="21415434" y="7276714"/>
                </a:cubicBezTo>
                <a:moveTo>
                  <a:pt x="20579240" y="10071342"/>
                </a:moveTo>
                <a:lnTo>
                  <a:pt x="20547302" y="10556248"/>
                </a:lnTo>
                <a:lnTo>
                  <a:pt x="19263194" y="10472064"/>
                </a:lnTo>
                <a:moveTo>
                  <a:pt x="20800442" y="8170372"/>
                </a:moveTo>
                <a:cubicBezTo>
                  <a:pt x="20889804" y="8068003"/>
                  <a:pt x="20956826" y="7973588"/>
                  <a:pt x="21113838" y="7756149"/>
                </a:cubicBezTo>
                <a:moveTo>
                  <a:pt x="20096558" y="4954825"/>
                </a:moveTo>
                <a:cubicBezTo>
                  <a:pt x="20285824" y="5109314"/>
                  <a:pt x="20403504" y="5216320"/>
                  <a:pt x="20568856" y="5391367"/>
                </a:cubicBezTo>
                <a:cubicBezTo>
                  <a:pt x="20241144" y="5252722"/>
                  <a:pt x="19875826" y="5134682"/>
                  <a:pt x="19539460" y="4997829"/>
                </a:cubicBezTo>
                <a:moveTo>
                  <a:pt x="19676964" y="4170719"/>
                </a:moveTo>
                <a:cubicBezTo>
                  <a:pt x="19667526" y="4307494"/>
                  <a:pt x="19655726" y="4494000"/>
                  <a:pt x="19750594" y="4599953"/>
                </a:cubicBezTo>
                <a:cubicBezTo>
                  <a:pt x="19382132" y="4537695"/>
                  <a:pt x="18960654" y="4463020"/>
                  <a:pt x="18586528" y="4366498"/>
                </a:cubicBezTo>
                <a:moveTo>
                  <a:pt x="20097188" y="4954857"/>
                </a:moveTo>
                <a:cubicBezTo>
                  <a:pt x="19977620" y="4860912"/>
                  <a:pt x="19850498" y="4709552"/>
                  <a:pt x="19751068" y="4599984"/>
                </a:cubicBezTo>
                <a:moveTo>
                  <a:pt x="19772464" y="2716947"/>
                </a:moveTo>
                <a:lnTo>
                  <a:pt x="19740684" y="3201853"/>
                </a:lnTo>
                <a:lnTo>
                  <a:pt x="18456576" y="3117669"/>
                </a:lnTo>
                <a:moveTo>
                  <a:pt x="20922686" y="7397316"/>
                </a:moveTo>
                <a:cubicBezTo>
                  <a:pt x="21042884" y="7204287"/>
                  <a:pt x="21160722" y="7057673"/>
                  <a:pt x="21184006" y="6703963"/>
                </a:cubicBezTo>
                <a:moveTo>
                  <a:pt x="19877714" y="8295752"/>
                </a:moveTo>
                <a:cubicBezTo>
                  <a:pt x="20050460" y="8157924"/>
                  <a:pt x="20215812" y="8074651"/>
                  <a:pt x="20403032" y="7924611"/>
                </a:cubicBezTo>
                <a:moveTo>
                  <a:pt x="19740684" y="3201853"/>
                </a:moveTo>
                <a:lnTo>
                  <a:pt x="19708746" y="3686286"/>
                </a:lnTo>
                <a:moveTo>
                  <a:pt x="19708746" y="3686286"/>
                </a:moveTo>
                <a:lnTo>
                  <a:pt x="18424638" y="3602118"/>
                </a:lnTo>
                <a:moveTo>
                  <a:pt x="19804244" y="2232042"/>
                </a:moveTo>
                <a:lnTo>
                  <a:pt x="19772464" y="2716947"/>
                </a:lnTo>
                <a:lnTo>
                  <a:pt x="18488356" y="2632764"/>
                </a:lnTo>
                <a:moveTo>
                  <a:pt x="19804244" y="2232042"/>
                </a:moveTo>
                <a:lnTo>
                  <a:pt x="19836180" y="1747625"/>
                </a:lnTo>
                <a:moveTo>
                  <a:pt x="19804244" y="2232042"/>
                </a:moveTo>
                <a:lnTo>
                  <a:pt x="18520136" y="2147874"/>
                </a:lnTo>
                <a:moveTo>
                  <a:pt x="19676964" y="4171175"/>
                </a:moveTo>
                <a:cubicBezTo>
                  <a:pt x="19687664" y="4009535"/>
                  <a:pt x="19698206" y="3847910"/>
                  <a:pt x="19708902" y="3686270"/>
                </a:cubicBezTo>
                <a:moveTo>
                  <a:pt x="19676964" y="4171175"/>
                </a:moveTo>
                <a:lnTo>
                  <a:pt x="19344218" y="4149359"/>
                </a:lnTo>
                <a:cubicBezTo>
                  <a:pt x="19030190" y="4128769"/>
                  <a:pt x="18716954" y="4102584"/>
                  <a:pt x="18402454" y="4077278"/>
                </a:cubicBezTo>
                <a:moveTo>
                  <a:pt x="19326754" y="9502725"/>
                </a:moveTo>
                <a:lnTo>
                  <a:pt x="19294974" y="9987158"/>
                </a:lnTo>
                <a:lnTo>
                  <a:pt x="18010866" y="9902991"/>
                </a:lnTo>
                <a:moveTo>
                  <a:pt x="19263194" y="10472064"/>
                </a:moveTo>
                <a:lnTo>
                  <a:pt x="19294974" y="9987175"/>
                </a:lnTo>
                <a:moveTo>
                  <a:pt x="19263194" y="10472064"/>
                </a:moveTo>
                <a:lnTo>
                  <a:pt x="17978928" y="10387896"/>
                </a:lnTo>
                <a:moveTo>
                  <a:pt x="19326754" y="9502741"/>
                </a:moveTo>
                <a:lnTo>
                  <a:pt x="19358692" y="9017852"/>
                </a:lnTo>
                <a:moveTo>
                  <a:pt x="19326754" y="9502741"/>
                </a:moveTo>
                <a:lnTo>
                  <a:pt x="18042646" y="9418573"/>
                </a:lnTo>
                <a:moveTo>
                  <a:pt x="19358692" y="9017852"/>
                </a:moveTo>
                <a:cubicBezTo>
                  <a:pt x="19367502" y="8882444"/>
                  <a:pt x="19337452" y="8684260"/>
                  <a:pt x="19487700" y="8601900"/>
                </a:cubicBezTo>
                <a:moveTo>
                  <a:pt x="19358692" y="9017852"/>
                </a:moveTo>
                <a:lnTo>
                  <a:pt x="18082764" y="8945975"/>
                </a:lnTo>
                <a:moveTo>
                  <a:pt x="21015666" y="5981974"/>
                </a:moveTo>
                <a:cubicBezTo>
                  <a:pt x="21113838" y="6157335"/>
                  <a:pt x="21203358" y="6410232"/>
                  <a:pt x="21184006" y="6703508"/>
                </a:cubicBezTo>
                <a:moveTo>
                  <a:pt x="21015666" y="5981974"/>
                </a:moveTo>
                <a:cubicBezTo>
                  <a:pt x="20703056" y="5825033"/>
                  <a:pt x="20571532" y="5764661"/>
                  <a:pt x="20273552" y="5643966"/>
                </a:cubicBezTo>
                <a:moveTo>
                  <a:pt x="21184006" y="6703508"/>
                </a:moveTo>
                <a:lnTo>
                  <a:pt x="20666240" y="6669558"/>
                </a:lnTo>
                <a:moveTo>
                  <a:pt x="19487700" y="8602388"/>
                </a:moveTo>
                <a:cubicBezTo>
                  <a:pt x="19601290" y="8504435"/>
                  <a:pt x="19769788" y="8374308"/>
                  <a:pt x="19877244" y="8295720"/>
                </a:cubicBezTo>
                <a:moveTo>
                  <a:pt x="20922686" y="7397331"/>
                </a:moveTo>
                <a:cubicBezTo>
                  <a:pt x="20780304" y="7593613"/>
                  <a:pt x="20608818" y="7770578"/>
                  <a:pt x="20402560" y="7924564"/>
                </a:cubicBezTo>
                <a:cubicBezTo>
                  <a:pt x="20069340" y="8014705"/>
                  <a:pt x="19734546" y="8098637"/>
                  <a:pt x="19330530" y="8180368"/>
                </a:cubicBezTo>
                <a:moveTo>
                  <a:pt x="19867960" y="1262715"/>
                </a:moveTo>
                <a:lnTo>
                  <a:pt x="19836024" y="1747609"/>
                </a:lnTo>
                <a:lnTo>
                  <a:pt x="18551914" y="1663441"/>
                </a:lnTo>
                <a:moveTo>
                  <a:pt x="18583852" y="1178533"/>
                </a:moveTo>
                <a:lnTo>
                  <a:pt x="18551914" y="1663425"/>
                </a:lnTo>
                <a:moveTo>
                  <a:pt x="18551914" y="1663425"/>
                </a:moveTo>
                <a:lnTo>
                  <a:pt x="18520136" y="2147874"/>
                </a:lnTo>
                <a:moveTo>
                  <a:pt x="18551914" y="1663425"/>
                </a:moveTo>
                <a:lnTo>
                  <a:pt x="17267806" y="1579257"/>
                </a:lnTo>
                <a:moveTo>
                  <a:pt x="18586528" y="4366498"/>
                </a:moveTo>
                <a:cubicBezTo>
                  <a:pt x="18501886" y="4301647"/>
                  <a:pt x="18395532" y="4183639"/>
                  <a:pt x="18402610" y="4076822"/>
                </a:cubicBezTo>
                <a:moveTo>
                  <a:pt x="18586528" y="4366498"/>
                </a:moveTo>
                <a:cubicBezTo>
                  <a:pt x="18696814" y="4464058"/>
                  <a:pt x="18814652" y="4528233"/>
                  <a:pt x="18962698" y="4627804"/>
                </a:cubicBezTo>
                <a:moveTo>
                  <a:pt x="18586528" y="4366498"/>
                </a:moveTo>
                <a:cubicBezTo>
                  <a:pt x="18174328" y="4266063"/>
                  <a:pt x="17576012" y="4182618"/>
                  <a:pt x="17200786" y="4158019"/>
                </a:cubicBezTo>
                <a:moveTo>
                  <a:pt x="18488356" y="2632764"/>
                </a:moveTo>
                <a:lnTo>
                  <a:pt x="18456418" y="3117653"/>
                </a:lnTo>
                <a:lnTo>
                  <a:pt x="17172310" y="3033485"/>
                </a:lnTo>
                <a:moveTo>
                  <a:pt x="18488356" y="2632764"/>
                </a:moveTo>
                <a:lnTo>
                  <a:pt x="18520136" y="2147874"/>
                </a:lnTo>
                <a:moveTo>
                  <a:pt x="18488356" y="2632764"/>
                </a:moveTo>
                <a:lnTo>
                  <a:pt x="17204090" y="2548596"/>
                </a:lnTo>
                <a:moveTo>
                  <a:pt x="18424638" y="3602118"/>
                </a:moveTo>
                <a:cubicBezTo>
                  <a:pt x="18414252" y="3760002"/>
                  <a:pt x="18400566" y="3919096"/>
                  <a:pt x="18402454" y="4077310"/>
                </a:cubicBezTo>
                <a:cubicBezTo>
                  <a:pt x="18142862" y="4060303"/>
                  <a:pt x="17820972" y="3995420"/>
                  <a:pt x="17125426" y="3949824"/>
                </a:cubicBezTo>
                <a:moveTo>
                  <a:pt x="18424638" y="3602118"/>
                </a:moveTo>
                <a:lnTo>
                  <a:pt x="18456418" y="3117684"/>
                </a:lnTo>
                <a:moveTo>
                  <a:pt x="18424638" y="3602118"/>
                </a:moveTo>
                <a:lnTo>
                  <a:pt x="17140372" y="3517934"/>
                </a:lnTo>
                <a:moveTo>
                  <a:pt x="18520136" y="2147874"/>
                </a:moveTo>
                <a:lnTo>
                  <a:pt x="17236028" y="2063691"/>
                </a:lnTo>
                <a:moveTo>
                  <a:pt x="18962698" y="4627804"/>
                </a:moveTo>
                <a:cubicBezTo>
                  <a:pt x="18452484" y="4476271"/>
                  <a:pt x="17899478" y="4393438"/>
                  <a:pt x="17358900" y="4323180"/>
                </a:cubicBezTo>
                <a:moveTo>
                  <a:pt x="18962698" y="4627804"/>
                </a:moveTo>
                <a:cubicBezTo>
                  <a:pt x="19316844" y="4721607"/>
                  <a:pt x="19735176" y="4843136"/>
                  <a:pt x="20096558" y="4954825"/>
                </a:cubicBezTo>
                <a:moveTo>
                  <a:pt x="20273552" y="5643966"/>
                </a:moveTo>
                <a:cubicBezTo>
                  <a:pt x="20016636" y="5426213"/>
                  <a:pt x="19872838" y="5181521"/>
                  <a:pt x="19539618" y="4997813"/>
                </a:cubicBezTo>
                <a:moveTo>
                  <a:pt x="20273552" y="5643966"/>
                </a:moveTo>
                <a:cubicBezTo>
                  <a:pt x="20516466" y="5929492"/>
                  <a:pt x="20651138" y="6314747"/>
                  <a:pt x="20666240" y="6669558"/>
                </a:cubicBezTo>
                <a:moveTo>
                  <a:pt x="20273552" y="5643966"/>
                </a:moveTo>
                <a:cubicBezTo>
                  <a:pt x="19906822" y="5476415"/>
                  <a:pt x="18967574" y="5169246"/>
                  <a:pt x="18261016" y="5022238"/>
                </a:cubicBezTo>
                <a:moveTo>
                  <a:pt x="18710344" y="8471883"/>
                </a:moveTo>
                <a:cubicBezTo>
                  <a:pt x="18556478" y="8541324"/>
                  <a:pt x="18429358" y="8603095"/>
                  <a:pt x="18303180" y="8681872"/>
                </a:cubicBezTo>
                <a:cubicBezTo>
                  <a:pt x="18818744" y="8637092"/>
                  <a:pt x="19114518" y="8613672"/>
                  <a:pt x="19487858" y="8602371"/>
                </a:cubicBezTo>
                <a:moveTo>
                  <a:pt x="20666084" y="6669542"/>
                </a:moveTo>
                <a:cubicBezTo>
                  <a:pt x="20601894" y="7064322"/>
                  <a:pt x="20421124" y="7381850"/>
                  <a:pt x="20142814" y="7635092"/>
                </a:cubicBezTo>
                <a:cubicBezTo>
                  <a:pt x="19912798" y="7819036"/>
                  <a:pt x="19631970" y="8035893"/>
                  <a:pt x="19330530" y="8179866"/>
                </a:cubicBezTo>
                <a:moveTo>
                  <a:pt x="18710188" y="8471868"/>
                </a:moveTo>
                <a:cubicBezTo>
                  <a:pt x="18917546" y="8365491"/>
                  <a:pt x="19136072" y="8285692"/>
                  <a:pt x="19330530" y="8179881"/>
                </a:cubicBezTo>
                <a:cubicBezTo>
                  <a:pt x="18705310" y="8351566"/>
                  <a:pt x="18042646" y="8354253"/>
                  <a:pt x="17402166" y="8385201"/>
                </a:cubicBezTo>
                <a:moveTo>
                  <a:pt x="18082764" y="8945975"/>
                </a:moveTo>
                <a:cubicBezTo>
                  <a:pt x="18090788" y="8781819"/>
                  <a:pt x="18303180" y="8681400"/>
                  <a:pt x="18303180" y="8681400"/>
                </a:cubicBezTo>
                <a:moveTo>
                  <a:pt x="18082764" y="8945975"/>
                </a:moveTo>
                <a:cubicBezTo>
                  <a:pt x="18062312" y="9102727"/>
                  <a:pt x="18053030" y="9261161"/>
                  <a:pt x="18042646" y="9418573"/>
                </a:cubicBezTo>
                <a:moveTo>
                  <a:pt x="18082764" y="8945975"/>
                </a:moveTo>
                <a:lnTo>
                  <a:pt x="16799444" y="8904669"/>
                </a:lnTo>
                <a:moveTo>
                  <a:pt x="17978928" y="10387896"/>
                </a:moveTo>
                <a:lnTo>
                  <a:pt x="18010866" y="9902991"/>
                </a:lnTo>
                <a:moveTo>
                  <a:pt x="17978928" y="10387896"/>
                </a:moveTo>
                <a:lnTo>
                  <a:pt x="16694821" y="10303712"/>
                </a:lnTo>
                <a:moveTo>
                  <a:pt x="18010866" y="9902991"/>
                </a:moveTo>
                <a:lnTo>
                  <a:pt x="18042646" y="9418558"/>
                </a:lnTo>
                <a:lnTo>
                  <a:pt x="16758537" y="9334389"/>
                </a:lnTo>
                <a:moveTo>
                  <a:pt x="18010866" y="9902991"/>
                </a:moveTo>
                <a:lnTo>
                  <a:pt x="16726601" y="9818807"/>
                </a:lnTo>
                <a:moveTo>
                  <a:pt x="20666240" y="6669558"/>
                </a:moveTo>
                <a:lnTo>
                  <a:pt x="18998410" y="6560226"/>
                </a:lnTo>
                <a:cubicBezTo>
                  <a:pt x="19071410" y="6022981"/>
                  <a:pt x="18680766" y="5479810"/>
                  <a:pt x="18261646" y="5022270"/>
                </a:cubicBezTo>
                <a:cubicBezTo>
                  <a:pt x="17022690" y="4759439"/>
                  <a:pt x="15696104" y="4672474"/>
                  <a:pt x="14385738" y="4808195"/>
                </a:cubicBezTo>
                <a:cubicBezTo>
                  <a:pt x="13764185" y="4875200"/>
                  <a:pt x="13115098" y="5020855"/>
                  <a:pt x="12486354" y="5165033"/>
                </a:cubicBezTo>
                <a:moveTo>
                  <a:pt x="18962698" y="4628276"/>
                </a:moveTo>
                <a:cubicBezTo>
                  <a:pt x="19153850" y="4751848"/>
                  <a:pt x="19357590" y="4863537"/>
                  <a:pt x="19539460" y="4998269"/>
                </a:cubicBezTo>
                <a:cubicBezTo>
                  <a:pt x="18914556" y="4832621"/>
                  <a:pt x="18305540" y="4612024"/>
                  <a:pt x="17654520" y="4542992"/>
                </a:cubicBezTo>
                <a:moveTo>
                  <a:pt x="16758537" y="9334389"/>
                </a:moveTo>
                <a:cubicBezTo>
                  <a:pt x="16767978" y="9190557"/>
                  <a:pt x="16773642" y="9046490"/>
                  <a:pt x="16800072" y="8904700"/>
                </a:cubicBezTo>
                <a:moveTo>
                  <a:pt x="16758537" y="9334389"/>
                </a:moveTo>
                <a:lnTo>
                  <a:pt x="16726601" y="9818807"/>
                </a:lnTo>
                <a:moveTo>
                  <a:pt x="16758537" y="9334389"/>
                </a:moveTo>
                <a:lnTo>
                  <a:pt x="15474273" y="9250206"/>
                </a:lnTo>
                <a:moveTo>
                  <a:pt x="16726601" y="9818807"/>
                </a:moveTo>
                <a:lnTo>
                  <a:pt x="16694821" y="10303712"/>
                </a:lnTo>
                <a:lnTo>
                  <a:pt x="15410602" y="10219528"/>
                </a:lnTo>
                <a:moveTo>
                  <a:pt x="17267806" y="1579257"/>
                </a:moveTo>
                <a:lnTo>
                  <a:pt x="17236028" y="2063691"/>
                </a:lnTo>
                <a:moveTo>
                  <a:pt x="17267806" y="1579257"/>
                </a:moveTo>
                <a:lnTo>
                  <a:pt x="17299588" y="1094351"/>
                </a:lnTo>
                <a:moveTo>
                  <a:pt x="17267806" y="1579257"/>
                </a:moveTo>
                <a:lnTo>
                  <a:pt x="15983542" y="1495075"/>
                </a:lnTo>
                <a:moveTo>
                  <a:pt x="17236028" y="2063691"/>
                </a:moveTo>
                <a:lnTo>
                  <a:pt x="17204090" y="2548596"/>
                </a:lnTo>
                <a:moveTo>
                  <a:pt x="17236028" y="2063691"/>
                </a:moveTo>
                <a:lnTo>
                  <a:pt x="15951762" y="1979523"/>
                </a:lnTo>
                <a:moveTo>
                  <a:pt x="16799444" y="8904669"/>
                </a:moveTo>
                <a:cubicBezTo>
                  <a:pt x="16806208" y="8803479"/>
                  <a:pt x="16902020" y="8707648"/>
                  <a:pt x="16902020" y="8707648"/>
                </a:cubicBezTo>
                <a:cubicBezTo>
                  <a:pt x="17401064" y="8736600"/>
                  <a:pt x="17938966" y="8716811"/>
                  <a:pt x="18303180" y="8681872"/>
                </a:cubicBezTo>
                <a:moveTo>
                  <a:pt x="16799444" y="8904669"/>
                </a:moveTo>
                <a:lnTo>
                  <a:pt x="15487866" y="8816367"/>
                </a:lnTo>
                <a:moveTo>
                  <a:pt x="17204090" y="2548596"/>
                </a:moveTo>
                <a:lnTo>
                  <a:pt x="15919982" y="2464396"/>
                </a:lnTo>
                <a:moveTo>
                  <a:pt x="17172310" y="3033501"/>
                </a:moveTo>
                <a:lnTo>
                  <a:pt x="17140372" y="3517934"/>
                </a:lnTo>
                <a:moveTo>
                  <a:pt x="17140372" y="3517934"/>
                </a:moveTo>
                <a:lnTo>
                  <a:pt x="15856264" y="3433766"/>
                </a:lnTo>
                <a:moveTo>
                  <a:pt x="16726601" y="9818807"/>
                </a:moveTo>
                <a:lnTo>
                  <a:pt x="15442492" y="9734623"/>
                </a:lnTo>
                <a:moveTo>
                  <a:pt x="17204090" y="2548580"/>
                </a:moveTo>
                <a:lnTo>
                  <a:pt x="17172310" y="3033485"/>
                </a:lnTo>
                <a:lnTo>
                  <a:pt x="15888202" y="2949301"/>
                </a:lnTo>
                <a:moveTo>
                  <a:pt x="17402166" y="8385673"/>
                </a:moveTo>
                <a:cubicBezTo>
                  <a:pt x="17653260" y="8263326"/>
                  <a:pt x="17771570" y="8190160"/>
                  <a:pt x="18066716" y="7989305"/>
                </a:cubicBezTo>
                <a:cubicBezTo>
                  <a:pt x="18542318" y="7588065"/>
                  <a:pt x="18944448" y="7143900"/>
                  <a:pt x="18998254" y="6560697"/>
                </a:cubicBezTo>
                <a:moveTo>
                  <a:pt x="16901864" y="8707648"/>
                </a:moveTo>
                <a:cubicBezTo>
                  <a:pt x="16967942" y="8634813"/>
                  <a:pt x="17080274" y="8564539"/>
                  <a:pt x="17080274" y="8564539"/>
                </a:cubicBezTo>
                <a:cubicBezTo>
                  <a:pt x="17222026" y="8475483"/>
                  <a:pt x="17402166" y="8385201"/>
                  <a:pt x="17402166" y="8385201"/>
                </a:cubicBezTo>
                <a:moveTo>
                  <a:pt x="17200630" y="4158019"/>
                </a:moveTo>
                <a:cubicBezTo>
                  <a:pt x="17171838" y="4110489"/>
                  <a:pt x="17138798" y="4037748"/>
                  <a:pt x="17124954" y="3949321"/>
                </a:cubicBezTo>
                <a:moveTo>
                  <a:pt x="17140530" y="3517934"/>
                </a:moveTo>
                <a:cubicBezTo>
                  <a:pt x="17131562" y="3614268"/>
                  <a:pt x="17115514" y="3840963"/>
                  <a:pt x="17125426" y="3949352"/>
                </a:cubicBezTo>
                <a:moveTo>
                  <a:pt x="17201730" y="4158098"/>
                </a:moveTo>
                <a:cubicBezTo>
                  <a:pt x="17261516" y="4239657"/>
                  <a:pt x="17302262" y="4282802"/>
                  <a:pt x="17358742" y="4323196"/>
                </a:cubicBezTo>
                <a:cubicBezTo>
                  <a:pt x="16736670" y="4270652"/>
                  <a:pt x="16113494" y="4230729"/>
                  <a:pt x="15489707" y="4211020"/>
                </a:cubicBezTo>
                <a:moveTo>
                  <a:pt x="17654676" y="4542552"/>
                </a:moveTo>
                <a:cubicBezTo>
                  <a:pt x="17526770" y="4444772"/>
                  <a:pt x="17463050" y="4407663"/>
                  <a:pt x="17359372" y="4322756"/>
                </a:cubicBezTo>
                <a:moveTo>
                  <a:pt x="18261488" y="5022254"/>
                </a:moveTo>
                <a:cubicBezTo>
                  <a:pt x="18060580" y="4859467"/>
                  <a:pt x="17900422" y="4703092"/>
                  <a:pt x="17654520" y="4542536"/>
                </a:cubicBezTo>
                <a:moveTo>
                  <a:pt x="10846386" y="1158336"/>
                </a:moveTo>
                <a:lnTo>
                  <a:pt x="10814575" y="1642772"/>
                </a:lnTo>
                <a:moveTo>
                  <a:pt x="10846386" y="1158336"/>
                </a:moveTo>
                <a:lnTo>
                  <a:pt x="10878229" y="673426"/>
                </a:lnTo>
                <a:moveTo>
                  <a:pt x="10846386" y="1158336"/>
                </a:moveTo>
                <a:lnTo>
                  <a:pt x="9562215" y="1074149"/>
                </a:lnTo>
                <a:moveTo>
                  <a:pt x="10846386" y="1158336"/>
                </a:moveTo>
                <a:lnTo>
                  <a:pt x="12130541" y="1242500"/>
                </a:lnTo>
                <a:moveTo>
                  <a:pt x="10814575" y="1642772"/>
                </a:moveTo>
                <a:lnTo>
                  <a:pt x="10782701" y="2127677"/>
                </a:lnTo>
                <a:moveTo>
                  <a:pt x="10814575" y="1642772"/>
                </a:moveTo>
                <a:lnTo>
                  <a:pt x="12098730" y="1726956"/>
                </a:lnTo>
                <a:moveTo>
                  <a:pt x="10814575" y="1642772"/>
                </a:moveTo>
                <a:lnTo>
                  <a:pt x="9530388" y="1558589"/>
                </a:lnTo>
                <a:moveTo>
                  <a:pt x="10305289" y="9397889"/>
                </a:moveTo>
                <a:lnTo>
                  <a:pt x="10273446" y="9882778"/>
                </a:lnTo>
                <a:lnTo>
                  <a:pt x="8989260" y="9798610"/>
                </a:lnTo>
                <a:moveTo>
                  <a:pt x="10555692" y="5519827"/>
                </a:moveTo>
                <a:cubicBezTo>
                  <a:pt x="10544160" y="5695519"/>
                  <a:pt x="10517886" y="5844350"/>
                  <a:pt x="10507424" y="6003648"/>
                </a:cubicBezTo>
                <a:moveTo>
                  <a:pt x="10555614" y="5519341"/>
                </a:moveTo>
                <a:cubicBezTo>
                  <a:pt x="10555614" y="5519341"/>
                  <a:pt x="10567822" y="5399226"/>
                  <a:pt x="10575783" y="5277870"/>
                </a:cubicBezTo>
                <a:lnTo>
                  <a:pt x="10591688" y="5035661"/>
                </a:lnTo>
                <a:cubicBezTo>
                  <a:pt x="10832070" y="5051426"/>
                  <a:pt x="11198942" y="5080645"/>
                  <a:pt x="11548855" y="5027347"/>
                </a:cubicBezTo>
                <a:moveTo>
                  <a:pt x="10337085" y="8913455"/>
                </a:moveTo>
                <a:lnTo>
                  <a:pt x="10305258" y="9397889"/>
                </a:lnTo>
                <a:lnTo>
                  <a:pt x="9021087" y="9313705"/>
                </a:lnTo>
                <a:moveTo>
                  <a:pt x="10337085" y="8913455"/>
                </a:moveTo>
                <a:lnTo>
                  <a:pt x="10368913" y="8428566"/>
                </a:lnTo>
                <a:moveTo>
                  <a:pt x="10337085" y="8913455"/>
                </a:moveTo>
                <a:lnTo>
                  <a:pt x="9052883" y="8829287"/>
                </a:lnTo>
                <a:moveTo>
                  <a:pt x="10464347" y="6974794"/>
                </a:moveTo>
                <a:lnTo>
                  <a:pt x="10432536" y="7459228"/>
                </a:lnTo>
                <a:lnTo>
                  <a:pt x="9148365" y="7375059"/>
                </a:lnTo>
                <a:lnTo>
                  <a:pt x="9116522" y="7859965"/>
                </a:lnTo>
                <a:moveTo>
                  <a:pt x="10782731" y="2127662"/>
                </a:moveTo>
                <a:lnTo>
                  <a:pt x="10750888" y="2612551"/>
                </a:lnTo>
                <a:moveTo>
                  <a:pt x="10750888" y="2612551"/>
                </a:moveTo>
                <a:lnTo>
                  <a:pt x="12035043" y="2696735"/>
                </a:lnTo>
                <a:moveTo>
                  <a:pt x="10750888" y="2612551"/>
                </a:moveTo>
                <a:lnTo>
                  <a:pt x="9466717" y="2528383"/>
                </a:lnTo>
                <a:moveTo>
                  <a:pt x="10687250" y="3581905"/>
                </a:moveTo>
                <a:lnTo>
                  <a:pt x="10655422" y="4066339"/>
                </a:lnTo>
                <a:moveTo>
                  <a:pt x="10687250" y="3581905"/>
                </a:moveTo>
                <a:lnTo>
                  <a:pt x="10719077" y="3096984"/>
                </a:lnTo>
                <a:moveTo>
                  <a:pt x="10687250" y="3581905"/>
                </a:moveTo>
                <a:lnTo>
                  <a:pt x="9403063" y="3497721"/>
                </a:lnTo>
                <a:moveTo>
                  <a:pt x="10655422" y="4066339"/>
                </a:moveTo>
                <a:lnTo>
                  <a:pt x="9371251" y="3982155"/>
                </a:lnTo>
                <a:moveTo>
                  <a:pt x="10655422" y="4066339"/>
                </a:moveTo>
                <a:lnTo>
                  <a:pt x="11939593" y="4150506"/>
                </a:lnTo>
                <a:moveTo>
                  <a:pt x="10368881" y="8428566"/>
                </a:moveTo>
                <a:lnTo>
                  <a:pt x="10400693" y="7944132"/>
                </a:lnTo>
                <a:lnTo>
                  <a:pt x="11684864" y="8028316"/>
                </a:lnTo>
                <a:moveTo>
                  <a:pt x="10368881" y="8428566"/>
                </a:moveTo>
                <a:lnTo>
                  <a:pt x="11653068" y="8512733"/>
                </a:lnTo>
                <a:moveTo>
                  <a:pt x="10368881" y="8428566"/>
                </a:moveTo>
                <a:lnTo>
                  <a:pt x="9084726" y="8344382"/>
                </a:lnTo>
                <a:moveTo>
                  <a:pt x="10491817" y="6490549"/>
                </a:moveTo>
                <a:cubicBezTo>
                  <a:pt x="10491817" y="6490549"/>
                  <a:pt x="10488198" y="6611245"/>
                  <a:pt x="10480222" y="6732585"/>
                </a:cubicBezTo>
                <a:lnTo>
                  <a:pt x="10464317" y="6974794"/>
                </a:lnTo>
                <a:lnTo>
                  <a:pt x="9180145" y="6890626"/>
                </a:lnTo>
                <a:moveTo>
                  <a:pt x="10507361" y="6003632"/>
                </a:moveTo>
                <a:cubicBezTo>
                  <a:pt x="10493548" y="6213997"/>
                  <a:pt x="10503444" y="6314386"/>
                  <a:pt x="10491943" y="6489606"/>
                </a:cubicBezTo>
                <a:cubicBezTo>
                  <a:pt x="10491943" y="6489606"/>
                  <a:pt x="10353966" y="6480568"/>
                  <a:pt x="10163458" y="6468073"/>
                </a:cubicBezTo>
                <a:lnTo>
                  <a:pt x="9212005" y="6405705"/>
                </a:lnTo>
                <a:moveTo>
                  <a:pt x="10507361" y="6003632"/>
                </a:moveTo>
                <a:lnTo>
                  <a:pt x="9243879" y="5920832"/>
                </a:lnTo>
                <a:moveTo>
                  <a:pt x="10507361" y="6003632"/>
                </a:moveTo>
                <a:lnTo>
                  <a:pt x="11123456" y="6044043"/>
                </a:lnTo>
                <a:moveTo>
                  <a:pt x="10782701" y="2127677"/>
                </a:moveTo>
                <a:lnTo>
                  <a:pt x="12066887" y="2211845"/>
                </a:lnTo>
                <a:moveTo>
                  <a:pt x="10782701" y="2127677"/>
                </a:moveTo>
                <a:lnTo>
                  <a:pt x="9498529" y="2043493"/>
                </a:lnTo>
                <a:moveTo>
                  <a:pt x="10750841" y="2612582"/>
                </a:moveTo>
                <a:lnTo>
                  <a:pt x="10719029" y="3097016"/>
                </a:lnTo>
                <a:lnTo>
                  <a:pt x="9434859" y="3012832"/>
                </a:lnTo>
                <a:moveTo>
                  <a:pt x="10623563" y="4551244"/>
                </a:moveTo>
                <a:lnTo>
                  <a:pt x="10591752" y="5035661"/>
                </a:lnTo>
                <a:lnTo>
                  <a:pt x="9307550" y="4951493"/>
                </a:lnTo>
                <a:lnTo>
                  <a:pt x="9275706" y="5436398"/>
                </a:lnTo>
                <a:moveTo>
                  <a:pt x="10623563" y="4551244"/>
                </a:moveTo>
                <a:lnTo>
                  <a:pt x="10655390" y="4066339"/>
                </a:lnTo>
                <a:moveTo>
                  <a:pt x="10623563" y="4551244"/>
                </a:moveTo>
                <a:lnTo>
                  <a:pt x="9339392" y="4467060"/>
                </a:lnTo>
                <a:moveTo>
                  <a:pt x="10432504" y="7459228"/>
                </a:moveTo>
                <a:lnTo>
                  <a:pt x="10400662" y="7944132"/>
                </a:lnTo>
                <a:lnTo>
                  <a:pt x="9116475" y="7859949"/>
                </a:lnTo>
                <a:moveTo>
                  <a:pt x="5662142" y="1780254"/>
                </a:moveTo>
                <a:cubicBezTo>
                  <a:pt x="5661451" y="2001826"/>
                  <a:pt x="5657045" y="2068815"/>
                  <a:pt x="5658194" y="2262267"/>
                </a:cubicBezTo>
                <a:moveTo>
                  <a:pt x="5662142" y="1780254"/>
                </a:moveTo>
                <a:cubicBezTo>
                  <a:pt x="5366902" y="1715262"/>
                  <a:pt x="4894730" y="1114507"/>
                  <a:pt x="4402830" y="1082261"/>
                </a:cubicBezTo>
                <a:moveTo>
                  <a:pt x="5662142" y="1780254"/>
                </a:moveTo>
                <a:cubicBezTo>
                  <a:pt x="5753786" y="1805088"/>
                  <a:pt x="6336921" y="1836241"/>
                  <a:pt x="6479129" y="1845561"/>
                </a:cubicBezTo>
                <a:lnTo>
                  <a:pt x="6930187" y="1875142"/>
                </a:lnTo>
                <a:moveTo>
                  <a:pt x="5658194" y="2262267"/>
                </a:moveTo>
                <a:cubicBezTo>
                  <a:pt x="5209165" y="2055926"/>
                  <a:pt x="4912304" y="1707105"/>
                  <a:pt x="4366723" y="1631817"/>
                </a:cubicBezTo>
                <a:moveTo>
                  <a:pt x="5658194" y="2262267"/>
                </a:moveTo>
                <a:cubicBezTo>
                  <a:pt x="5740618" y="2281333"/>
                  <a:pt x="5827447" y="2289821"/>
                  <a:pt x="5911822" y="2295353"/>
                </a:cubicBezTo>
                <a:lnTo>
                  <a:pt x="6898297" y="2360015"/>
                </a:lnTo>
                <a:lnTo>
                  <a:pt x="6930156" y="1875126"/>
                </a:lnTo>
                <a:moveTo>
                  <a:pt x="5455005" y="4698958"/>
                </a:moveTo>
                <a:lnTo>
                  <a:pt x="5486817" y="4214524"/>
                </a:lnTo>
                <a:lnTo>
                  <a:pt x="6771003" y="4298708"/>
                </a:lnTo>
                <a:moveTo>
                  <a:pt x="5455005" y="4698958"/>
                </a:moveTo>
                <a:lnTo>
                  <a:pt x="6739176" y="4783142"/>
                </a:lnTo>
                <a:moveTo>
                  <a:pt x="5455005" y="4698958"/>
                </a:moveTo>
                <a:lnTo>
                  <a:pt x="5254428" y="4685802"/>
                </a:lnTo>
                <a:cubicBezTo>
                  <a:pt x="4865467" y="4660308"/>
                  <a:pt x="4587831" y="4887224"/>
                  <a:pt x="4154818" y="4858838"/>
                </a:cubicBezTo>
                <a:moveTo>
                  <a:pt x="5455005" y="4698958"/>
                </a:moveTo>
                <a:lnTo>
                  <a:pt x="5391335" y="5668281"/>
                </a:lnTo>
                <a:lnTo>
                  <a:pt x="4107179" y="5584097"/>
                </a:lnTo>
                <a:moveTo>
                  <a:pt x="5200355" y="8576736"/>
                </a:moveTo>
                <a:lnTo>
                  <a:pt x="5168543" y="9061169"/>
                </a:lnTo>
                <a:lnTo>
                  <a:pt x="3884356" y="8976986"/>
                </a:lnTo>
                <a:moveTo>
                  <a:pt x="5200355" y="8576736"/>
                </a:moveTo>
                <a:lnTo>
                  <a:pt x="5232197" y="8091847"/>
                </a:lnTo>
                <a:moveTo>
                  <a:pt x="5200355" y="8576736"/>
                </a:moveTo>
                <a:lnTo>
                  <a:pt x="3916184" y="8492568"/>
                </a:lnTo>
                <a:moveTo>
                  <a:pt x="5658225" y="2262283"/>
                </a:moveTo>
                <a:cubicBezTo>
                  <a:pt x="5658194" y="2449087"/>
                  <a:pt x="5652908" y="2602602"/>
                  <a:pt x="5637521" y="2763912"/>
                </a:cubicBezTo>
                <a:lnTo>
                  <a:pt x="6866517" y="2844465"/>
                </a:lnTo>
                <a:moveTo>
                  <a:pt x="5592415" y="3263937"/>
                </a:moveTo>
                <a:cubicBezTo>
                  <a:pt x="5613214" y="3060614"/>
                  <a:pt x="5631338" y="2930534"/>
                  <a:pt x="5637489" y="2763896"/>
                </a:cubicBezTo>
                <a:lnTo>
                  <a:pt x="4298128" y="2676113"/>
                </a:lnTo>
                <a:moveTo>
                  <a:pt x="5592415" y="3263937"/>
                </a:moveTo>
                <a:cubicBezTo>
                  <a:pt x="5579797" y="3456022"/>
                  <a:pt x="5550314" y="3580648"/>
                  <a:pt x="5533291" y="3742335"/>
                </a:cubicBezTo>
                <a:moveTo>
                  <a:pt x="5592415" y="3263937"/>
                </a:moveTo>
                <a:cubicBezTo>
                  <a:pt x="5662882" y="3261957"/>
                  <a:pt x="5679433" y="3253171"/>
                  <a:pt x="5848183" y="3264220"/>
                </a:cubicBezTo>
                <a:lnTo>
                  <a:pt x="6834674" y="3328898"/>
                </a:lnTo>
                <a:moveTo>
                  <a:pt x="5709640" y="821626"/>
                </a:moveTo>
                <a:lnTo>
                  <a:pt x="5677828" y="1306056"/>
                </a:lnTo>
                <a:lnTo>
                  <a:pt x="5622638" y="1302440"/>
                </a:lnTo>
                <a:cubicBezTo>
                  <a:pt x="5587616" y="1300143"/>
                  <a:pt x="5549244" y="1283984"/>
                  <a:pt x="5501527" y="1263917"/>
                </a:cubicBezTo>
                <a:cubicBezTo>
                  <a:pt x="5167678" y="1064647"/>
                  <a:pt x="4864665" y="809525"/>
                  <a:pt x="4424446" y="752908"/>
                </a:cubicBezTo>
                <a:moveTo>
                  <a:pt x="5709640" y="821626"/>
                </a:moveTo>
                <a:lnTo>
                  <a:pt x="5741483" y="336712"/>
                </a:lnTo>
                <a:moveTo>
                  <a:pt x="5709640" y="821626"/>
                </a:moveTo>
                <a:lnTo>
                  <a:pt x="5509063" y="808462"/>
                </a:lnTo>
                <a:cubicBezTo>
                  <a:pt x="5146092" y="784671"/>
                  <a:pt x="4841081" y="519528"/>
                  <a:pt x="4441500" y="493335"/>
                </a:cubicBezTo>
                <a:moveTo>
                  <a:pt x="5136715" y="9546074"/>
                </a:moveTo>
                <a:lnTo>
                  <a:pt x="5168575" y="9061169"/>
                </a:lnTo>
                <a:moveTo>
                  <a:pt x="5136715" y="9546074"/>
                </a:moveTo>
                <a:lnTo>
                  <a:pt x="6420871" y="9630242"/>
                </a:lnTo>
                <a:lnTo>
                  <a:pt x="6452730" y="9145353"/>
                </a:lnTo>
                <a:lnTo>
                  <a:pt x="7736885" y="9229521"/>
                </a:lnTo>
                <a:moveTo>
                  <a:pt x="5136715" y="9546074"/>
                </a:moveTo>
                <a:lnTo>
                  <a:pt x="3852544" y="9461890"/>
                </a:lnTo>
                <a:moveTo>
                  <a:pt x="5486801" y="4214981"/>
                </a:moveTo>
                <a:lnTo>
                  <a:pt x="5491773" y="4139080"/>
                </a:lnTo>
                <a:cubicBezTo>
                  <a:pt x="5493283" y="4116132"/>
                  <a:pt x="5495548" y="4089931"/>
                  <a:pt x="5497892" y="4062315"/>
                </a:cubicBezTo>
                <a:cubicBezTo>
                  <a:pt x="5510605" y="3957761"/>
                  <a:pt x="5519840" y="3817198"/>
                  <a:pt x="5533276" y="3742335"/>
                </a:cubicBezTo>
                <a:cubicBezTo>
                  <a:pt x="5084168" y="3869569"/>
                  <a:pt x="4743051" y="4283855"/>
                  <a:pt x="4193442" y="4269945"/>
                </a:cubicBezTo>
                <a:moveTo>
                  <a:pt x="5327633" y="6638091"/>
                </a:moveTo>
                <a:lnTo>
                  <a:pt x="5359476" y="6153186"/>
                </a:lnTo>
                <a:lnTo>
                  <a:pt x="6643678" y="6237369"/>
                </a:lnTo>
                <a:moveTo>
                  <a:pt x="5327633" y="6638091"/>
                </a:moveTo>
                <a:lnTo>
                  <a:pt x="5295821" y="7122508"/>
                </a:lnTo>
                <a:moveTo>
                  <a:pt x="5327633" y="6638091"/>
                </a:moveTo>
                <a:lnTo>
                  <a:pt x="6611819" y="6722259"/>
                </a:lnTo>
                <a:moveTo>
                  <a:pt x="5327633" y="6638091"/>
                </a:moveTo>
                <a:lnTo>
                  <a:pt x="4043446" y="6553891"/>
                </a:lnTo>
                <a:moveTo>
                  <a:pt x="5295821" y="7122508"/>
                </a:moveTo>
                <a:lnTo>
                  <a:pt x="4011634" y="7038325"/>
                </a:lnTo>
                <a:moveTo>
                  <a:pt x="5295821" y="7122508"/>
                </a:moveTo>
                <a:lnTo>
                  <a:pt x="6579992" y="7206692"/>
                </a:lnTo>
                <a:moveTo>
                  <a:pt x="5391303" y="5668281"/>
                </a:moveTo>
                <a:lnTo>
                  <a:pt x="5359460" y="6153186"/>
                </a:lnTo>
                <a:lnTo>
                  <a:pt x="4075304" y="6069002"/>
                </a:lnTo>
                <a:moveTo>
                  <a:pt x="5676774" y="1305997"/>
                </a:moveTo>
                <a:cubicBezTo>
                  <a:pt x="5669647" y="1463154"/>
                  <a:pt x="5653285" y="1622999"/>
                  <a:pt x="5661592" y="1780223"/>
                </a:cubicBezTo>
                <a:moveTo>
                  <a:pt x="5295774" y="7122508"/>
                </a:moveTo>
                <a:lnTo>
                  <a:pt x="5263931" y="7607414"/>
                </a:lnTo>
                <a:lnTo>
                  <a:pt x="3979775" y="7523230"/>
                </a:lnTo>
                <a:moveTo>
                  <a:pt x="1666131" y="3477068"/>
                </a:moveTo>
                <a:lnTo>
                  <a:pt x="1697943" y="2992651"/>
                </a:lnTo>
                <a:moveTo>
                  <a:pt x="1666131" y="3477068"/>
                </a:moveTo>
                <a:lnTo>
                  <a:pt x="1634272" y="3961989"/>
                </a:lnTo>
                <a:moveTo>
                  <a:pt x="1666131" y="3477068"/>
                </a:moveTo>
                <a:lnTo>
                  <a:pt x="381954" y="3392900"/>
                </a:lnTo>
                <a:moveTo>
                  <a:pt x="1666131" y="3477068"/>
                </a:moveTo>
                <a:lnTo>
                  <a:pt x="2652607" y="3541731"/>
                </a:lnTo>
                <a:cubicBezTo>
                  <a:pt x="2687093" y="3543994"/>
                  <a:pt x="2872724" y="3549574"/>
                  <a:pt x="2934679" y="3571987"/>
                </a:cubicBezTo>
                <a:moveTo>
                  <a:pt x="1697943" y="2992651"/>
                </a:moveTo>
                <a:lnTo>
                  <a:pt x="1729801" y="2507730"/>
                </a:lnTo>
                <a:moveTo>
                  <a:pt x="1697943" y="2992651"/>
                </a:moveTo>
                <a:lnTo>
                  <a:pt x="403160" y="2907760"/>
                </a:lnTo>
                <a:moveTo>
                  <a:pt x="1602492" y="4446422"/>
                </a:moveTo>
                <a:lnTo>
                  <a:pt x="1634304" y="3961989"/>
                </a:lnTo>
                <a:moveTo>
                  <a:pt x="1602492" y="4446422"/>
                </a:moveTo>
                <a:lnTo>
                  <a:pt x="2886663" y="4530606"/>
                </a:lnTo>
                <a:moveTo>
                  <a:pt x="1602492" y="4446422"/>
                </a:moveTo>
                <a:lnTo>
                  <a:pt x="318315" y="4362239"/>
                </a:lnTo>
                <a:moveTo>
                  <a:pt x="1347818" y="8324201"/>
                </a:moveTo>
                <a:lnTo>
                  <a:pt x="1379664" y="7839312"/>
                </a:lnTo>
                <a:moveTo>
                  <a:pt x="1347818" y="8324201"/>
                </a:moveTo>
                <a:lnTo>
                  <a:pt x="2631997" y="8408384"/>
                </a:lnTo>
                <a:lnTo>
                  <a:pt x="2663840" y="7923495"/>
                </a:lnTo>
                <a:moveTo>
                  <a:pt x="1347818" y="8324201"/>
                </a:moveTo>
                <a:lnTo>
                  <a:pt x="63640" y="8240033"/>
                </a:lnTo>
                <a:moveTo>
                  <a:pt x="1411411" y="7354878"/>
                </a:moveTo>
                <a:lnTo>
                  <a:pt x="1443258" y="6869973"/>
                </a:lnTo>
                <a:lnTo>
                  <a:pt x="2727447" y="6954157"/>
                </a:lnTo>
                <a:moveTo>
                  <a:pt x="1411411" y="7354878"/>
                </a:moveTo>
                <a:lnTo>
                  <a:pt x="1379615" y="7839312"/>
                </a:lnTo>
                <a:moveTo>
                  <a:pt x="1411411" y="7354878"/>
                </a:moveTo>
                <a:lnTo>
                  <a:pt x="127234" y="7270695"/>
                </a:lnTo>
                <a:moveTo>
                  <a:pt x="1793456" y="1538423"/>
                </a:moveTo>
                <a:lnTo>
                  <a:pt x="1825315" y="1053519"/>
                </a:lnTo>
                <a:moveTo>
                  <a:pt x="1793456" y="1538423"/>
                </a:moveTo>
                <a:lnTo>
                  <a:pt x="509285" y="1454241"/>
                </a:lnTo>
                <a:moveTo>
                  <a:pt x="1793456" y="1538423"/>
                </a:moveTo>
                <a:lnTo>
                  <a:pt x="2244530" y="1567988"/>
                </a:lnTo>
                <a:cubicBezTo>
                  <a:pt x="2787908" y="1603604"/>
                  <a:pt x="2932571" y="1632399"/>
                  <a:pt x="3063877" y="1613223"/>
                </a:cubicBezTo>
                <a:moveTo>
                  <a:pt x="1825315" y="1053519"/>
                </a:moveTo>
                <a:lnTo>
                  <a:pt x="1857095" y="569070"/>
                </a:lnTo>
                <a:moveTo>
                  <a:pt x="1825315" y="1053519"/>
                </a:moveTo>
                <a:lnTo>
                  <a:pt x="541117" y="969340"/>
                </a:lnTo>
                <a:moveTo>
                  <a:pt x="1315958" y="8808634"/>
                </a:moveTo>
                <a:lnTo>
                  <a:pt x="1284111" y="9293539"/>
                </a:lnTo>
                <a:lnTo>
                  <a:pt x="2568295" y="9377707"/>
                </a:lnTo>
                <a:moveTo>
                  <a:pt x="1538806" y="5415746"/>
                </a:moveTo>
                <a:lnTo>
                  <a:pt x="1570617" y="4931312"/>
                </a:lnTo>
                <a:moveTo>
                  <a:pt x="1538806" y="5415746"/>
                </a:moveTo>
                <a:lnTo>
                  <a:pt x="1506961" y="5900650"/>
                </a:lnTo>
                <a:moveTo>
                  <a:pt x="1538806" y="5415746"/>
                </a:moveTo>
                <a:lnTo>
                  <a:pt x="254622" y="5331577"/>
                </a:lnTo>
                <a:moveTo>
                  <a:pt x="1570617" y="4931312"/>
                </a:moveTo>
                <a:lnTo>
                  <a:pt x="1602461" y="4446407"/>
                </a:lnTo>
                <a:moveTo>
                  <a:pt x="1570617" y="4931312"/>
                </a:moveTo>
                <a:lnTo>
                  <a:pt x="286431" y="4847128"/>
                </a:lnTo>
                <a:moveTo>
                  <a:pt x="1729786" y="2507761"/>
                </a:moveTo>
                <a:lnTo>
                  <a:pt x="1761597" y="2023328"/>
                </a:lnTo>
                <a:cubicBezTo>
                  <a:pt x="1979166" y="2037584"/>
                  <a:pt x="2196718" y="2051840"/>
                  <a:pt x="2414287" y="2066111"/>
                </a:cubicBezTo>
                <a:cubicBezTo>
                  <a:pt x="2523063" y="2073247"/>
                  <a:pt x="2631855" y="2080367"/>
                  <a:pt x="2740663" y="2087031"/>
                </a:cubicBezTo>
                <a:cubicBezTo>
                  <a:pt x="2822914" y="2092423"/>
                  <a:pt x="2923603" y="2109382"/>
                  <a:pt x="3004360" y="2088776"/>
                </a:cubicBezTo>
                <a:moveTo>
                  <a:pt x="1729786" y="2507761"/>
                </a:moveTo>
                <a:lnTo>
                  <a:pt x="2958782" y="2588330"/>
                </a:lnTo>
                <a:moveTo>
                  <a:pt x="1729786" y="2507761"/>
                </a:moveTo>
                <a:lnTo>
                  <a:pt x="434989" y="2422886"/>
                </a:lnTo>
                <a:moveTo>
                  <a:pt x="1475135" y="6385540"/>
                </a:moveTo>
                <a:lnTo>
                  <a:pt x="1443319" y="6869973"/>
                </a:lnTo>
                <a:lnTo>
                  <a:pt x="159142" y="6785789"/>
                </a:lnTo>
                <a:moveTo>
                  <a:pt x="1475135" y="6385540"/>
                </a:moveTo>
                <a:lnTo>
                  <a:pt x="1506961" y="5900650"/>
                </a:lnTo>
                <a:moveTo>
                  <a:pt x="1475135" y="6385540"/>
                </a:moveTo>
                <a:lnTo>
                  <a:pt x="190938" y="6301372"/>
                </a:lnTo>
                <a:moveTo>
                  <a:pt x="1857095" y="569070"/>
                </a:moveTo>
                <a:lnTo>
                  <a:pt x="1888954" y="84169"/>
                </a:lnTo>
                <a:moveTo>
                  <a:pt x="1857095" y="569070"/>
                </a:moveTo>
                <a:lnTo>
                  <a:pt x="3141266" y="653251"/>
                </a:lnTo>
                <a:lnTo>
                  <a:pt x="3173109" y="168350"/>
                </a:lnTo>
                <a:moveTo>
                  <a:pt x="1857095" y="569070"/>
                </a:moveTo>
                <a:lnTo>
                  <a:pt x="572924" y="484891"/>
                </a:lnTo>
                <a:moveTo>
                  <a:pt x="1379615" y="7839312"/>
                </a:moveTo>
                <a:lnTo>
                  <a:pt x="95437" y="7755128"/>
                </a:lnTo>
                <a:moveTo>
                  <a:pt x="1379615" y="7839312"/>
                </a:moveTo>
                <a:lnTo>
                  <a:pt x="2663793" y="7923495"/>
                </a:lnTo>
                <a:moveTo>
                  <a:pt x="1634272" y="3961989"/>
                </a:moveTo>
                <a:lnTo>
                  <a:pt x="2918475" y="4046173"/>
                </a:lnTo>
                <a:moveTo>
                  <a:pt x="1634272" y="3961989"/>
                </a:moveTo>
                <a:lnTo>
                  <a:pt x="350101" y="3877805"/>
                </a:lnTo>
                <a:moveTo>
                  <a:pt x="1506961" y="5900650"/>
                </a:moveTo>
                <a:lnTo>
                  <a:pt x="222779" y="5816467"/>
                </a:lnTo>
                <a:moveTo>
                  <a:pt x="1506961" y="5900650"/>
                </a:moveTo>
                <a:lnTo>
                  <a:pt x="2791118" y="5984834"/>
                </a:lnTo>
                <a:moveTo>
                  <a:pt x="1793441" y="1538407"/>
                </a:moveTo>
                <a:lnTo>
                  <a:pt x="1761597" y="2023296"/>
                </a:lnTo>
                <a:lnTo>
                  <a:pt x="477423" y="1939128"/>
                </a:lnTo>
                <a:moveTo>
                  <a:pt x="1347747" y="8324185"/>
                </a:moveTo>
                <a:lnTo>
                  <a:pt x="1315932" y="8808618"/>
                </a:lnTo>
                <a:lnTo>
                  <a:pt x="31754" y="8724434"/>
                </a:lnTo>
                <a:moveTo>
                  <a:pt x="2918475" y="4046173"/>
                </a:moveTo>
                <a:lnTo>
                  <a:pt x="2886663" y="4530606"/>
                </a:lnTo>
                <a:moveTo>
                  <a:pt x="2918475" y="4046173"/>
                </a:moveTo>
                <a:lnTo>
                  <a:pt x="2923446" y="3970272"/>
                </a:lnTo>
                <a:cubicBezTo>
                  <a:pt x="2936268" y="3774918"/>
                  <a:pt x="2932414" y="3696062"/>
                  <a:pt x="2934176" y="3571956"/>
                </a:cubicBezTo>
                <a:moveTo>
                  <a:pt x="2886663" y="4530606"/>
                </a:moveTo>
                <a:lnTo>
                  <a:pt x="3087240" y="4543731"/>
                </a:lnTo>
                <a:cubicBezTo>
                  <a:pt x="3444909" y="4575182"/>
                  <a:pt x="3702171" y="4829179"/>
                  <a:pt x="4154818" y="4858838"/>
                </a:cubicBezTo>
                <a:moveTo>
                  <a:pt x="2958782" y="2588330"/>
                </a:moveTo>
                <a:cubicBezTo>
                  <a:pt x="2969276" y="2428560"/>
                  <a:pt x="2978479" y="2288484"/>
                  <a:pt x="3003841" y="2088289"/>
                </a:cubicBezTo>
                <a:cubicBezTo>
                  <a:pt x="3030382" y="1960174"/>
                  <a:pt x="3042701" y="1772757"/>
                  <a:pt x="3062980" y="1609875"/>
                </a:cubicBezTo>
                <a:moveTo>
                  <a:pt x="2958782" y="2588330"/>
                </a:moveTo>
                <a:cubicBezTo>
                  <a:pt x="2949578" y="2728406"/>
                  <a:pt x="2947659" y="2895295"/>
                  <a:pt x="2938062" y="3089943"/>
                </a:cubicBezTo>
                <a:cubicBezTo>
                  <a:pt x="3368746" y="3299789"/>
                  <a:pt x="3715591" y="3698954"/>
                  <a:pt x="4229533" y="3720409"/>
                </a:cubicBezTo>
                <a:lnTo>
                  <a:pt x="4298128" y="2676113"/>
                </a:lnTo>
                <a:moveTo>
                  <a:pt x="2958782" y="2588330"/>
                </a:moveTo>
                <a:lnTo>
                  <a:pt x="4298128" y="2676113"/>
                </a:lnTo>
                <a:moveTo>
                  <a:pt x="3141329" y="653273"/>
                </a:moveTo>
                <a:lnTo>
                  <a:pt x="3109502" y="1137705"/>
                </a:lnTo>
                <a:moveTo>
                  <a:pt x="3109502" y="1137705"/>
                </a:moveTo>
                <a:cubicBezTo>
                  <a:pt x="3109502" y="1137705"/>
                  <a:pt x="3091236" y="1415528"/>
                  <a:pt x="3063043" y="1609891"/>
                </a:cubicBezTo>
                <a:cubicBezTo>
                  <a:pt x="3310976" y="1583784"/>
                  <a:pt x="3894456" y="1048938"/>
                  <a:pt x="4402830" y="1082261"/>
                </a:cubicBezTo>
                <a:moveTo>
                  <a:pt x="3109502" y="1137705"/>
                </a:moveTo>
                <a:lnTo>
                  <a:pt x="1825331" y="1053526"/>
                </a:lnTo>
                <a:moveTo>
                  <a:pt x="2938125" y="3089943"/>
                </a:moveTo>
                <a:cubicBezTo>
                  <a:pt x="2947360" y="3225115"/>
                  <a:pt x="2935057" y="3412516"/>
                  <a:pt x="2934176" y="3571956"/>
                </a:cubicBezTo>
                <a:moveTo>
                  <a:pt x="2934176" y="3571956"/>
                </a:moveTo>
                <a:cubicBezTo>
                  <a:pt x="3410281" y="3796089"/>
                  <a:pt x="3681781" y="4214289"/>
                  <a:pt x="4193489" y="4269945"/>
                </a:cubicBezTo>
                <a:lnTo>
                  <a:pt x="4229580" y="3720393"/>
                </a:lnTo>
                <a:moveTo>
                  <a:pt x="2854836" y="5015496"/>
                </a:moveTo>
                <a:lnTo>
                  <a:pt x="2823024" y="5499929"/>
                </a:lnTo>
                <a:moveTo>
                  <a:pt x="2854836" y="5015496"/>
                </a:moveTo>
                <a:lnTo>
                  <a:pt x="2886695" y="4530606"/>
                </a:lnTo>
                <a:moveTo>
                  <a:pt x="2854836" y="5015496"/>
                </a:moveTo>
                <a:lnTo>
                  <a:pt x="1570665" y="4931328"/>
                </a:lnTo>
                <a:moveTo>
                  <a:pt x="2823024" y="5499929"/>
                </a:moveTo>
                <a:lnTo>
                  <a:pt x="4107179" y="5584097"/>
                </a:lnTo>
                <a:moveTo>
                  <a:pt x="2823024" y="5499929"/>
                </a:moveTo>
                <a:lnTo>
                  <a:pt x="1538853" y="5415746"/>
                </a:lnTo>
                <a:moveTo>
                  <a:pt x="2663793" y="7923495"/>
                </a:moveTo>
                <a:lnTo>
                  <a:pt x="2695604" y="7439062"/>
                </a:lnTo>
                <a:lnTo>
                  <a:pt x="3979775" y="7523230"/>
                </a:lnTo>
                <a:moveTo>
                  <a:pt x="2663793" y="7923495"/>
                </a:moveTo>
                <a:lnTo>
                  <a:pt x="3947948" y="8007663"/>
                </a:lnTo>
                <a:lnTo>
                  <a:pt x="3979775" y="7523230"/>
                </a:lnTo>
                <a:moveTo>
                  <a:pt x="2568295" y="9377707"/>
                </a:moveTo>
                <a:lnTo>
                  <a:pt x="2600138" y="8892802"/>
                </a:lnTo>
                <a:lnTo>
                  <a:pt x="3884340" y="8976986"/>
                </a:lnTo>
                <a:lnTo>
                  <a:pt x="3916152" y="8492552"/>
                </a:lnTo>
                <a:moveTo>
                  <a:pt x="2568295" y="9377707"/>
                </a:moveTo>
                <a:lnTo>
                  <a:pt x="3852450" y="9461875"/>
                </a:lnTo>
                <a:lnTo>
                  <a:pt x="3884293" y="8976986"/>
                </a:lnTo>
                <a:moveTo>
                  <a:pt x="2822961" y="5499929"/>
                </a:moveTo>
                <a:lnTo>
                  <a:pt x="2791118" y="5984834"/>
                </a:lnTo>
                <a:moveTo>
                  <a:pt x="2791118" y="5984834"/>
                </a:moveTo>
                <a:lnTo>
                  <a:pt x="2759275" y="6469723"/>
                </a:lnTo>
                <a:moveTo>
                  <a:pt x="2791118" y="5984834"/>
                </a:moveTo>
                <a:lnTo>
                  <a:pt x="4075304" y="6069002"/>
                </a:lnTo>
                <a:moveTo>
                  <a:pt x="2759275" y="6469723"/>
                </a:moveTo>
                <a:lnTo>
                  <a:pt x="2727447" y="6954157"/>
                </a:lnTo>
                <a:moveTo>
                  <a:pt x="2759275" y="6469723"/>
                </a:moveTo>
                <a:lnTo>
                  <a:pt x="1475099" y="6385555"/>
                </a:lnTo>
                <a:moveTo>
                  <a:pt x="2759275" y="6469723"/>
                </a:moveTo>
                <a:lnTo>
                  <a:pt x="4043446" y="6553891"/>
                </a:lnTo>
                <a:moveTo>
                  <a:pt x="2727479" y="6954157"/>
                </a:moveTo>
                <a:lnTo>
                  <a:pt x="2695636" y="7439062"/>
                </a:lnTo>
                <a:lnTo>
                  <a:pt x="1411460" y="7354878"/>
                </a:lnTo>
                <a:moveTo>
                  <a:pt x="2727447" y="6954157"/>
                </a:moveTo>
                <a:lnTo>
                  <a:pt x="4011634" y="7038325"/>
                </a:lnTo>
                <a:moveTo>
                  <a:pt x="4298128" y="2676113"/>
                </a:moveTo>
                <a:lnTo>
                  <a:pt x="4366723" y="1631817"/>
                </a:lnTo>
                <a:moveTo>
                  <a:pt x="4043446" y="6553891"/>
                </a:moveTo>
                <a:lnTo>
                  <a:pt x="4011634" y="7038325"/>
                </a:lnTo>
                <a:moveTo>
                  <a:pt x="4043446" y="6553891"/>
                </a:moveTo>
                <a:lnTo>
                  <a:pt x="4075304" y="6069002"/>
                </a:lnTo>
                <a:moveTo>
                  <a:pt x="4011634" y="7038325"/>
                </a:moveTo>
                <a:lnTo>
                  <a:pt x="3979775" y="7523230"/>
                </a:lnTo>
                <a:moveTo>
                  <a:pt x="4457312" y="252523"/>
                </a:moveTo>
                <a:lnTo>
                  <a:pt x="4441500" y="493335"/>
                </a:lnTo>
                <a:moveTo>
                  <a:pt x="4441500" y="493335"/>
                </a:moveTo>
                <a:cubicBezTo>
                  <a:pt x="3970288" y="462446"/>
                  <a:pt x="3762176" y="693947"/>
                  <a:pt x="3341890" y="666397"/>
                </a:cubicBezTo>
                <a:lnTo>
                  <a:pt x="3141314" y="653248"/>
                </a:lnTo>
                <a:moveTo>
                  <a:pt x="4193505" y="4269945"/>
                </a:moveTo>
                <a:lnTo>
                  <a:pt x="4171904" y="4598837"/>
                </a:lnTo>
                <a:moveTo>
                  <a:pt x="4402830" y="1082261"/>
                </a:moveTo>
                <a:lnTo>
                  <a:pt x="4424415" y="753372"/>
                </a:lnTo>
                <a:cubicBezTo>
                  <a:pt x="4004680" y="725857"/>
                  <a:pt x="3684204" y="972102"/>
                  <a:pt x="3289752" y="1119395"/>
                </a:cubicBezTo>
                <a:cubicBezTo>
                  <a:pt x="3220355" y="1145431"/>
                  <a:pt x="3109439" y="1138162"/>
                  <a:pt x="3109439" y="1138162"/>
                </a:cubicBezTo>
                <a:moveTo>
                  <a:pt x="4366723" y="1631817"/>
                </a:moveTo>
                <a:cubicBezTo>
                  <a:pt x="3854086" y="1590684"/>
                  <a:pt x="3461082" y="1894286"/>
                  <a:pt x="3003872" y="2088273"/>
                </a:cubicBezTo>
                <a:moveTo>
                  <a:pt x="4402766" y="1082272"/>
                </a:moveTo>
                <a:lnTo>
                  <a:pt x="4366676" y="1631817"/>
                </a:lnTo>
                <a:moveTo>
                  <a:pt x="4107148" y="5584097"/>
                </a:moveTo>
                <a:lnTo>
                  <a:pt x="4075304" y="6069002"/>
                </a:lnTo>
                <a:moveTo>
                  <a:pt x="4136254" y="5141363"/>
                </a:moveTo>
                <a:lnTo>
                  <a:pt x="4107179" y="5584097"/>
                </a:lnTo>
                <a:moveTo>
                  <a:pt x="4136254" y="5141363"/>
                </a:moveTo>
                <a:lnTo>
                  <a:pt x="4154818" y="4858838"/>
                </a:lnTo>
                <a:moveTo>
                  <a:pt x="4136254" y="5141363"/>
                </a:moveTo>
                <a:cubicBezTo>
                  <a:pt x="4432360" y="5160774"/>
                  <a:pt x="4743963" y="5139303"/>
                  <a:pt x="4901023" y="5149598"/>
                </a:cubicBezTo>
                <a:lnTo>
                  <a:pt x="5423193" y="5183816"/>
                </a:lnTo>
                <a:moveTo>
                  <a:pt x="4136254" y="5141363"/>
                </a:moveTo>
                <a:cubicBezTo>
                  <a:pt x="3793987" y="5118934"/>
                  <a:pt x="3618063" y="5071136"/>
                  <a:pt x="3509586" y="5059317"/>
                </a:cubicBezTo>
                <a:cubicBezTo>
                  <a:pt x="3292143" y="5035174"/>
                  <a:pt x="3072923" y="5029751"/>
                  <a:pt x="2854836" y="5015464"/>
                </a:cubicBezTo>
                <a:moveTo>
                  <a:pt x="3948026" y="8007663"/>
                </a:moveTo>
                <a:lnTo>
                  <a:pt x="3916184" y="8492568"/>
                </a:lnTo>
                <a:moveTo>
                  <a:pt x="3916184" y="8492568"/>
                </a:moveTo>
                <a:lnTo>
                  <a:pt x="2632012" y="8408369"/>
                </a:lnTo>
                <a:lnTo>
                  <a:pt x="2600201" y="8892802"/>
                </a:lnTo>
                <a:lnTo>
                  <a:pt x="1316024" y="8808634"/>
                </a:lnTo>
                <a:moveTo>
                  <a:pt x="4154818" y="4858838"/>
                </a:moveTo>
                <a:lnTo>
                  <a:pt x="4171888" y="4598837"/>
                </a:lnTo>
                <a:moveTo>
                  <a:pt x="4441469" y="493350"/>
                </a:moveTo>
                <a:lnTo>
                  <a:pt x="4424383" y="753369"/>
                </a:lnTo>
                <a:moveTo>
                  <a:pt x="4171888" y="4598837"/>
                </a:moveTo>
                <a:cubicBezTo>
                  <a:pt x="4665409" y="4655184"/>
                  <a:pt x="5160991" y="4193149"/>
                  <a:pt x="5486817" y="4214493"/>
                </a:cubicBezTo>
                <a:moveTo>
                  <a:pt x="4171888" y="4598837"/>
                </a:moveTo>
                <a:cubicBezTo>
                  <a:pt x="3763308" y="4596055"/>
                  <a:pt x="3251726" y="4067989"/>
                  <a:pt x="2918475" y="4046141"/>
                </a:cubicBezTo>
                <a:moveTo>
                  <a:pt x="6516337" y="8176030"/>
                </a:moveTo>
                <a:lnTo>
                  <a:pt x="6484494" y="8660920"/>
                </a:lnTo>
                <a:lnTo>
                  <a:pt x="5200323" y="8576751"/>
                </a:lnTo>
                <a:moveTo>
                  <a:pt x="6516337" y="8176030"/>
                </a:moveTo>
                <a:lnTo>
                  <a:pt x="6548180" y="7691597"/>
                </a:lnTo>
                <a:lnTo>
                  <a:pt x="7832335" y="7775781"/>
                </a:lnTo>
                <a:moveTo>
                  <a:pt x="6516337" y="8176030"/>
                </a:moveTo>
                <a:lnTo>
                  <a:pt x="5232182" y="8091847"/>
                </a:lnTo>
                <a:moveTo>
                  <a:pt x="6516337" y="8176030"/>
                </a:moveTo>
                <a:lnTo>
                  <a:pt x="7800540" y="8260199"/>
                </a:lnTo>
                <a:moveTo>
                  <a:pt x="6484447" y="8660904"/>
                </a:moveTo>
                <a:lnTo>
                  <a:pt x="6452635" y="9145338"/>
                </a:lnTo>
                <a:lnTo>
                  <a:pt x="5168449" y="9061154"/>
                </a:lnTo>
                <a:moveTo>
                  <a:pt x="6707364" y="5268031"/>
                </a:moveTo>
                <a:lnTo>
                  <a:pt x="6675537" y="5752465"/>
                </a:lnTo>
                <a:moveTo>
                  <a:pt x="6675537" y="5752465"/>
                </a:moveTo>
                <a:lnTo>
                  <a:pt x="6643678" y="6237369"/>
                </a:lnTo>
                <a:moveTo>
                  <a:pt x="6675537" y="5752465"/>
                </a:moveTo>
                <a:lnTo>
                  <a:pt x="7959724" y="5836648"/>
                </a:lnTo>
                <a:moveTo>
                  <a:pt x="6675537" y="5752465"/>
                </a:moveTo>
                <a:lnTo>
                  <a:pt x="5391366" y="5668297"/>
                </a:lnTo>
                <a:moveTo>
                  <a:pt x="6739145" y="4783126"/>
                </a:moveTo>
                <a:lnTo>
                  <a:pt x="6707301" y="5268031"/>
                </a:lnTo>
                <a:lnTo>
                  <a:pt x="5423115" y="5183847"/>
                </a:lnTo>
                <a:moveTo>
                  <a:pt x="6771003" y="4298708"/>
                </a:moveTo>
                <a:lnTo>
                  <a:pt x="6802846" y="3813819"/>
                </a:lnTo>
                <a:lnTo>
                  <a:pt x="8087017" y="3897971"/>
                </a:lnTo>
                <a:lnTo>
                  <a:pt x="8118845" y="3413538"/>
                </a:lnTo>
                <a:moveTo>
                  <a:pt x="6771003" y="4298708"/>
                </a:moveTo>
                <a:lnTo>
                  <a:pt x="6739176" y="4783142"/>
                </a:lnTo>
                <a:moveTo>
                  <a:pt x="6962031" y="1390234"/>
                </a:moveTo>
                <a:lnTo>
                  <a:pt x="6930187" y="1875142"/>
                </a:lnTo>
                <a:moveTo>
                  <a:pt x="6962031" y="1390234"/>
                </a:moveTo>
                <a:lnTo>
                  <a:pt x="6993842" y="905794"/>
                </a:lnTo>
                <a:moveTo>
                  <a:pt x="6962031" y="1390234"/>
                </a:moveTo>
                <a:lnTo>
                  <a:pt x="5677875" y="1306052"/>
                </a:lnTo>
                <a:moveTo>
                  <a:pt x="6962031" y="1390234"/>
                </a:moveTo>
                <a:lnTo>
                  <a:pt x="8246217" y="1474414"/>
                </a:lnTo>
                <a:moveTo>
                  <a:pt x="6930187" y="1875142"/>
                </a:moveTo>
                <a:lnTo>
                  <a:pt x="8214374" y="1959310"/>
                </a:lnTo>
                <a:lnTo>
                  <a:pt x="8246217" y="1474414"/>
                </a:lnTo>
                <a:moveTo>
                  <a:pt x="7025685" y="420894"/>
                </a:moveTo>
                <a:lnTo>
                  <a:pt x="6993842" y="905794"/>
                </a:lnTo>
                <a:moveTo>
                  <a:pt x="6993842" y="905794"/>
                </a:moveTo>
                <a:lnTo>
                  <a:pt x="5709671" y="821615"/>
                </a:lnTo>
                <a:moveTo>
                  <a:pt x="6993842" y="905794"/>
                </a:moveTo>
                <a:lnTo>
                  <a:pt x="8278013" y="989967"/>
                </a:lnTo>
                <a:lnTo>
                  <a:pt x="8309856" y="505066"/>
                </a:lnTo>
                <a:moveTo>
                  <a:pt x="6739176" y="4783142"/>
                </a:moveTo>
                <a:lnTo>
                  <a:pt x="8023347" y="4867310"/>
                </a:lnTo>
                <a:moveTo>
                  <a:pt x="6611819" y="6722259"/>
                </a:moveTo>
                <a:lnTo>
                  <a:pt x="6579992" y="7206692"/>
                </a:lnTo>
                <a:moveTo>
                  <a:pt x="6611819" y="6722259"/>
                </a:moveTo>
                <a:lnTo>
                  <a:pt x="6643647" y="6237369"/>
                </a:lnTo>
                <a:moveTo>
                  <a:pt x="6611819" y="6722259"/>
                </a:moveTo>
                <a:lnTo>
                  <a:pt x="7895990" y="6806442"/>
                </a:lnTo>
                <a:moveTo>
                  <a:pt x="6579992" y="7206692"/>
                </a:moveTo>
                <a:lnTo>
                  <a:pt x="6548133" y="7691613"/>
                </a:lnTo>
                <a:lnTo>
                  <a:pt x="5263978" y="7607414"/>
                </a:lnTo>
                <a:lnTo>
                  <a:pt x="5232150" y="8091847"/>
                </a:lnTo>
                <a:lnTo>
                  <a:pt x="3947979" y="8007663"/>
                </a:lnTo>
                <a:moveTo>
                  <a:pt x="6643678" y="6237369"/>
                </a:moveTo>
                <a:lnTo>
                  <a:pt x="7927849" y="6321553"/>
                </a:lnTo>
                <a:moveTo>
                  <a:pt x="6898344" y="2360031"/>
                </a:moveTo>
                <a:lnTo>
                  <a:pt x="6866517" y="2844465"/>
                </a:lnTo>
                <a:moveTo>
                  <a:pt x="6866517" y="2844465"/>
                </a:moveTo>
                <a:lnTo>
                  <a:pt x="8150688" y="2928648"/>
                </a:lnTo>
                <a:moveTo>
                  <a:pt x="6866517" y="2844465"/>
                </a:moveTo>
                <a:lnTo>
                  <a:pt x="6802862" y="3813787"/>
                </a:lnTo>
                <a:moveTo>
                  <a:pt x="7832335" y="7775781"/>
                </a:moveTo>
                <a:lnTo>
                  <a:pt x="7864178" y="7290876"/>
                </a:lnTo>
                <a:moveTo>
                  <a:pt x="7832335" y="7775781"/>
                </a:moveTo>
                <a:lnTo>
                  <a:pt x="7800540" y="8260199"/>
                </a:lnTo>
                <a:moveTo>
                  <a:pt x="7832335" y="7775781"/>
                </a:moveTo>
                <a:lnTo>
                  <a:pt x="9116522" y="7859965"/>
                </a:lnTo>
                <a:moveTo>
                  <a:pt x="7864178" y="7290876"/>
                </a:moveTo>
                <a:lnTo>
                  <a:pt x="7895990" y="6806442"/>
                </a:lnTo>
                <a:moveTo>
                  <a:pt x="7864178" y="7290876"/>
                </a:moveTo>
                <a:lnTo>
                  <a:pt x="6580023" y="7206692"/>
                </a:lnTo>
                <a:moveTo>
                  <a:pt x="7864178" y="7290876"/>
                </a:moveTo>
                <a:lnTo>
                  <a:pt x="9148365" y="7375028"/>
                </a:lnTo>
                <a:lnTo>
                  <a:pt x="9180177" y="6890626"/>
                </a:lnTo>
                <a:moveTo>
                  <a:pt x="8023347" y="4867310"/>
                </a:moveTo>
                <a:lnTo>
                  <a:pt x="7991504" y="5352199"/>
                </a:lnTo>
                <a:lnTo>
                  <a:pt x="6707317" y="5268031"/>
                </a:lnTo>
                <a:moveTo>
                  <a:pt x="8023347" y="4867310"/>
                </a:moveTo>
                <a:lnTo>
                  <a:pt x="8055159" y="4382892"/>
                </a:lnTo>
                <a:moveTo>
                  <a:pt x="8023347" y="4867310"/>
                </a:moveTo>
                <a:lnTo>
                  <a:pt x="9307518" y="4951493"/>
                </a:lnTo>
                <a:lnTo>
                  <a:pt x="9339345" y="4467060"/>
                </a:lnTo>
                <a:moveTo>
                  <a:pt x="8150735" y="2928633"/>
                </a:moveTo>
                <a:lnTo>
                  <a:pt x="8118892" y="3413522"/>
                </a:lnTo>
                <a:moveTo>
                  <a:pt x="8118892" y="3413522"/>
                </a:moveTo>
                <a:lnTo>
                  <a:pt x="6834705" y="3329354"/>
                </a:lnTo>
                <a:moveTo>
                  <a:pt x="8118892" y="3413522"/>
                </a:moveTo>
                <a:lnTo>
                  <a:pt x="9403063" y="3497721"/>
                </a:lnTo>
                <a:moveTo>
                  <a:pt x="7927849" y="6321553"/>
                </a:moveTo>
                <a:lnTo>
                  <a:pt x="7895990" y="6806442"/>
                </a:lnTo>
                <a:moveTo>
                  <a:pt x="7927849" y="6321553"/>
                </a:moveTo>
                <a:lnTo>
                  <a:pt x="7959692" y="5836632"/>
                </a:lnTo>
                <a:moveTo>
                  <a:pt x="7895990" y="6806442"/>
                </a:moveTo>
                <a:lnTo>
                  <a:pt x="9180177" y="6890626"/>
                </a:lnTo>
                <a:moveTo>
                  <a:pt x="7736885" y="9229521"/>
                </a:moveTo>
                <a:lnTo>
                  <a:pt x="7705010" y="9714426"/>
                </a:lnTo>
                <a:moveTo>
                  <a:pt x="7736885" y="9229521"/>
                </a:moveTo>
                <a:lnTo>
                  <a:pt x="9021040" y="9313690"/>
                </a:lnTo>
                <a:moveTo>
                  <a:pt x="7736885" y="9229521"/>
                </a:moveTo>
                <a:lnTo>
                  <a:pt x="7800540" y="8260199"/>
                </a:lnTo>
                <a:moveTo>
                  <a:pt x="8087049" y="3897987"/>
                </a:moveTo>
                <a:lnTo>
                  <a:pt x="8055206" y="4382892"/>
                </a:lnTo>
                <a:moveTo>
                  <a:pt x="8055206" y="4382892"/>
                </a:moveTo>
                <a:lnTo>
                  <a:pt x="6771019" y="4298708"/>
                </a:lnTo>
                <a:moveTo>
                  <a:pt x="8055206" y="4382892"/>
                </a:moveTo>
                <a:lnTo>
                  <a:pt x="9339392" y="4467060"/>
                </a:lnTo>
                <a:moveTo>
                  <a:pt x="7959724" y="5836648"/>
                </a:moveTo>
                <a:lnTo>
                  <a:pt x="7991535" y="5352214"/>
                </a:lnTo>
                <a:lnTo>
                  <a:pt x="9275706" y="5436398"/>
                </a:lnTo>
                <a:moveTo>
                  <a:pt x="7959724" y="5836648"/>
                </a:moveTo>
                <a:lnTo>
                  <a:pt x="9243879" y="5920832"/>
                </a:lnTo>
                <a:moveTo>
                  <a:pt x="7705010" y="9714426"/>
                </a:moveTo>
                <a:lnTo>
                  <a:pt x="6420839" y="9630242"/>
                </a:lnTo>
                <a:moveTo>
                  <a:pt x="7705010" y="9714426"/>
                </a:moveTo>
                <a:lnTo>
                  <a:pt x="8989196" y="9798594"/>
                </a:lnTo>
                <a:lnTo>
                  <a:pt x="9021040" y="9313690"/>
                </a:lnTo>
                <a:moveTo>
                  <a:pt x="8246217" y="1474414"/>
                </a:moveTo>
                <a:lnTo>
                  <a:pt x="8278029" y="989981"/>
                </a:lnTo>
                <a:lnTo>
                  <a:pt x="9562184" y="1074155"/>
                </a:lnTo>
                <a:moveTo>
                  <a:pt x="7800540" y="8260199"/>
                </a:moveTo>
                <a:lnTo>
                  <a:pt x="9084726" y="8344382"/>
                </a:lnTo>
                <a:moveTo>
                  <a:pt x="8182500" y="2444199"/>
                </a:moveTo>
                <a:lnTo>
                  <a:pt x="8214343" y="1959294"/>
                </a:lnTo>
                <a:lnTo>
                  <a:pt x="9498529" y="2043493"/>
                </a:lnTo>
                <a:moveTo>
                  <a:pt x="8182500" y="2444199"/>
                </a:moveTo>
                <a:lnTo>
                  <a:pt x="8150688" y="2928648"/>
                </a:lnTo>
                <a:moveTo>
                  <a:pt x="8182500" y="2444199"/>
                </a:moveTo>
                <a:lnTo>
                  <a:pt x="9466686" y="2528399"/>
                </a:lnTo>
                <a:moveTo>
                  <a:pt x="8182500" y="2444199"/>
                </a:moveTo>
                <a:lnTo>
                  <a:pt x="6898329" y="2360015"/>
                </a:lnTo>
                <a:moveTo>
                  <a:pt x="8150688" y="2928648"/>
                </a:moveTo>
                <a:lnTo>
                  <a:pt x="9434859" y="3012832"/>
                </a:lnTo>
                <a:moveTo>
                  <a:pt x="9275706" y="5436398"/>
                </a:moveTo>
                <a:lnTo>
                  <a:pt x="9243879" y="5920832"/>
                </a:lnTo>
                <a:moveTo>
                  <a:pt x="9243879" y="5920832"/>
                </a:moveTo>
                <a:lnTo>
                  <a:pt x="9212035" y="6405721"/>
                </a:lnTo>
                <a:moveTo>
                  <a:pt x="9212035" y="6405721"/>
                </a:moveTo>
                <a:lnTo>
                  <a:pt x="9180177" y="6890626"/>
                </a:lnTo>
                <a:moveTo>
                  <a:pt x="9212035" y="6405721"/>
                </a:moveTo>
                <a:lnTo>
                  <a:pt x="7927865" y="6321538"/>
                </a:lnTo>
                <a:moveTo>
                  <a:pt x="9371235" y="3982171"/>
                </a:moveTo>
                <a:lnTo>
                  <a:pt x="9339392" y="4467060"/>
                </a:lnTo>
                <a:moveTo>
                  <a:pt x="9562184" y="1074155"/>
                </a:moveTo>
                <a:lnTo>
                  <a:pt x="9530372" y="1558589"/>
                </a:lnTo>
                <a:moveTo>
                  <a:pt x="9562184" y="1074155"/>
                </a:moveTo>
                <a:lnTo>
                  <a:pt x="9594027" y="589247"/>
                </a:lnTo>
                <a:moveTo>
                  <a:pt x="9530372" y="1558589"/>
                </a:moveTo>
                <a:lnTo>
                  <a:pt x="9498529" y="2043493"/>
                </a:lnTo>
                <a:moveTo>
                  <a:pt x="9530372" y="1558589"/>
                </a:moveTo>
                <a:lnTo>
                  <a:pt x="8246186" y="1474408"/>
                </a:lnTo>
                <a:moveTo>
                  <a:pt x="9116522" y="7859965"/>
                </a:moveTo>
                <a:lnTo>
                  <a:pt x="9084726" y="8344382"/>
                </a:lnTo>
                <a:moveTo>
                  <a:pt x="9403063" y="3497721"/>
                </a:moveTo>
                <a:lnTo>
                  <a:pt x="9371251" y="3982155"/>
                </a:lnTo>
                <a:moveTo>
                  <a:pt x="9403063" y="3497721"/>
                </a:moveTo>
                <a:lnTo>
                  <a:pt x="9434921" y="3012801"/>
                </a:lnTo>
                <a:moveTo>
                  <a:pt x="9371251" y="3982155"/>
                </a:moveTo>
                <a:lnTo>
                  <a:pt x="8087081" y="3897971"/>
                </a:lnTo>
                <a:moveTo>
                  <a:pt x="9498529" y="2043493"/>
                </a:moveTo>
                <a:lnTo>
                  <a:pt x="9466686" y="2528399"/>
                </a:lnTo>
                <a:moveTo>
                  <a:pt x="9466686" y="2528399"/>
                </a:moveTo>
                <a:lnTo>
                  <a:pt x="9434859" y="3012832"/>
                </a:lnTo>
                <a:moveTo>
                  <a:pt x="9021040" y="9313690"/>
                </a:moveTo>
                <a:lnTo>
                  <a:pt x="9052851" y="8829272"/>
                </a:lnTo>
                <a:moveTo>
                  <a:pt x="9084726" y="8344382"/>
                </a:moveTo>
                <a:lnTo>
                  <a:pt x="9052883" y="8829287"/>
                </a:lnTo>
                <a:moveTo>
                  <a:pt x="9052883" y="8829287"/>
                </a:moveTo>
                <a:lnTo>
                  <a:pt x="6484525" y="8660920"/>
                </a:lnTo>
                <a:moveTo>
                  <a:pt x="11589397" y="9482057"/>
                </a:moveTo>
                <a:lnTo>
                  <a:pt x="11621209" y="8997623"/>
                </a:lnTo>
                <a:moveTo>
                  <a:pt x="11589397" y="9482057"/>
                </a:moveTo>
                <a:lnTo>
                  <a:pt x="11557539" y="9966962"/>
                </a:lnTo>
                <a:lnTo>
                  <a:pt x="10273352" y="9882778"/>
                </a:lnTo>
                <a:moveTo>
                  <a:pt x="11589397" y="9482057"/>
                </a:moveTo>
                <a:lnTo>
                  <a:pt x="12873584" y="9566240"/>
                </a:lnTo>
                <a:moveTo>
                  <a:pt x="11589397" y="9482057"/>
                </a:moveTo>
                <a:lnTo>
                  <a:pt x="10305227" y="9397873"/>
                </a:lnTo>
                <a:moveTo>
                  <a:pt x="11621209" y="8997623"/>
                </a:moveTo>
                <a:lnTo>
                  <a:pt x="11653068" y="8512733"/>
                </a:lnTo>
                <a:moveTo>
                  <a:pt x="11621209" y="8997623"/>
                </a:moveTo>
                <a:lnTo>
                  <a:pt x="10337038" y="8913455"/>
                </a:lnTo>
                <a:moveTo>
                  <a:pt x="12098730" y="1726956"/>
                </a:moveTo>
                <a:lnTo>
                  <a:pt x="12066887" y="2211845"/>
                </a:lnTo>
                <a:moveTo>
                  <a:pt x="12098730" y="1726956"/>
                </a:moveTo>
                <a:lnTo>
                  <a:pt x="12130541" y="1242500"/>
                </a:lnTo>
                <a:moveTo>
                  <a:pt x="12098730" y="1726956"/>
                </a:moveTo>
                <a:lnTo>
                  <a:pt x="13382917" y="1811140"/>
                </a:lnTo>
                <a:moveTo>
                  <a:pt x="12066887" y="2211845"/>
                </a:moveTo>
                <a:lnTo>
                  <a:pt x="12035043" y="2696735"/>
                </a:lnTo>
                <a:moveTo>
                  <a:pt x="12066887" y="2211845"/>
                </a:moveTo>
                <a:lnTo>
                  <a:pt x="13351074" y="2296029"/>
                </a:lnTo>
                <a:lnTo>
                  <a:pt x="13382917" y="1811140"/>
                </a:lnTo>
                <a:moveTo>
                  <a:pt x="11684864" y="8028316"/>
                </a:moveTo>
                <a:lnTo>
                  <a:pt x="11700769" y="7786092"/>
                </a:lnTo>
                <a:cubicBezTo>
                  <a:pt x="11708731" y="7664751"/>
                  <a:pt x="11645721" y="7561345"/>
                  <a:pt x="11645721" y="7561345"/>
                </a:cubicBezTo>
                <a:moveTo>
                  <a:pt x="11684864" y="8028316"/>
                </a:moveTo>
                <a:lnTo>
                  <a:pt x="11653068" y="8512733"/>
                </a:lnTo>
                <a:moveTo>
                  <a:pt x="12162401" y="757600"/>
                </a:moveTo>
                <a:lnTo>
                  <a:pt x="12130541" y="1242500"/>
                </a:lnTo>
                <a:moveTo>
                  <a:pt x="12130541" y="1242500"/>
                </a:moveTo>
                <a:lnTo>
                  <a:pt x="13414713" y="1326681"/>
                </a:lnTo>
                <a:moveTo>
                  <a:pt x="11971389" y="3666073"/>
                </a:moveTo>
                <a:lnTo>
                  <a:pt x="11939593" y="4150506"/>
                </a:lnTo>
                <a:moveTo>
                  <a:pt x="11971389" y="3666073"/>
                </a:moveTo>
                <a:lnTo>
                  <a:pt x="10687203" y="3581889"/>
                </a:lnTo>
                <a:moveTo>
                  <a:pt x="11971389" y="3666073"/>
                </a:moveTo>
                <a:lnTo>
                  <a:pt x="12035043" y="2696750"/>
                </a:lnTo>
                <a:moveTo>
                  <a:pt x="11939562" y="4150506"/>
                </a:moveTo>
                <a:lnTo>
                  <a:pt x="11923656" y="4392731"/>
                </a:lnTo>
                <a:cubicBezTo>
                  <a:pt x="11915679" y="4514071"/>
                  <a:pt x="11839674" y="4608362"/>
                  <a:pt x="11839674" y="4608362"/>
                </a:cubicBezTo>
                <a:moveTo>
                  <a:pt x="11939593" y="4150506"/>
                </a:moveTo>
                <a:lnTo>
                  <a:pt x="12272294" y="4172322"/>
                </a:lnTo>
                <a:cubicBezTo>
                  <a:pt x="12530610" y="4182665"/>
                  <a:pt x="12814744" y="4213990"/>
                  <a:pt x="13140632" y="4177462"/>
                </a:cubicBezTo>
                <a:moveTo>
                  <a:pt x="11123456" y="6044043"/>
                </a:moveTo>
                <a:cubicBezTo>
                  <a:pt x="11111908" y="6219734"/>
                  <a:pt x="11124101" y="6399324"/>
                  <a:pt x="11191500" y="6598074"/>
                </a:cubicBezTo>
                <a:cubicBezTo>
                  <a:pt x="10929801" y="6549836"/>
                  <a:pt x="10727667" y="6511642"/>
                  <a:pt x="10491927" y="6490078"/>
                </a:cubicBezTo>
                <a:moveTo>
                  <a:pt x="11123456" y="6044043"/>
                </a:moveTo>
                <a:lnTo>
                  <a:pt x="11503937" y="6068971"/>
                </a:lnTo>
                <a:moveTo>
                  <a:pt x="11646287" y="7561361"/>
                </a:moveTo>
                <a:cubicBezTo>
                  <a:pt x="11572296" y="7413945"/>
                  <a:pt x="11506029" y="7278805"/>
                  <a:pt x="11412797" y="7108001"/>
                </a:cubicBezTo>
                <a:cubicBezTo>
                  <a:pt x="11288272" y="7064542"/>
                  <a:pt x="11223674" y="7057956"/>
                  <a:pt x="11130048" y="7039111"/>
                </a:cubicBezTo>
                <a:cubicBezTo>
                  <a:pt x="11036422" y="7020281"/>
                  <a:pt x="10940909" y="7014009"/>
                  <a:pt x="10846071" y="7005444"/>
                </a:cubicBezTo>
                <a:cubicBezTo>
                  <a:pt x="10718935" y="6993813"/>
                  <a:pt x="10591736" y="6983124"/>
                  <a:pt x="10464379" y="6974779"/>
                </a:cubicBezTo>
                <a:moveTo>
                  <a:pt x="11191531" y="6598058"/>
                </a:moveTo>
                <a:cubicBezTo>
                  <a:pt x="11264594" y="6808470"/>
                  <a:pt x="11334700" y="6974448"/>
                  <a:pt x="11412813" y="7107545"/>
                </a:cubicBezTo>
                <a:cubicBezTo>
                  <a:pt x="11640780" y="7182723"/>
                  <a:pt x="11842978" y="7251959"/>
                  <a:pt x="12088126" y="7357425"/>
                </a:cubicBezTo>
                <a:moveTo>
                  <a:pt x="12035043" y="2696735"/>
                </a:moveTo>
                <a:lnTo>
                  <a:pt x="13319230" y="2780918"/>
                </a:lnTo>
                <a:moveTo>
                  <a:pt x="11840162" y="4608393"/>
                </a:moveTo>
                <a:cubicBezTo>
                  <a:pt x="11747654" y="4742999"/>
                  <a:pt x="11684817" y="4864040"/>
                  <a:pt x="11549389" y="5027378"/>
                </a:cubicBezTo>
                <a:moveTo>
                  <a:pt x="11263368" y="5504110"/>
                </a:moveTo>
                <a:cubicBezTo>
                  <a:pt x="11162599" y="5699826"/>
                  <a:pt x="11137694" y="5827595"/>
                  <a:pt x="11123440" y="6044498"/>
                </a:cubicBezTo>
                <a:moveTo>
                  <a:pt x="11549436" y="5027394"/>
                </a:moveTo>
                <a:cubicBezTo>
                  <a:pt x="11442658" y="5168130"/>
                  <a:pt x="11370523" y="5300802"/>
                  <a:pt x="11263415" y="5503623"/>
                </a:cubicBezTo>
                <a:cubicBezTo>
                  <a:pt x="11433156" y="5475237"/>
                  <a:pt x="11595439" y="5438819"/>
                  <a:pt x="11752593" y="5391241"/>
                </a:cubicBezTo>
                <a:cubicBezTo>
                  <a:pt x="11916859" y="5154046"/>
                  <a:pt x="12064763" y="5019771"/>
                  <a:pt x="12251684" y="4867812"/>
                </a:cubicBezTo>
                <a:cubicBezTo>
                  <a:pt x="12599850" y="4751832"/>
                  <a:pt x="12974384" y="4729325"/>
                  <a:pt x="13275399" y="4617321"/>
                </a:cubicBezTo>
                <a:moveTo>
                  <a:pt x="13140664" y="4177494"/>
                </a:moveTo>
                <a:cubicBezTo>
                  <a:pt x="13039628" y="4287564"/>
                  <a:pt x="12912711" y="4402508"/>
                  <a:pt x="12761818" y="4492837"/>
                </a:cubicBezTo>
                <a:moveTo>
                  <a:pt x="11661721" y="6773813"/>
                </a:moveTo>
                <a:cubicBezTo>
                  <a:pt x="11570550" y="6612094"/>
                  <a:pt x="11483815" y="6325970"/>
                  <a:pt x="11503858" y="6069442"/>
                </a:cubicBezTo>
                <a:moveTo>
                  <a:pt x="12905427" y="9081823"/>
                </a:moveTo>
                <a:lnTo>
                  <a:pt x="12937271" y="8596917"/>
                </a:lnTo>
                <a:moveTo>
                  <a:pt x="12905427" y="9081823"/>
                </a:moveTo>
                <a:lnTo>
                  <a:pt x="14190133" y="9166037"/>
                </a:lnTo>
                <a:moveTo>
                  <a:pt x="12905427" y="9081823"/>
                </a:moveTo>
                <a:lnTo>
                  <a:pt x="11621240" y="8997639"/>
                </a:lnTo>
                <a:moveTo>
                  <a:pt x="12251620" y="4868269"/>
                </a:moveTo>
                <a:cubicBezTo>
                  <a:pt x="12427576" y="4720774"/>
                  <a:pt x="12519944" y="4653424"/>
                  <a:pt x="12762275" y="4493340"/>
                </a:cubicBezTo>
                <a:moveTo>
                  <a:pt x="11503937" y="6068971"/>
                </a:moveTo>
                <a:cubicBezTo>
                  <a:pt x="11514651" y="5857002"/>
                  <a:pt x="11607427" y="5604766"/>
                  <a:pt x="11752562" y="5391257"/>
                </a:cubicBezTo>
                <a:moveTo>
                  <a:pt x="11503937" y="6068971"/>
                </a:moveTo>
                <a:lnTo>
                  <a:pt x="11995302" y="6101176"/>
                </a:lnTo>
                <a:moveTo>
                  <a:pt x="13319215" y="2780934"/>
                </a:moveTo>
                <a:lnTo>
                  <a:pt x="13287403" y="3265368"/>
                </a:lnTo>
                <a:lnTo>
                  <a:pt x="10719045" y="3097000"/>
                </a:lnTo>
                <a:moveTo>
                  <a:pt x="12879185" y="8157877"/>
                </a:moveTo>
                <a:cubicBezTo>
                  <a:pt x="12879185" y="8157877"/>
                  <a:pt x="12961074" y="8233353"/>
                  <a:pt x="12953113" y="8354693"/>
                </a:cubicBezTo>
                <a:lnTo>
                  <a:pt x="12937192" y="8596917"/>
                </a:lnTo>
                <a:lnTo>
                  <a:pt x="11653021" y="8512733"/>
                </a:lnTo>
                <a:moveTo>
                  <a:pt x="13351074" y="2296013"/>
                </a:moveTo>
                <a:lnTo>
                  <a:pt x="13319230" y="2780918"/>
                </a:lnTo>
                <a:moveTo>
                  <a:pt x="13319230" y="2780918"/>
                </a:moveTo>
                <a:lnTo>
                  <a:pt x="14603952" y="2865118"/>
                </a:lnTo>
                <a:lnTo>
                  <a:pt x="14635795" y="2380244"/>
                </a:lnTo>
                <a:moveTo>
                  <a:pt x="13382917" y="1811140"/>
                </a:moveTo>
                <a:lnTo>
                  <a:pt x="13414713" y="1326681"/>
                </a:lnTo>
                <a:moveTo>
                  <a:pt x="13382917" y="1811140"/>
                </a:moveTo>
                <a:lnTo>
                  <a:pt x="14667607" y="1895339"/>
                </a:lnTo>
                <a:moveTo>
                  <a:pt x="13287451" y="3265336"/>
                </a:moveTo>
                <a:lnTo>
                  <a:pt x="13255607" y="3750241"/>
                </a:lnTo>
                <a:lnTo>
                  <a:pt x="11971436" y="3666057"/>
                </a:lnTo>
                <a:moveTo>
                  <a:pt x="13140585" y="4177934"/>
                </a:moveTo>
                <a:cubicBezTo>
                  <a:pt x="13140585" y="4177934"/>
                  <a:pt x="13231646" y="4113806"/>
                  <a:pt x="13239622" y="3992450"/>
                </a:cubicBezTo>
                <a:lnTo>
                  <a:pt x="13255529" y="3750241"/>
                </a:lnTo>
                <a:cubicBezTo>
                  <a:pt x="13572324" y="3771004"/>
                  <a:pt x="13888977" y="3794140"/>
                  <a:pt x="14206023" y="3811147"/>
                </a:cubicBezTo>
                <a:cubicBezTo>
                  <a:pt x="14394565" y="3821143"/>
                  <a:pt x="14533910" y="3825576"/>
                  <a:pt x="14533910" y="3825576"/>
                </a:cubicBezTo>
                <a:cubicBezTo>
                  <a:pt x="14515550" y="3983412"/>
                  <a:pt x="14406348" y="4023304"/>
                  <a:pt x="14311810" y="4099440"/>
                </a:cubicBezTo>
                <a:moveTo>
                  <a:pt x="12544864" y="7795774"/>
                </a:moveTo>
                <a:cubicBezTo>
                  <a:pt x="12713283" y="7957854"/>
                  <a:pt x="12784505" y="8017566"/>
                  <a:pt x="12879217" y="8157877"/>
                </a:cubicBezTo>
                <a:cubicBezTo>
                  <a:pt x="13224252" y="8227538"/>
                  <a:pt x="13645685" y="8302212"/>
                  <a:pt x="14029580" y="8388549"/>
                </a:cubicBezTo>
                <a:moveTo>
                  <a:pt x="12545383" y="7795805"/>
                </a:moveTo>
                <a:cubicBezTo>
                  <a:pt x="12356071" y="7635187"/>
                  <a:pt x="12267920" y="7549416"/>
                  <a:pt x="12088126" y="7357425"/>
                </a:cubicBezTo>
                <a:moveTo>
                  <a:pt x="12088126" y="7357425"/>
                </a:moveTo>
                <a:cubicBezTo>
                  <a:pt x="11960581" y="7246489"/>
                  <a:pt x="11789393" y="7005192"/>
                  <a:pt x="11661799" y="6773325"/>
                </a:cubicBezTo>
                <a:moveTo>
                  <a:pt x="12088126" y="7357425"/>
                </a:moveTo>
                <a:cubicBezTo>
                  <a:pt x="12418262" y="7515984"/>
                  <a:pt x="12786661" y="7587185"/>
                  <a:pt x="13070307" y="7739410"/>
                </a:cubicBezTo>
                <a:moveTo>
                  <a:pt x="12873584" y="9566240"/>
                </a:moveTo>
                <a:lnTo>
                  <a:pt x="12905396" y="9081806"/>
                </a:lnTo>
                <a:moveTo>
                  <a:pt x="12873584" y="9566240"/>
                </a:moveTo>
                <a:lnTo>
                  <a:pt x="14158290" y="9650455"/>
                </a:lnTo>
                <a:moveTo>
                  <a:pt x="12873631" y="9566240"/>
                </a:moveTo>
                <a:lnTo>
                  <a:pt x="12841773" y="10051145"/>
                </a:lnTo>
                <a:lnTo>
                  <a:pt x="11557601" y="9966962"/>
                </a:lnTo>
                <a:moveTo>
                  <a:pt x="13446556" y="841781"/>
                </a:moveTo>
                <a:lnTo>
                  <a:pt x="13414713" y="1326681"/>
                </a:lnTo>
                <a:moveTo>
                  <a:pt x="14190133" y="9166037"/>
                </a:moveTo>
                <a:lnTo>
                  <a:pt x="14206039" y="8923813"/>
                </a:lnTo>
                <a:cubicBezTo>
                  <a:pt x="14214000" y="8802473"/>
                  <a:pt x="14214503" y="8689589"/>
                  <a:pt x="14214503" y="8689589"/>
                </a:cubicBezTo>
                <a:moveTo>
                  <a:pt x="14190133" y="9166037"/>
                </a:moveTo>
                <a:lnTo>
                  <a:pt x="14158290" y="9650455"/>
                </a:lnTo>
                <a:moveTo>
                  <a:pt x="14190133" y="9166037"/>
                </a:moveTo>
                <a:lnTo>
                  <a:pt x="15474273" y="9250206"/>
                </a:lnTo>
                <a:moveTo>
                  <a:pt x="14603889" y="2865133"/>
                </a:moveTo>
                <a:lnTo>
                  <a:pt x="14572062" y="3349567"/>
                </a:lnTo>
                <a:moveTo>
                  <a:pt x="14572062" y="3349567"/>
                </a:moveTo>
                <a:lnTo>
                  <a:pt x="13287355" y="3265352"/>
                </a:lnTo>
                <a:moveTo>
                  <a:pt x="14572062" y="3349567"/>
                </a:moveTo>
                <a:lnTo>
                  <a:pt x="15856264" y="3433766"/>
                </a:lnTo>
                <a:moveTo>
                  <a:pt x="14731277" y="925990"/>
                </a:moveTo>
                <a:lnTo>
                  <a:pt x="14699434" y="1410890"/>
                </a:lnTo>
                <a:moveTo>
                  <a:pt x="14699434" y="1410890"/>
                </a:moveTo>
                <a:lnTo>
                  <a:pt x="14667607" y="1895339"/>
                </a:lnTo>
                <a:moveTo>
                  <a:pt x="14699434" y="1410890"/>
                </a:moveTo>
                <a:lnTo>
                  <a:pt x="15983542" y="1495075"/>
                </a:lnTo>
                <a:moveTo>
                  <a:pt x="14699434" y="1410890"/>
                </a:moveTo>
                <a:lnTo>
                  <a:pt x="13414728" y="1326676"/>
                </a:lnTo>
                <a:moveTo>
                  <a:pt x="14029580" y="8388549"/>
                </a:moveTo>
                <a:cubicBezTo>
                  <a:pt x="13853232" y="8290408"/>
                  <a:pt x="13815819" y="8235255"/>
                  <a:pt x="13647070" y="8118803"/>
                </a:cubicBezTo>
                <a:moveTo>
                  <a:pt x="14029580" y="8388549"/>
                </a:moveTo>
                <a:cubicBezTo>
                  <a:pt x="14485484" y="8498415"/>
                  <a:pt x="14918922" y="8536719"/>
                  <a:pt x="15397386" y="8603361"/>
                </a:cubicBezTo>
                <a:moveTo>
                  <a:pt x="14126447" y="10135345"/>
                </a:moveTo>
                <a:lnTo>
                  <a:pt x="14158290" y="9650455"/>
                </a:lnTo>
                <a:moveTo>
                  <a:pt x="14126447" y="10135345"/>
                </a:moveTo>
                <a:lnTo>
                  <a:pt x="15410602" y="10219528"/>
                </a:lnTo>
                <a:moveTo>
                  <a:pt x="14126447" y="10135345"/>
                </a:moveTo>
                <a:lnTo>
                  <a:pt x="12841741" y="10051145"/>
                </a:lnTo>
                <a:moveTo>
                  <a:pt x="14158290" y="9650455"/>
                </a:moveTo>
                <a:lnTo>
                  <a:pt x="15442445" y="9734623"/>
                </a:lnTo>
                <a:moveTo>
                  <a:pt x="14667607" y="1895339"/>
                </a:moveTo>
                <a:lnTo>
                  <a:pt x="15951762" y="1979523"/>
                </a:lnTo>
                <a:moveTo>
                  <a:pt x="14667638" y="1895339"/>
                </a:moveTo>
                <a:lnTo>
                  <a:pt x="14635795" y="2380244"/>
                </a:lnTo>
                <a:moveTo>
                  <a:pt x="14635795" y="2380244"/>
                </a:moveTo>
                <a:lnTo>
                  <a:pt x="13351089" y="2296029"/>
                </a:lnTo>
                <a:moveTo>
                  <a:pt x="14030052" y="8388596"/>
                </a:moveTo>
                <a:cubicBezTo>
                  <a:pt x="14113971" y="8474084"/>
                  <a:pt x="14217020" y="8527885"/>
                  <a:pt x="14214425" y="8689101"/>
                </a:cubicBezTo>
                <a:lnTo>
                  <a:pt x="12937176" y="8596886"/>
                </a:lnTo>
                <a:moveTo>
                  <a:pt x="14572109" y="3349551"/>
                </a:moveTo>
                <a:lnTo>
                  <a:pt x="14556188" y="3591776"/>
                </a:lnTo>
                <a:cubicBezTo>
                  <a:pt x="14548226" y="3713116"/>
                  <a:pt x="14533957" y="3825104"/>
                  <a:pt x="14533957" y="3825104"/>
                </a:cubicBezTo>
                <a:cubicBezTo>
                  <a:pt x="14972806" y="3853867"/>
                  <a:pt x="15465950" y="3842896"/>
                  <a:pt x="15812999" y="3865656"/>
                </a:cubicBezTo>
                <a:cubicBezTo>
                  <a:pt x="15778701" y="3966909"/>
                  <a:pt x="15751169" y="4019217"/>
                  <a:pt x="15695947" y="4065002"/>
                </a:cubicBezTo>
                <a:cubicBezTo>
                  <a:pt x="15202331" y="4075471"/>
                  <a:pt x="14777830" y="4047650"/>
                  <a:pt x="14311842" y="4099440"/>
                </a:cubicBezTo>
                <a:moveTo>
                  <a:pt x="11994799" y="6101616"/>
                </a:moveTo>
                <a:cubicBezTo>
                  <a:pt x="11996514" y="6505434"/>
                  <a:pt x="12175899" y="6898312"/>
                  <a:pt x="12359705" y="7093871"/>
                </a:cubicBezTo>
                <a:cubicBezTo>
                  <a:pt x="12590882" y="7371570"/>
                  <a:pt x="12830634" y="7583491"/>
                  <a:pt x="13070307" y="7739882"/>
                </a:cubicBezTo>
                <a:moveTo>
                  <a:pt x="12486354" y="5165033"/>
                </a:moveTo>
                <a:cubicBezTo>
                  <a:pt x="12743631" y="4996509"/>
                  <a:pt x="12974353" y="4729325"/>
                  <a:pt x="13275368" y="4617305"/>
                </a:cubicBezTo>
                <a:moveTo>
                  <a:pt x="12486354" y="5165033"/>
                </a:moveTo>
                <a:cubicBezTo>
                  <a:pt x="12200427" y="5250270"/>
                  <a:pt x="12017722" y="5305581"/>
                  <a:pt x="11752027" y="5391210"/>
                </a:cubicBezTo>
                <a:moveTo>
                  <a:pt x="13275368" y="4617305"/>
                </a:moveTo>
                <a:cubicBezTo>
                  <a:pt x="13537900" y="4498542"/>
                  <a:pt x="13688809" y="4399741"/>
                  <a:pt x="13897330" y="4316485"/>
                </a:cubicBezTo>
                <a:moveTo>
                  <a:pt x="13275368" y="4617305"/>
                </a:moveTo>
                <a:cubicBezTo>
                  <a:pt x="13894924" y="4507360"/>
                  <a:pt x="14487875" y="4405070"/>
                  <a:pt x="15121623" y="4395796"/>
                </a:cubicBezTo>
                <a:moveTo>
                  <a:pt x="11995302" y="6101176"/>
                </a:moveTo>
                <a:cubicBezTo>
                  <a:pt x="12001470" y="5747749"/>
                  <a:pt x="12143206" y="5463904"/>
                  <a:pt x="12486872" y="5165065"/>
                </a:cubicBezTo>
                <a:moveTo>
                  <a:pt x="11995302" y="6101176"/>
                </a:moveTo>
                <a:lnTo>
                  <a:pt x="13443441" y="6196111"/>
                </a:lnTo>
                <a:cubicBezTo>
                  <a:pt x="13446524" y="5654276"/>
                  <a:pt x="13907966" y="5119892"/>
                  <a:pt x="14385691" y="4808195"/>
                </a:cubicBezTo>
                <a:cubicBezTo>
                  <a:pt x="14631658" y="4649762"/>
                  <a:pt x="14853191" y="4523109"/>
                  <a:pt x="15121623" y="4395796"/>
                </a:cubicBezTo>
                <a:moveTo>
                  <a:pt x="13897330" y="4316485"/>
                </a:moveTo>
                <a:cubicBezTo>
                  <a:pt x="14036660" y="4247972"/>
                  <a:pt x="14196395" y="4169053"/>
                  <a:pt x="14311857" y="4098984"/>
                </a:cubicBezTo>
                <a:moveTo>
                  <a:pt x="13897330" y="4316485"/>
                </a:moveTo>
                <a:cubicBezTo>
                  <a:pt x="13516346" y="4372440"/>
                  <a:pt x="13124175" y="4436143"/>
                  <a:pt x="12762306" y="4492884"/>
                </a:cubicBezTo>
                <a:cubicBezTo>
                  <a:pt x="12452922" y="4553994"/>
                  <a:pt x="12164493" y="4596259"/>
                  <a:pt x="11840209" y="4608409"/>
                </a:cubicBezTo>
                <a:moveTo>
                  <a:pt x="13647557" y="8119305"/>
                </a:moveTo>
                <a:cubicBezTo>
                  <a:pt x="13451842" y="8007663"/>
                  <a:pt x="13301877" y="7856679"/>
                  <a:pt x="13070260" y="7739866"/>
                </a:cubicBezTo>
                <a:moveTo>
                  <a:pt x="15121623" y="4395796"/>
                </a:moveTo>
                <a:cubicBezTo>
                  <a:pt x="15226041" y="4347590"/>
                  <a:pt x="15383117" y="4260483"/>
                  <a:pt x="15490320" y="4210579"/>
                </a:cubicBezTo>
                <a:moveTo>
                  <a:pt x="15121623" y="4395796"/>
                </a:moveTo>
                <a:cubicBezTo>
                  <a:pt x="15831092" y="4353814"/>
                  <a:pt x="16956456" y="4396063"/>
                  <a:pt x="17654676" y="4542536"/>
                </a:cubicBezTo>
                <a:moveTo>
                  <a:pt x="15489786" y="4210564"/>
                </a:moveTo>
                <a:cubicBezTo>
                  <a:pt x="15577951" y="4166460"/>
                  <a:pt x="15633000" y="4123488"/>
                  <a:pt x="15695475" y="4065002"/>
                </a:cubicBezTo>
                <a:moveTo>
                  <a:pt x="14871157" y="8200471"/>
                </a:moveTo>
                <a:cubicBezTo>
                  <a:pt x="15024268" y="8279201"/>
                  <a:pt x="15115456" y="8359518"/>
                  <a:pt x="15212479" y="8432228"/>
                </a:cubicBezTo>
                <a:cubicBezTo>
                  <a:pt x="15913846" y="8512090"/>
                  <a:pt x="16415407" y="8544954"/>
                  <a:pt x="17080274" y="8565010"/>
                </a:cubicBezTo>
                <a:moveTo>
                  <a:pt x="14196065" y="7695574"/>
                </a:moveTo>
                <a:cubicBezTo>
                  <a:pt x="13763350" y="7321840"/>
                  <a:pt x="13372675" y="6778653"/>
                  <a:pt x="13443425" y="6196566"/>
                </a:cubicBezTo>
                <a:moveTo>
                  <a:pt x="14196065" y="7695574"/>
                </a:moveTo>
                <a:cubicBezTo>
                  <a:pt x="13503084" y="7535804"/>
                  <a:pt x="12931371" y="7371759"/>
                  <a:pt x="12359657" y="7093855"/>
                </a:cubicBezTo>
                <a:moveTo>
                  <a:pt x="14196065" y="7695574"/>
                </a:moveTo>
                <a:cubicBezTo>
                  <a:pt x="15477577" y="7998830"/>
                  <a:pt x="16804162" y="8085796"/>
                  <a:pt x="18066716" y="7989289"/>
                </a:cubicBezTo>
                <a:moveTo>
                  <a:pt x="14196048" y="7695558"/>
                </a:moveTo>
                <a:cubicBezTo>
                  <a:pt x="14419296" y="7882865"/>
                  <a:pt x="14622328" y="8037338"/>
                  <a:pt x="14871692" y="8200488"/>
                </a:cubicBezTo>
                <a:cubicBezTo>
                  <a:pt x="14049246" y="8088704"/>
                  <a:pt x="13586499" y="7944966"/>
                  <a:pt x="13070244" y="7739850"/>
                </a:cubicBezTo>
                <a:moveTo>
                  <a:pt x="15397921" y="8603409"/>
                </a:moveTo>
                <a:cubicBezTo>
                  <a:pt x="15328839" y="8519351"/>
                  <a:pt x="15293676" y="8494942"/>
                  <a:pt x="15213046" y="8432244"/>
                </a:cubicBezTo>
                <a:moveTo>
                  <a:pt x="15397921" y="8603409"/>
                </a:moveTo>
                <a:cubicBezTo>
                  <a:pt x="15397921" y="8603409"/>
                  <a:pt x="15483130" y="8693220"/>
                  <a:pt x="15487834" y="8816336"/>
                </a:cubicBezTo>
                <a:lnTo>
                  <a:pt x="14214487" y="8689086"/>
                </a:lnTo>
                <a:moveTo>
                  <a:pt x="15397921" y="8603409"/>
                </a:moveTo>
                <a:cubicBezTo>
                  <a:pt x="15872626" y="8661831"/>
                  <a:pt x="16402820" y="8688582"/>
                  <a:pt x="16902492" y="8707695"/>
                </a:cubicBezTo>
                <a:moveTo>
                  <a:pt x="15410602" y="10219528"/>
                </a:moveTo>
                <a:lnTo>
                  <a:pt x="15442445" y="9734623"/>
                </a:lnTo>
                <a:moveTo>
                  <a:pt x="15442445" y="9734623"/>
                </a:moveTo>
                <a:lnTo>
                  <a:pt x="15474273" y="9250206"/>
                </a:lnTo>
                <a:moveTo>
                  <a:pt x="15474273" y="9250206"/>
                </a:moveTo>
                <a:cubicBezTo>
                  <a:pt x="15483759" y="9105917"/>
                  <a:pt x="15498060" y="8960986"/>
                  <a:pt x="15487866" y="8816336"/>
                </a:cubicBezTo>
                <a:moveTo>
                  <a:pt x="15888044" y="2949333"/>
                </a:moveTo>
                <a:lnTo>
                  <a:pt x="15856264" y="3433766"/>
                </a:lnTo>
                <a:moveTo>
                  <a:pt x="15856264" y="3433766"/>
                </a:moveTo>
                <a:cubicBezTo>
                  <a:pt x="15846824" y="3578054"/>
                  <a:pt x="15842576" y="3723631"/>
                  <a:pt x="15812999" y="3865671"/>
                </a:cubicBezTo>
                <a:lnTo>
                  <a:pt x="17124954" y="3949352"/>
                </a:lnTo>
                <a:moveTo>
                  <a:pt x="15919982" y="2464396"/>
                </a:moveTo>
                <a:lnTo>
                  <a:pt x="15888044" y="2949301"/>
                </a:lnTo>
                <a:lnTo>
                  <a:pt x="14603921" y="2865118"/>
                </a:lnTo>
                <a:moveTo>
                  <a:pt x="15919982" y="2464396"/>
                </a:moveTo>
                <a:lnTo>
                  <a:pt x="15951762" y="1979523"/>
                </a:lnTo>
                <a:moveTo>
                  <a:pt x="15919982" y="2464396"/>
                </a:moveTo>
                <a:lnTo>
                  <a:pt x="14635747" y="2380244"/>
                </a:lnTo>
                <a:moveTo>
                  <a:pt x="16015479" y="1010175"/>
                </a:moveTo>
                <a:lnTo>
                  <a:pt x="15983542" y="1495075"/>
                </a:lnTo>
                <a:moveTo>
                  <a:pt x="15951762" y="1979523"/>
                </a:moveTo>
                <a:lnTo>
                  <a:pt x="15983542" y="1495086"/>
                </a:lnTo>
                <a:moveTo>
                  <a:pt x="24431722" y="10323878"/>
                </a:moveTo>
                <a:lnTo>
                  <a:pt x="24442890" y="10324617"/>
                </a:lnTo>
                <a:moveTo>
                  <a:pt x="24474672" y="9840199"/>
                </a:moveTo>
                <a:lnTo>
                  <a:pt x="24463658" y="9839460"/>
                </a:lnTo>
                <a:moveTo>
                  <a:pt x="11684880" y="8028300"/>
                </a:moveTo>
                <a:cubicBezTo>
                  <a:pt x="11895022" y="8042069"/>
                  <a:pt x="12369051" y="8070785"/>
                  <a:pt x="12879185" y="8158364"/>
                </a:cubicBezTo>
                <a:moveTo>
                  <a:pt x="20674580" y="8617586"/>
                </a:moveTo>
                <a:lnTo>
                  <a:pt x="20341988" y="8595770"/>
                </a:lnTo>
                <a:cubicBezTo>
                  <a:pt x="20054866" y="8576956"/>
                  <a:pt x="19729040" y="8587141"/>
                  <a:pt x="19488328" y="8602418"/>
                </a:cubicBezTo>
                <a:moveTo>
                  <a:pt x="11646271" y="7561376"/>
                </a:moveTo>
                <a:cubicBezTo>
                  <a:pt x="12028640" y="7638676"/>
                  <a:pt x="12246743" y="7693436"/>
                  <a:pt x="12545352" y="7796293"/>
                </a:cubicBezTo>
                <a:moveTo>
                  <a:pt x="10432568" y="7459228"/>
                </a:moveTo>
                <a:cubicBezTo>
                  <a:pt x="10833737" y="7485523"/>
                  <a:pt x="11250341" y="7487881"/>
                  <a:pt x="11645783" y="7560874"/>
                </a:cubicBezTo>
                <a:moveTo>
                  <a:pt x="19877714" y="8295736"/>
                </a:moveTo>
                <a:cubicBezTo>
                  <a:pt x="19360108" y="8388361"/>
                  <a:pt x="19115936" y="8411890"/>
                  <a:pt x="18710818" y="8471900"/>
                </a:cubicBezTo>
                <a:moveTo>
                  <a:pt x="12545414" y="7795821"/>
                </a:moveTo>
                <a:cubicBezTo>
                  <a:pt x="12938812" y="7916187"/>
                  <a:pt x="13113634" y="7980818"/>
                  <a:pt x="13647621" y="8118850"/>
                </a:cubicBezTo>
                <a:moveTo>
                  <a:pt x="18710188" y="8471883"/>
                </a:moveTo>
                <a:cubicBezTo>
                  <a:pt x="18160170" y="8553914"/>
                  <a:pt x="17625572" y="8563109"/>
                  <a:pt x="17080274" y="8564539"/>
                </a:cubicBezTo>
                <a:moveTo>
                  <a:pt x="20800442" y="8170357"/>
                </a:moveTo>
                <a:cubicBezTo>
                  <a:pt x="20474932" y="8185257"/>
                  <a:pt x="20238310" y="8226201"/>
                  <a:pt x="19877714" y="8295264"/>
                </a:cubicBezTo>
                <a:moveTo>
                  <a:pt x="13647557" y="8119337"/>
                </a:moveTo>
                <a:cubicBezTo>
                  <a:pt x="14179372" y="8290643"/>
                  <a:pt x="14704311" y="8355636"/>
                  <a:pt x="15213031" y="8432275"/>
                </a:cubicBezTo>
                <a:moveTo>
                  <a:pt x="24570168" y="8385956"/>
                </a:moveTo>
                <a:lnTo>
                  <a:pt x="24558998" y="8385217"/>
                </a:lnTo>
                <a:moveTo>
                  <a:pt x="11191453" y="6598058"/>
                </a:moveTo>
                <a:cubicBezTo>
                  <a:pt x="11397914" y="6659577"/>
                  <a:pt x="11512259" y="6703775"/>
                  <a:pt x="11661705" y="6773325"/>
                </a:cubicBezTo>
                <a:moveTo>
                  <a:pt x="11661752" y="6773797"/>
                </a:moveTo>
                <a:cubicBezTo>
                  <a:pt x="11943148" y="6895279"/>
                  <a:pt x="12096276" y="6957552"/>
                  <a:pt x="12360192" y="7093886"/>
                </a:cubicBezTo>
                <a:moveTo>
                  <a:pt x="21415434" y="7277170"/>
                </a:moveTo>
                <a:cubicBezTo>
                  <a:pt x="21278718" y="7298782"/>
                  <a:pt x="21106444" y="7333125"/>
                  <a:pt x="20922056" y="7397268"/>
                </a:cubicBezTo>
                <a:moveTo>
                  <a:pt x="20922686" y="7397316"/>
                </a:moveTo>
                <a:cubicBezTo>
                  <a:pt x="20627224" y="7489940"/>
                  <a:pt x="20428046" y="7537108"/>
                  <a:pt x="20142814" y="7635564"/>
                </a:cubicBezTo>
                <a:moveTo>
                  <a:pt x="24622718" y="7415894"/>
                </a:moveTo>
                <a:lnTo>
                  <a:pt x="24633886" y="7416633"/>
                </a:lnTo>
                <a:moveTo>
                  <a:pt x="20142814" y="7635108"/>
                </a:moveTo>
                <a:cubicBezTo>
                  <a:pt x="19805030" y="7748008"/>
                  <a:pt x="18872548" y="7914615"/>
                  <a:pt x="18066244" y="7988802"/>
                </a:cubicBezTo>
                <a:moveTo>
                  <a:pt x="24665668" y="6931728"/>
                </a:moveTo>
                <a:lnTo>
                  <a:pt x="24654654" y="6931005"/>
                </a:lnTo>
                <a:moveTo>
                  <a:pt x="18998254" y="6560194"/>
                </a:moveTo>
                <a:cubicBezTo>
                  <a:pt x="17124166" y="6459947"/>
                  <a:pt x="15319918" y="6341672"/>
                  <a:pt x="13443409" y="6196079"/>
                </a:cubicBezTo>
                <a:moveTo>
                  <a:pt x="9275737" y="5436398"/>
                </a:moveTo>
                <a:lnTo>
                  <a:pt x="10227192" y="5498766"/>
                </a:lnTo>
                <a:cubicBezTo>
                  <a:pt x="10417700" y="5511246"/>
                  <a:pt x="10555661" y="5520299"/>
                  <a:pt x="10555661" y="5520299"/>
                </a:cubicBezTo>
                <a:moveTo>
                  <a:pt x="10555676" y="5519796"/>
                </a:moveTo>
                <a:cubicBezTo>
                  <a:pt x="10790220" y="5527168"/>
                  <a:pt x="11036438" y="5551310"/>
                  <a:pt x="11263383" y="5504063"/>
                </a:cubicBezTo>
                <a:moveTo>
                  <a:pt x="24761164" y="5477971"/>
                </a:moveTo>
                <a:lnTo>
                  <a:pt x="24749994" y="5477249"/>
                </a:lnTo>
                <a:moveTo>
                  <a:pt x="15489769" y="4210548"/>
                </a:moveTo>
                <a:cubicBezTo>
                  <a:pt x="14977762" y="4248978"/>
                  <a:pt x="14447096" y="4214194"/>
                  <a:pt x="13896795" y="4316454"/>
                </a:cubicBezTo>
                <a:moveTo>
                  <a:pt x="11840225" y="4608393"/>
                </a:moveTo>
                <a:cubicBezTo>
                  <a:pt x="11840225" y="4608393"/>
                  <a:pt x="11736420" y="4614774"/>
                  <a:pt x="11564650" y="4609163"/>
                </a:cubicBezTo>
                <a:cubicBezTo>
                  <a:pt x="11479032" y="4606365"/>
                  <a:pt x="10623579" y="4550772"/>
                  <a:pt x="10623579" y="4550772"/>
                </a:cubicBezTo>
                <a:moveTo>
                  <a:pt x="17200786" y="4157957"/>
                </a:moveTo>
                <a:cubicBezTo>
                  <a:pt x="16699226" y="4126505"/>
                  <a:pt x="16197666" y="4094112"/>
                  <a:pt x="15695475" y="4064971"/>
                </a:cubicBezTo>
                <a:moveTo>
                  <a:pt x="24792944" y="4993051"/>
                </a:moveTo>
                <a:lnTo>
                  <a:pt x="24781932" y="4992328"/>
                </a:lnTo>
                <a:moveTo>
                  <a:pt x="14311291" y="4099408"/>
                </a:moveTo>
                <a:cubicBezTo>
                  <a:pt x="13919514" y="4133013"/>
                  <a:pt x="13491913" y="4152031"/>
                  <a:pt x="13140600" y="4177934"/>
                </a:cubicBezTo>
                <a:moveTo>
                  <a:pt x="5533323" y="3742335"/>
                </a:moveTo>
                <a:cubicBezTo>
                  <a:pt x="5601697" y="3723757"/>
                  <a:pt x="5708680" y="3742068"/>
                  <a:pt x="5816937" y="3749157"/>
                </a:cubicBezTo>
                <a:lnTo>
                  <a:pt x="6803413" y="3813819"/>
                </a:lnTo>
                <a:moveTo>
                  <a:pt x="17402166" y="8385657"/>
                </a:moveTo>
                <a:cubicBezTo>
                  <a:pt x="16570374" y="8400321"/>
                  <a:pt x="15721277" y="8344665"/>
                  <a:pt x="14871708" y="8200471"/>
                </a:cubicBezTo>
                <a:moveTo>
                  <a:pt x="21113996" y="7756165"/>
                </a:moveTo>
                <a:cubicBezTo>
                  <a:pt x="20895784" y="7806320"/>
                  <a:pt x="20741758" y="7839045"/>
                  <a:pt x="20402560" y="7924564"/>
                </a:cubicBezTo>
                <a:moveTo>
                  <a:pt x="24729384" y="5962405"/>
                </a:moveTo>
                <a:lnTo>
                  <a:pt x="24718214" y="5961666"/>
                </a:lnTo>
                <a:moveTo>
                  <a:pt x="12251605" y="4868284"/>
                </a:moveTo>
                <a:cubicBezTo>
                  <a:pt x="12003735" y="4901448"/>
                  <a:pt x="11785333" y="4981231"/>
                  <a:pt x="11549373" y="5027865"/>
                </a:cubicBezTo>
                <a:moveTo>
                  <a:pt x="4229596" y="3720409"/>
                </a:moveTo>
                <a:cubicBezTo>
                  <a:pt x="4780038" y="3721666"/>
                  <a:pt x="5123044" y="3367736"/>
                  <a:pt x="5592446" y="3263937"/>
                </a:cubicBezTo>
                <a:moveTo>
                  <a:pt x="1697927" y="2992635"/>
                </a:moveTo>
                <a:lnTo>
                  <a:pt x="2684403" y="3057297"/>
                </a:lnTo>
                <a:cubicBezTo>
                  <a:pt x="2848904" y="3068080"/>
                  <a:pt x="2903450" y="3081534"/>
                  <a:pt x="2938046" y="3090399"/>
                </a:cubicBezTo>
                <a:moveTo>
                  <a:pt x="24824882" y="4508602"/>
                </a:moveTo>
                <a:lnTo>
                  <a:pt x="24813712" y="4507879"/>
                </a:lnTo>
                <a:moveTo>
                  <a:pt x="24888442" y="3539279"/>
                </a:moveTo>
                <a:lnTo>
                  <a:pt x="24877430" y="3538556"/>
                </a:lnTo>
                <a:moveTo>
                  <a:pt x="24920380" y="3054405"/>
                </a:moveTo>
                <a:lnTo>
                  <a:pt x="24909210" y="3053682"/>
                </a:lnTo>
                <a:moveTo>
                  <a:pt x="24984098" y="2085067"/>
                </a:moveTo>
                <a:lnTo>
                  <a:pt x="24972926" y="2084328"/>
                </a:lnTo>
              </a:path>
            </a:pathLst>
          </a:custGeom>
          <a:noFill/>
          <a:ln w="50800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" name="Текст 11">
            <a:extLst>
              <a:ext uri="{FF2B5EF4-FFF2-40B4-BE49-F238E27FC236}">
                <a16:creationId xmlns:a16="http://schemas.microsoft.com/office/drawing/2014/main" id="{7383184D-C523-AA74-47DA-77258BF79F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081837" y="2743351"/>
            <a:ext cx="4653713" cy="1592744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11500" b="1" i="0" kern="1200" dirty="0">
                <a:solidFill>
                  <a:schemeClr val="bg1"/>
                </a:solidFill>
                <a:latin typeface="YS Text Wide" pitchFamily="2" charset="0"/>
                <a:ea typeface="YS Text Wide" pitchFamily="2" charset="0"/>
                <a:cs typeface="YS Text Wide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5" name="Текст 11">
            <a:extLst>
              <a:ext uri="{FF2B5EF4-FFF2-40B4-BE49-F238E27FC236}">
                <a16:creationId xmlns:a16="http://schemas.microsoft.com/office/drawing/2014/main" id="{D3905870-B0EC-91AD-3240-9A09149898C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114495" y="4280856"/>
            <a:ext cx="4653714" cy="17727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3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Почему она такая важная?</a:t>
            </a:r>
            <a:br>
              <a:rPr lang="ru-RU" dirty="0"/>
            </a:br>
            <a:r>
              <a:rPr lang="ru-RU" dirty="0"/>
              <a:t>И что это за цифра вообще?</a:t>
            </a:r>
          </a:p>
        </p:txBody>
      </p:sp>
      <p:sp>
        <p:nvSpPr>
          <p:cNvPr id="2" name="Текст 11">
            <a:extLst>
              <a:ext uri="{FF2B5EF4-FFF2-40B4-BE49-F238E27FC236}">
                <a16:creationId xmlns:a16="http://schemas.microsoft.com/office/drawing/2014/main" id="{76CD907C-3452-750D-1185-38CAA105D83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081837" y="8197094"/>
            <a:ext cx="4653713" cy="1592744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11500" b="1" i="0" kern="1200" dirty="0">
                <a:solidFill>
                  <a:schemeClr val="bg1"/>
                </a:solidFill>
                <a:latin typeface="YS Text Wide" pitchFamily="2" charset="0"/>
                <a:ea typeface="YS Text Wide" pitchFamily="2" charset="0"/>
                <a:cs typeface="YS Text Wide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3" name="Текст 11">
            <a:extLst>
              <a:ext uri="{FF2B5EF4-FFF2-40B4-BE49-F238E27FC236}">
                <a16:creationId xmlns:a16="http://schemas.microsoft.com/office/drawing/2014/main" id="{FE3B2180-6F5B-4A2B-E995-3D52A5E7BA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114495" y="9734599"/>
            <a:ext cx="4653714" cy="17727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3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Почему она такая важная?</a:t>
            </a:r>
            <a:br>
              <a:rPr lang="ru-RU" dirty="0"/>
            </a:br>
            <a:r>
              <a:rPr lang="ru-RU" dirty="0"/>
              <a:t>И что это за цифра вообще?</a:t>
            </a:r>
          </a:p>
        </p:txBody>
      </p:sp>
      <p:sp>
        <p:nvSpPr>
          <p:cNvPr id="7" name="Текст 11">
            <a:extLst>
              <a:ext uri="{FF2B5EF4-FFF2-40B4-BE49-F238E27FC236}">
                <a16:creationId xmlns:a16="http://schemas.microsoft.com/office/drawing/2014/main" id="{A8A1366A-CF5D-29F4-919C-9E0447AD69C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8741048" y="2743351"/>
            <a:ext cx="4653713" cy="1592744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11500" b="1" i="0" kern="1200" dirty="0">
                <a:solidFill>
                  <a:schemeClr val="bg1"/>
                </a:solidFill>
                <a:latin typeface="YS Text Wide" pitchFamily="2" charset="0"/>
                <a:ea typeface="YS Text Wide" pitchFamily="2" charset="0"/>
                <a:cs typeface="YS Text Wide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8" name="Текст 11">
            <a:extLst>
              <a:ext uri="{FF2B5EF4-FFF2-40B4-BE49-F238E27FC236}">
                <a16:creationId xmlns:a16="http://schemas.microsoft.com/office/drawing/2014/main" id="{BCF49EA1-C565-11F8-B47F-E9CB13F0A24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8773706" y="4280856"/>
            <a:ext cx="4653714" cy="17727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3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Почему она такая важная?</a:t>
            </a:r>
            <a:br>
              <a:rPr lang="ru-RU" dirty="0"/>
            </a:br>
            <a:r>
              <a:rPr lang="ru-RU" dirty="0"/>
              <a:t>И что это за цифра вообще?</a:t>
            </a:r>
          </a:p>
        </p:txBody>
      </p:sp>
      <p:sp>
        <p:nvSpPr>
          <p:cNvPr id="9" name="Текст 11">
            <a:extLst>
              <a:ext uri="{FF2B5EF4-FFF2-40B4-BE49-F238E27FC236}">
                <a16:creationId xmlns:a16="http://schemas.microsoft.com/office/drawing/2014/main" id="{27164DC6-0B6F-A88D-ECB2-E9A91B865CB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8741048" y="8197094"/>
            <a:ext cx="4653713" cy="1592744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11500" b="1" i="0" kern="1200" dirty="0">
                <a:solidFill>
                  <a:schemeClr val="bg1"/>
                </a:solidFill>
                <a:latin typeface="YS Text Wide" pitchFamily="2" charset="0"/>
                <a:ea typeface="YS Text Wide" pitchFamily="2" charset="0"/>
                <a:cs typeface="YS Text Wide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10" name="Текст 11">
            <a:extLst>
              <a:ext uri="{FF2B5EF4-FFF2-40B4-BE49-F238E27FC236}">
                <a16:creationId xmlns:a16="http://schemas.microsoft.com/office/drawing/2014/main" id="{DECAA797-3996-40AF-70B1-BE23C5623D6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773706" y="9734599"/>
            <a:ext cx="4653714" cy="17727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3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Почему она такая важная?</a:t>
            </a:r>
            <a:br>
              <a:rPr lang="ru-RU" dirty="0"/>
            </a:br>
            <a:r>
              <a:rPr lang="ru-RU" dirty="0"/>
              <a:t>И что это за цифра вообще?</a:t>
            </a:r>
          </a:p>
        </p:txBody>
      </p:sp>
      <p:sp>
        <p:nvSpPr>
          <p:cNvPr id="12" name="Текст 11">
            <a:extLst>
              <a:ext uri="{FF2B5EF4-FFF2-40B4-BE49-F238E27FC236}">
                <a16:creationId xmlns:a16="http://schemas.microsoft.com/office/drawing/2014/main" id="{C27CC727-ECFA-ABC8-0585-05319EB1AE0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8000" y="6337952"/>
            <a:ext cx="10156371" cy="121879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ый текст, если нужно пояснение к заголовку. Можно убрать</a:t>
            </a:r>
          </a:p>
        </p:txBody>
      </p:sp>
      <p:sp>
        <p:nvSpPr>
          <p:cNvPr id="6" name="Текст 11">
            <a:extLst>
              <a:ext uri="{FF2B5EF4-FFF2-40B4-BE49-F238E27FC236}">
                <a16:creationId xmlns:a16="http://schemas.microsoft.com/office/drawing/2014/main" id="{A70C47F5-964F-9AB7-6182-F33F931EA6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8001" y="2460989"/>
            <a:ext cx="10156372" cy="397493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8700" b="1" i="0" kern="1200" dirty="0">
                <a:solidFill>
                  <a:schemeClr val="bg1"/>
                </a:solidFill>
                <a:latin typeface="YS Text Wide" pitchFamily="2" charset="0"/>
                <a:ea typeface="YS Text Wide" pitchFamily="2" charset="0"/>
                <a:cs typeface="YS Text Wide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</p:spTree>
    <p:extLst>
      <p:ext uri="{BB962C8B-B14F-4D97-AF65-F5344CB8AC3E}">
        <p14:creationId xmlns:p14="http://schemas.microsoft.com/office/powerpoint/2010/main" val="417031678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ажная цифра и текст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Рисунок 2">
            <a:extLst>
              <a:ext uri="{FF2B5EF4-FFF2-40B4-BE49-F238E27FC236}">
                <a16:creationId xmlns:a16="http://schemas.microsoft.com/office/drawing/2014/main" id="{5EE108E2-5D23-9418-BA6B-DF51A3DC8A48}"/>
              </a:ext>
            </a:extLst>
          </p:cNvPr>
          <p:cNvSpPr/>
          <p:nvPr userDrawn="1"/>
        </p:nvSpPr>
        <p:spPr>
          <a:xfrm rot="1898094">
            <a:off x="-10063405" y="-7256003"/>
            <a:ext cx="37651226" cy="16275492"/>
          </a:xfrm>
          <a:custGeom>
            <a:avLst/>
            <a:gdLst>
              <a:gd name="connsiteX0" fmla="*/ 24781932 w 25004707"/>
              <a:gd name="connsiteY0" fmla="*/ 4992328 h 10808782"/>
              <a:gd name="connsiteX1" fmla="*/ 24813712 w 25004707"/>
              <a:gd name="connsiteY1" fmla="*/ 4507894 h 10808782"/>
              <a:gd name="connsiteX2" fmla="*/ 24781932 w 25004707"/>
              <a:gd name="connsiteY2" fmla="*/ 4992328 h 10808782"/>
              <a:gd name="connsiteX3" fmla="*/ 24749994 w 25004707"/>
              <a:gd name="connsiteY3" fmla="*/ 5477249 h 10808782"/>
              <a:gd name="connsiteX4" fmla="*/ 24781932 w 25004707"/>
              <a:gd name="connsiteY4" fmla="*/ 4992328 h 10808782"/>
              <a:gd name="connsiteX5" fmla="*/ 23497668 w 25004707"/>
              <a:gd name="connsiteY5" fmla="*/ 4908160 h 10808782"/>
              <a:gd name="connsiteX6" fmla="*/ 23465886 w 25004707"/>
              <a:gd name="connsiteY6" fmla="*/ 5393065 h 10808782"/>
              <a:gd name="connsiteX7" fmla="*/ 24813712 w 25004707"/>
              <a:gd name="connsiteY7" fmla="*/ 4507894 h 10808782"/>
              <a:gd name="connsiteX8" fmla="*/ 24845492 w 25004707"/>
              <a:gd name="connsiteY8" fmla="*/ 4022989 h 10808782"/>
              <a:gd name="connsiteX9" fmla="*/ 24813712 w 25004707"/>
              <a:gd name="connsiteY9" fmla="*/ 4507894 h 10808782"/>
              <a:gd name="connsiteX10" fmla="*/ 23529446 w 25004707"/>
              <a:gd name="connsiteY10" fmla="*/ 4423711 h 10808782"/>
              <a:gd name="connsiteX11" fmla="*/ 24718214 w 25004707"/>
              <a:gd name="connsiteY11" fmla="*/ 5961666 h 10808782"/>
              <a:gd name="connsiteX12" fmla="*/ 24686276 w 25004707"/>
              <a:gd name="connsiteY12" fmla="*/ 6446571 h 10808782"/>
              <a:gd name="connsiteX13" fmla="*/ 23402168 w 25004707"/>
              <a:gd name="connsiteY13" fmla="*/ 6362388 h 10808782"/>
              <a:gd name="connsiteX14" fmla="*/ 24718214 w 25004707"/>
              <a:gd name="connsiteY14" fmla="*/ 5961666 h 10808782"/>
              <a:gd name="connsiteX15" fmla="*/ 24749994 w 25004707"/>
              <a:gd name="connsiteY15" fmla="*/ 5477249 h 10808782"/>
              <a:gd name="connsiteX16" fmla="*/ 24718214 w 25004707"/>
              <a:gd name="connsiteY16" fmla="*/ 5961666 h 10808782"/>
              <a:gd name="connsiteX17" fmla="*/ 23433948 w 25004707"/>
              <a:gd name="connsiteY17" fmla="*/ 5877498 h 10808782"/>
              <a:gd name="connsiteX18" fmla="*/ 24749994 w 25004707"/>
              <a:gd name="connsiteY18" fmla="*/ 5477249 h 10808782"/>
              <a:gd name="connsiteX19" fmla="*/ 23465886 w 25004707"/>
              <a:gd name="connsiteY19" fmla="*/ 5393065 h 10808782"/>
              <a:gd name="connsiteX20" fmla="*/ 24940990 w 25004707"/>
              <a:gd name="connsiteY20" fmla="*/ 2568777 h 10808782"/>
              <a:gd name="connsiteX21" fmla="*/ 24909210 w 25004707"/>
              <a:gd name="connsiteY21" fmla="*/ 3053682 h 10808782"/>
              <a:gd name="connsiteX22" fmla="*/ 23624944 w 25004707"/>
              <a:gd name="connsiteY22" fmla="*/ 2969499 h 10808782"/>
              <a:gd name="connsiteX23" fmla="*/ 24877430 w 25004707"/>
              <a:gd name="connsiteY23" fmla="*/ 3538571 h 10808782"/>
              <a:gd name="connsiteX24" fmla="*/ 24845492 w 25004707"/>
              <a:gd name="connsiteY24" fmla="*/ 4023005 h 10808782"/>
              <a:gd name="connsiteX25" fmla="*/ 24845492 w 25004707"/>
              <a:gd name="connsiteY25" fmla="*/ 4023005 h 10808782"/>
              <a:gd name="connsiteX26" fmla="*/ 24856664 w 25004707"/>
              <a:gd name="connsiteY26" fmla="*/ 4023744 h 10808782"/>
              <a:gd name="connsiteX27" fmla="*/ 24845492 w 25004707"/>
              <a:gd name="connsiteY27" fmla="*/ 4023005 h 10808782"/>
              <a:gd name="connsiteX28" fmla="*/ 23561384 w 25004707"/>
              <a:gd name="connsiteY28" fmla="*/ 3938837 h 10808782"/>
              <a:gd name="connsiteX29" fmla="*/ 24940990 w 25004707"/>
              <a:gd name="connsiteY29" fmla="*/ 2568777 h 10808782"/>
              <a:gd name="connsiteX30" fmla="*/ 23656882 w 25004707"/>
              <a:gd name="connsiteY30" fmla="*/ 2484594 h 10808782"/>
              <a:gd name="connsiteX31" fmla="*/ 23624944 w 25004707"/>
              <a:gd name="connsiteY31" fmla="*/ 2969499 h 10808782"/>
              <a:gd name="connsiteX32" fmla="*/ 24940990 w 25004707"/>
              <a:gd name="connsiteY32" fmla="*/ 2568777 h 10808782"/>
              <a:gd name="connsiteX33" fmla="*/ 24952160 w 25004707"/>
              <a:gd name="connsiteY33" fmla="*/ 2569500 h 10808782"/>
              <a:gd name="connsiteX34" fmla="*/ 24940990 w 25004707"/>
              <a:gd name="connsiteY34" fmla="*/ 2568777 h 10808782"/>
              <a:gd name="connsiteX35" fmla="*/ 25004708 w 25004707"/>
              <a:gd name="connsiteY35" fmla="*/ 1599423 h 10808782"/>
              <a:gd name="connsiteX36" fmla="*/ 5763304 w 25004707"/>
              <a:gd name="connsiteY36" fmla="*/ 338142 h 10808782"/>
              <a:gd name="connsiteX37" fmla="*/ 631905 w 25004707"/>
              <a:gd name="connsiteY37" fmla="*/ 1774 h 10808782"/>
              <a:gd name="connsiteX38" fmla="*/ 604841 w 25004707"/>
              <a:gd name="connsiteY38" fmla="*/ 0 h 10808782"/>
              <a:gd name="connsiteX39" fmla="*/ 0 w 25004707"/>
              <a:gd name="connsiteY39" fmla="*/ 9209356 h 10808782"/>
              <a:gd name="connsiteX40" fmla="*/ 1284177 w 25004707"/>
              <a:gd name="connsiteY40" fmla="*/ 9293539 h 10808782"/>
              <a:gd name="connsiteX41" fmla="*/ 24909210 w 25004707"/>
              <a:gd name="connsiteY41" fmla="*/ 3053651 h 10808782"/>
              <a:gd name="connsiteX42" fmla="*/ 24877430 w 25004707"/>
              <a:gd name="connsiteY42" fmla="*/ 3538556 h 10808782"/>
              <a:gd name="connsiteX43" fmla="*/ 23593164 w 25004707"/>
              <a:gd name="connsiteY43" fmla="*/ 3454388 h 10808782"/>
              <a:gd name="connsiteX44" fmla="*/ 24590780 w 25004707"/>
              <a:gd name="connsiteY44" fmla="*/ 7900799 h 10808782"/>
              <a:gd name="connsiteX45" fmla="*/ 24622718 w 25004707"/>
              <a:gd name="connsiteY45" fmla="*/ 7415910 h 10808782"/>
              <a:gd name="connsiteX46" fmla="*/ 24590780 w 25004707"/>
              <a:gd name="connsiteY46" fmla="*/ 7900799 h 10808782"/>
              <a:gd name="connsiteX47" fmla="*/ 23306672 w 25004707"/>
              <a:gd name="connsiteY47" fmla="*/ 7816615 h 10808782"/>
              <a:gd name="connsiteX48" fmla="*/ 23274890 w 25004707"/>
              <a:gd name="connsiteY48" fmla="*/ 8301049 h 10808782"/>
              <a:gd name="connsiteX49" fmla="*/ 21990782 w 25004707"/>
              <a:gd name="connsiteY49" fmla="*/ 8216849 h 10808782"/>
              <a:gd name="connsiteX50" fmla="*/ 21466882 w 25004707"/>
              <a:gd name="connsiteY50" fmla="*/ 8182522 h 10808782"/>
              <a:gd name="connsiteX51" fmla="*/ 20799970 w 25004707"/>
              <a:gd name="connsiteY51" fmla="*/ 8169870 h 10808782"/>
              <a:gd name="connsiteX52" fmla="*/ 24590780 w 25004707"/>
              <a:gd name="connsiteY52" fmla="*/ 7900799 h 10808782"/>
              <a:gd name="connsiteX53" fmla="*/ 24601948 w 25004707"/>
              <a:gd name="connsiteY53" fmla="*/ 7901538 h 10808782"/>
              <a:gd name="connsiteX54" fmla="*/ 24622718 w 25004707"/>
              <a:gd name="connsiteY54" fmla="*/ 7415910 h 10808782"/>
              <a:gd name="connsiteX55" fmla="*/ 24654496 w 25004707"/>
              <a:gd name="connsiteY55" fmla="*/ 6931005 h 10808782"/>
              <a:gd name="connsiteX56" fmla="*/ 24622718 w 25004707"/>
              <a:gd name="connsiteY56" fmla="*/ 7415910 h 10808782"/>
              <a:gd name="connsiteX57" fmla="*/ 23338452 w 25004707"/>
              <a:gd name="connsiteY57" fmla="*/ 7331710 h 10808782"/>
              <a:gd name="connsiteX58" fmla="*/ 24558998 w 25004707"/>
              <a:gd name="connsiteY58" fmla="*/ 8385232 h 10808782"/>
              <a:gd name="connsiteX59" fmla="*/ 24527218 w 25004707"/>
              <a:gd name="connsiteY59" fmla="*/ 8870137 h 10808782"/>
              <a:gd name="connsiteX60" fmla="*/ 23242952 w 25004707"/>
              <a:gd name="connsiteY60" fmla="*/ 8785953 h 10808782"/>
              <a:gd name="connsiteX61" fmla="*/ 24558998 w 25004707"/>
              <a:gd name="connsiteY61" fmla="*/ 8385232 h 10808782"/>
              <a:gd name="connsiteX62" fmla="*/ 24590780 w 25004707"/>
              <a:gd name="connsiteY62" fmla="*/ 7900799 h 10808782"/>
              <a:gd name="connsiteX63" fmla="*/ 24558998 w 25004707"/>
              <a:gd name="connsiteY63" fmla="*/ 8385232 h 10808782"/>
              <a:gd name="connsiteX64" fmla="*/ 23274890 w 25004707"/>
              <a:gd name="connsiteY64" fmla="*/ 8301049 h 10808782"/>
              <a:gd name="connsiteX65" fmla="*/ 23242952 w 25004707"/>
              <a:gd name="connsiteY65" fmla="*/ 8785953 h 10808782"/>
              <a:gd name="connsiteX66" fmla="*/ 24654496 w 25004707"/>
              <a:gd name="connsiteY66" fmla="*/ 6931005 h 10808782"/>
              <a:gd name="connsiteX67" fmla="*/ 24686434 w 25004707"/>
              <a:gd name="connsiteY67" fmla="*/ 6446571 h 10808782"/>
              <a:gd name="connsiteX68" fmla="*/ 24697448 w 25004707"/>
              <a:gd name="connsiteY68" fmla="*/ 6447294 h 10808782"/>
              <a:gd name="connsiteX69" fmla="*/ 24654496 w 25004707"/>
              <a:gd name="connsiteY69" fmla="*/ 6931005 h 10808782"/>
              <a:gd name="connsiteX70" fmla="*/ 23370388 w 25004707"/>
              <a:gd name="connsiteY70" fmla="*/ 6846837 h 10808782"/>
              <a:gd name="connsiteX71" fmla="*/ 24463500 w 25004707"/>
              <a:gd name="connsiteY71" fmla="*/ 9839444 h 10808782"/>
              <a:gd name="connsiteX72" fmla="*/ 24431722 w 25004707"/>
              <a:gd name="connsiteY72" fmla="*/ 10323878 h 10808782"/>
              <a:gd name="connsiteX73" fmla="*/ 23147614 w 25004707"/>
              <a:gd name="connsiteY73" fmla="*/ 10239694 h 10808782"/>
              <a:gd name="connsiteX74" fmla="*/ 23338608 w 25004707"/>
              <a:gd name="connsiteY74" fmla="*/ 7331726 h 10808782"/>
              <a:gd name="connsiteX75" fmla="*/ 23306672 w 25004707"/>
              <a:gd name="connsiteY75" fmla="*/ 7816631 h 10808782"/>
              <a:gd name="connsiteX76" fmla="*/ 22022564 w 25004707"/>
              <a:gd name="connsiteY76" fmla="*/ 7732447 h 10808782"/>
              <a:gd name="connsiteX77" fmla="*/ 23242952 w 25004707"/>
              <a:gd name="connsiteY77" fmla="*/ 8785953 h 10808782"/>
              <a:gd name="connsiteX78" fmla="*/ 23211172 w 25004707"/>
              <a:gd name="connsiteY78" fmla="*/ 9270371 h 10808782"/>
              <a:gd name="connsiteX79" fmla="*/ 23242952 w 25004707"/>
              <a:gd name="connsiteY79" fmla="*/ 8785953 h 10808782"/>
              <a:gd name="connsiteX80" fmla="*/ 21958844 w 25004707"/>
              <a:gd name="connsiteY80" fmla="*/ 8701770 h 10808782"/>
              <a:gd name="connsiteX81" fmla="*/ 23433948 w 25004707"/>
              <a:gd name="connsiteY81" fmla="*/ 5877498 h 10808782"/>
              <a:gd name="connsiteX82" fmla="*/ 23465886 w 25004707"/>
              <a:gd name="connsiteY82" fmla="*/ 5393065 h 10808782"/>
              <a:gd name="connsiteX83" fmla="*/ 23433948 w 25004707"/>
              <a:gd name="connsiteY83" fmla="*/ 5877498 h 10808782"/>
              <a:gd name="connsiteX84" fmla="*/ 22149840 w 25004707"/>
              <a:gd name="connsiteY84" fmla="*/ 5793299 h 10808782"/>
              <a:gd name="connsiteX85" fmla="*/ 22138828 w 25004707"/>
              <a:gd name="connsiteY85" fmla="*/ 6277685 h 10808782"/>
              <a:gd name="connsiteX86" fmla="*/ 23465886 w 25004707"/>
              <a:gd name="connsiteY86" fmla="*/ 5393065 h 10808782"/>
              <a:gd name="connsiteX87" fmla="*/ 22181622 w 25004707"/>
              <a:gd name="connsiteY87" fmla="*/ 5308881 h 10808782"/>
              <a:gd name="connsiteX88" fmla="*/ 23115676 w 25004707"/>
              <a:gd name="connsiteY88" fmla="*/ 10724599 h 10808782"/>
              <a:gd name="connsiteX89" fmla="*/ 23147614 w 25004707"/>
              <a:gd name="connsiteY89" fmla="*/ 10239709 h 10808782"/>
              <a:gd name="connsiteX90" fmla="*/ 23115676 w 25004707"/>
              <a:gd name="connsiteY90" fmla="*/ 10724599 h 10808782"/>
              <a:gd name="connsiteX91" fmla="*/ 24399940 w 25004707"/>
              <a:gd name="connsiteY91" fmla="*/ 10808782 h 10808782"/>
              <a:gd name="connsiteX92" fmla="*/ 24431722 w 25004707"/>
              <a:gd name="connsiteY92" fmla="*/ 10323878 h 10808782"/>
              <a:gd name="connsiteX93" fmla="*/ 23115676 w 25004707"/>
              <a:gd name="connsiteY93" fmla="*/ 10724599 h 10808782"/>
              <a:gd name="connsiteX94" fmla="*/ 21831568 w 25004707"/>
              <a:gd name="connsiteY94" fmla="*/ 10640431 h 10808782"/>
              <a:gd name="connsiteX95" fmla="*/ 23147614 w 25004707"/>
              <a:gd name="connsiteY95" fmla="*/ 10239709 h 10808782"/>
              <a:gd name="connsiteX96" fmla="*/ 23179392 w 25004707"/>
              <a:gd name="connsiteY96" fmla="*/ 9755261 h 10808782"/>
              <a:gd name="connsiteX97" fmla="*/ 23147614 w 25004707"/>
              <a:gd name="connsiteY97" fmla="*/ 10239709 h 10808782"/>
              <a:gd name="connsiteX98" fmla="*/ 21863348 w 25004707"/>
              <a:gd name="connsiteY98" fmla="*/ 10155526 h 10808782"/>
              <a:gd name="connsiteX99" fmla="*/ 23720600 w 25004707"/>
              <a:gd name="connsiteY99" fmla="*/ 1515244 h 10808782"/>
              <a:gd name="connsiteX100" fmla="*/ 23688662 w 25004707"/>
              <a:gd name="connsiteY100" fmla="*/ 2000144 h 10808782"/>
              <a:gd name="connsiteX101" fmla="*/ 23688662 w 25004707"/>
              <a:gd name="connsiteY101" fmla="*/ 2000144 h 10808782"/>
              <a:gd name="connsiteX102" fmla="*/ 24972772 w 25004707"/>
              <a:gd name="connsiteY102" fmla="*/ 2084312 h 10808782"/>
              <a:gd name="connsiteX103" fmla="*/ 23688662 w 25004707"/>
              <a:gd name="connsiteY103" fmla="*/ 2000144 h 10808782"/>
              <a:gd name="connsiteX104" fmla="*/ 22404554 w 25004707"/>
              <a:gd name="connsiteY104" fmla="*/ 1915976 h 10808782"/>
              <a:gd name="connsiteX105" fmla="*/ 23179392 w 25004707"/>
              <a:gd name="connsiteY105" fmla="*/ 9755261 h 10808782"/>
              <a:gd name="connsiteX106" fmla="*/ 23211172 w 25004707"/>
              <a:gd name="connsiteY106" fmla="*/ 9270387 h 10808782"/>
              <a:gd name="connsiteX107" fmla="*/ 23179392 w 25004707"/>
              <a:gd name="connsiteY107" fmla="*/ 9755261 h 10808782"/>
              <a:gd name="connsiteX108" fmla="*/ 21895126 w 25004707"/>
              <a:gd name="connsiteY108" fmla="*/ 9671092 h 10808782"/>
              <a:gd name="connsiteX109" fmla="*/ 21863348 w 25004707"/>
              <a:gd name="connsiteY109" fmla="*/ 10155526 h 10808782"/>
              <a:gd name="connsiteX110" fmla="*/ 23179392 w 25004707"/>
              <a:gd name="connsiteY110" fmla="*/ 9755261 h 10808782"/>
              <a:gd name="connsiteX111" fmla="*/ 24463500 w 25004707"/>
              <a:gd name="connsiteY111" fmla="*/ 9839460 h 10808782"/>
              <a:gd name="connsiteX112" fmla="*/ 24495438 w 25004707"/>
              <a:gd name="connsiteY112" fmla="*/ 9354555 h 10808782"/>
              <a:gd name="connsiteX113" fmla="*/ 24506452 w 25004707"/>
              <a:gd name="connsiteY113" fmla="*/ 9355294 h 10808782"/>
              <a:gd name="connsiteX114" fmla="*/ 23593164 w 25004707"/>
              <a:gd name="connsiteY114" fmla="*/ 3454388 h 10808782"/>
              <a:gd name="connsiteX115" fmla="*/ 23625102 w 25004707"/>
              <a:gd name="connsiteY115" fmla="*/ 2969483 h 10808782"/>
              <a:gd name="connsiteX116" fmla="*/ 23593164 w 25004707"/>
              <a:gd name="connsiteY116" fmla="*/ 3454388 h 10808782"/>
              <a:gd name="connsiteX117" fmla="*/ 22309056 w 25004707"/>
              <a:gd name="connsiteY117" fmla="*/ 3370204 h 10808782"/>
              <a:gd name="connsiteX118" fmla="*/ 23624944 w 25004707"/>
              <a:gd name="connsiteY118" fmla="*/ 2969499 h 10808782"/>
              <a:gd name="connsiteX119" fmla="*/ 22340836 w 25004707"/>
              <a:gd name="connsiteY119" fmla="*/ 2885315 h 10808782"/>
              <a:gd name="connsiteX120" fmla="*/ 23593164 w 25004707"/>
              <a:gd name="connsiteY120" fmla="*/ 3454388 h 10808782"/>
              <a:gd name="connsiteX121" fmla="*/ 23561384 w 25004707"/>
              <a:gd name="connsiteY121" fmla="*/ 3938821 h 10808782"/>
              <a:gd name="connsiteX122" fmla="*/ 22277118 w 25004707"/>
              <a:gd name="connsiteY122" fmla="*/ 3854653 h 10808782"/>
              <a:gd name="connsiteX123" fmla="*/ 23434106 w 25004707"/>
              <a:gd name="connsiteY123" fmla="*/ 5877482 h 10808782"/>
              <a:gd name="connsiteX124" fmla="*/ 23402168 w 25004707"/>
              <a:gd name="connsiteY124" fmla="*/ 6362388 h 10808782"/>
              <a:gd name="connsiteX125" fmla="*/ 22450808 w 25004707"/>
              <a:gd name="connsiteY125" fmla="*/ 6300020 h 10808782"/>
              <a:gd name="connsiteX126" fmla="*/ 22138828 w 25004707"/>
              <a:gd name="connsiteY126" fmla="*/ 6277685 h 10808782"/>
              <a:gd name="connsiteX127" fmla="*/ 23370388 w 25004707"/>
              <a:gd name="connsiteY127" fmla="*/ 6846837 h 10808782"/>
              <a:gd name="connsiteX128" fmla="*/ 23402168 w 25004707"/>
              <a:gd name="connsiteY128" fmla="*/ 6362404 h 10808782"/>
              <a:gd name="connsiteX129" fmla="*/ 23370388 w 25004707"/>
              <a:gd name="connsiteY129" fmla="*/ 6846837 h 10808782"/>
              <a:gd name="connsiteX130" fmla="*/ 23338452 w 25004707"/>
              <a:gd name="connsiteY130" fmla="*/ 7331710 h 10808782"/>
              <a:gd name="connsiteX131" fmla="*/ 23370388 w 25004707"/>
              <a:gd name="connsiteY131" fmla="*/ 6846837 h 10808782"/>
              <a:gd name="connsiteX132" fmla="*/ 22133950 w 25004707"/>
              <a:gd name="connsiteY132" fmla="*/ 6765781 h 10808782"/>
              <a:gd name="connsiteX133" fmla="*/ 23529604 w 25004707"/>
              <a:gd name="connsiteY133" fmla="*/ 4423711 h 10808782"/>
              <a:gd name="connsiteX134" fmla="*/ 23561384 w 25004707"/>
              <a:gd name="connsiteY134" fmla="*/ 3938806 h 10808782"/>
              <a:gd name="connsiteX135" fmla="*/ 23529604 w 25004707"/>
              <a:gd name="connsiteY135" fmla="*/ 4423711 h 10808782"/>
              <a:gd name="connsiteX136" fmla="*/ 23497668 w 25004707"/>
              <a:gd name="connsiteY136" fmla="*/ 4908160 h 10808782"/>
              <a:gd name="connsiteX137" fmla="*/ 22213560 w 25004707"/>
              <a:gd name="connsiteY137" fmla="*/ 4823976 h 10808782"/>
              <a:gd name="connsiteX138" fmla="*/ 23529604 w 25004707"/>
              <a:gd name="connsiteY138" fmla="*/ 4423711 h 10808782"/>
              <a:gd name="connsiteX139" fmla="*/ 22245338 w 25004707"/>
              <a:gd name="connsiteY139" fmla="*/ 4339527 h 10808782"/>
              <a:gd name="connsiteX140" fmla="*/ 23338452 w 25004707"/>
              <a:gd name="connsiteY140" fmla="*/ 7331710 h 10808782"/>
              <a:gd name="connsiteX141" fmla="*/ 22387090 w 25004707"/>
              <a:gd name="connsiteY141" fmla="*/ 7269358 h 10808782"/>
              <a:gd name="connsiteX142" fmla="*/ 22074952 w 25004707"/>
              <a:gd name="connsiteY142" fmla="*/ 7250780 h 10808782"/>
              <a:gd name="connsiteX143" fmla="*/ 23688662 w 25004707"/>
              <a:gd name="connsiteY143" fmla="*/ 2000160 h 10808782"/>
              <a:gd name="connsiteX144" fmla="*/ 23656882 w 25004707"/>
              <a:gd name="connsiteY144" fmla="*/ 2484594 h 10808782"/>
              <a:gd name="connsiteX145" fmla="*/ 22372618 w 25004707"/>
              <a:gd name="connsiteY145" fmla="*/ 2400410 h 10808782"/>
              <a:gd name="connsiteX146" fmla="*/ 23211172 w 25004707"/>
              <a:gd name="connsiteY146" fmla="*/ 9270371 h 10808782"/>
              <a:gd name="connsiteX147" fmla="*/ 24495438 w 25004707"/>
              <a:gd name="connsiteY147" fmla="*/ 9354555 h 10808782"/>
              <a:gd name="connsiteX148" fmla="*/ 24527218 w 25004707"/>
              <a:gd name="connsiteY148" fmla="*/ 8870122 h 10808782"/>
              <a:gd name="connsiteX149" fmla="*/ 24538388 w 25004707"/>
              <a:gd name="connsiteY149" fmla="*/ 8870860 h 10808782"/>
              <a:gd name="connsiteX150" fmla="*/ 23211172 w 25004707"/>
              <a:gd name="connsiteY150" fmla="*/ 9270371 h 10808782"/>
              <a:gd name="connsiteX151" fmla="*/ 21927064 w 25004707"/>
              <a:gd name="connsiteY151" fmla="*/ 9186203 h 10808782"/>
              <a:gd name="connsiteX152" fmla="*/ 21831568 w 25004707"/>
              <a:gd name="connsiteY152" fmla="*/ 10640431 h 10808782"/>
              <a:gd name="connsiteX153" fmla="*/ 21863348 w 25004707"/>
              <a:gd name="connsiteY153" fmla="*/ 10155526 h 10808782"/>
              <a:gd name="connsiteX154" fmla="*/ 21831568 w 25004707"/>
              <a:gd name="connsiteY154" fmla="*/ 10640431 h 10808782"/>
              <a:gd name="connsiteX155" fmla="*/ 20547302 w 25004707"/>
              <a:gd name="connsiteY155" fmla="*/ 10556248 h 10808782"/>
              <a:gd name="connsiteX156" fmla="*/ 21863348 w 25004707"/>
              <a:gd name="connsiteY156" fmla="*/ 10155526 h 10808782"/>
              <a:gd name="connsiteX157" fmla="*/ 20579240 w 25004707"/>
              <a:gd name="connsiteY157" fmla="*/ 10071342 h 10808782"/>
              <a:gd name="connsiteX158" fmla="*/ 22340836 w 25004707"/>
              <a:gd name="connsiteY158" fmla="*/ 2885299 h 10808782"/>
              <a:gd name="connsiteX159" fmla="*/ 22308898 w 25004707"/>
              <a:gd name="connsiteY159" fmla="*/ 3370204 h 10808782"/>
              <a:gd name="connsiteX160" fmla="*/ 21024790 w 25004707"/>
              <a:gd name="connsiteY160" fmla="*/ 3286020 h 10808782"/>
              <a:gd name="connsiteX161" fmla="*/ 22277118 w 25004707"/>
              <a:gd name="connsiteY161" fmla="*/ 3854653 h 10808782"/>
              <a:gd name="connsiteX162" fmla="*/ 22308898 w 25004707"/>
              <a:gd name="connsiteY162" fmla="*/ 3370220 h 10808782"/>
              <a:gd name="connsiteX163" fmla="*/ 22277118 w 25004707"/>
              <a:gd name="connsiteY163" fmla="*/ 3854653 h 10808782"/>
              <a:gd name="connsiteX164" fmla="*/ 20993010 w 25004707"/>
              <a:gd name="connsiteY164" fmla="*/ 3770469 h 10808782"/>
              <a:gd name="connsiteX165" fmla="*/ 21927064 w 25004707"/>
              <a:gd name="connsiteY165" fmla="*/ 9186203 h 10808782"/>
              <a:gd name="connsiteX166" fmla="*/ 21895126 w 25004707"/>
              <a:gd name="connsiteY166" fmla="*/ 9671109 h 10808782"/>
              <a:gd name="connsiteX167" fmla="*/ 20611018 w 25004707"/>
              <a:gd name="connsiteY167" fmla="*/ 9586925 h 10808782"/>
              <a:gd name="connsiteX168" fmla="*/ 21927064 w 25004707"/>
              <a:gd name="connsiteY168" fmla="*/ 9186203 h 10808782"/>
              <a:gd name="connsiteX169" fmla="*/ 21958844 w 25004707"/>
              <a:gd name="connsiteY169" fmla="*/ 8701770 h 10808782"/>
              <a:gd name="connsiteX170" fmla="*/ 21927064 w 25004707"/>
              <a:gd name="connsiteY170" fmla="*/ 9186203 h 10808782"/>
              <a:gd name="connsiteX171" fmla="*/ 20642800 w 25004707"/>
              <a:gd name="connsiteY171" fmla="*/ 9102019 h 10808782"/>
              <a:gd name="connsiteX172" fmla="*/ 22436334 w 25004707"/>
              <a:gd name="connsiteY172" fmla="*/ 1431070 h 10808782"/>
              <a:gd name="connsiteX173" fmla="*/ 22404554 w 25004707"/>
              <a:gd name="connsiteY173" fmla="*/ 1915976 h 10808782"/>
              <a:gd name="connsiteX174" fmla="*/ 22404554 w 25004707"/>
              <a:gd name="connsiteY174" fmla="*/ 1915976 h 10808782"/>
              <a:gd name="connsiteX175" fmla="*/ 21120288 w 25004707"/>
              <a:gd name="connsiteY175" fmla="*/ 1831793 h 10808782"/>
              <a:gd name="connsiteX176" fmla="*/ 22022564 w 25004707"/>
              <a:gd name="connsiteY176" fmla="*/ 7732431 h 10808782"/>
              <a:gd name="connsiteX177" fmla="*/ 22074952 w 25004707"/>
              <a:gd name="connsiteY177" fmla="*/ 7250780 h 10808782"/>
              <a:gd name="connsiteX178" fmla="*/ 22022564 w 25004707"/>
              <a:gd name="connsiteY178" fmla="*/ 7732431 h 10808782"/>
              <a:gd name="connsiteX179" fmla="*/ 21113838 w 25004707"/>
              <a:gd name="connsiteY179" fmla="*/ 7756637 h 10808782"/>
              <a:gd name="connsiteX180" fmla="*/ 22022564 w 25004707"/>
              <a:gd name="connsiteY180" fmla="*/ 7732431 h 10808782"/>
              <a:gd name="connsiteX181" fmla="*/ 21958844 w 25004707"/>
              <a:gd name="connsiteY181" fmla="*/ 8701770 h 10808782"/>
              <a:gd name="connsiteX182" fmla="*/ 22181622 w 25004707"/>
              <a:gd name="connsiteY182" fmla="*/ 5308897 h 10808782"/>
              <a:gd name="connsiteX183" fmla="*/ 22149840 w 25004707"/>
              <a:gd name="connsiteY183" fmla="*/ 5793330 h 10808782"/>
              <a:gd name="connsiteX184" fmla="*/ 21252128 w 25004707"/>
              <a:gd name="connsiteY184" fmla="*/ 5650708 h 10808782"/>
              <a:gd name="connsiteX185" fmla="*/ 21488592 w 25004707"/>
              <a:gd name="connsiteY185" fmla="*/ 6165430 h 10808782"/>
              <a:gd name="connsiteX186" fmla="*/ 21015036 w 25004707"/>
              <a:gd name="connsiteY186" fmla="*/ 5981942 h 10808782"/>
              <a:gd name="connsiteX187" fmla="*/ 22074952 w 25004707"/>
              <a:gd name="connsiteY187" fmla="*/ 7250780 h 10808782"/>
              <a:gd name="connsiteX188" fmla="*/ 22133950 w 25004707"/>
              <a:gd name="connsiteY188" fmla="*/ 6766253 h 10808782"/>
              <a:gd name="connsiteX189" fmla="*/ 22138828 w 25004707"/>
              <a:gd name="connsiteY189" fmla="*/ 6277685 h 10808782"/>
              <a:gd name="connsiteX190" fmla="*/ 22133950 w 25004707"/>
              <a:gd name="connsiteY190" fmla="*/ 6765781 h 10808782"/>
              <a:gd name="connsiteX191" fmla="*/ 21562380 w 25004707"/>
              <a:gd name="connsiteY191" fmla="*/ 6728310 h 10808782"/>
              <a:gd name="connsiteX192" fmla="*/ 22138828 w 25004707"/>
              <a:gd name="connsiteY192" fmla="*/ 6277685 h 10808782"/>
              <a:gd name="connsiteX193" fmla="*/ 21488592 w 25004707"/>
              <a:gd name="connsiteY193" fmla="*/ 6165414 h 10808782"/>
              <a:gd name="connsiteX194" fmla="*/ 22245338 w 25004707"/>
              <a:gd name="connsiteY194" fmla="*/ 4339527 h 10808782"/>
              <a:gd name="connsiteX195" fmla="*/ 22277276 w 25004707"/>
              <a:gd name="connsiteY195" fmla="*/ 3854622 h 10808782"/>
              <a:gd name="connsiteX196" fmla="*/ 22245338 w 25004707"/>
              <a:gd name="connsiteY196" fmla="*/ 4339527 h 10808782"/>
              <a:gd name="connsiteX197" fmla="*/ 20961230 w 25004707"/>
              <a:gd name="connsiteY197" fmla="*/ 4255359 h 10808782"/>
              <a:gd name="connsiteX198" fmla="*/ 21958844 w 25004707"/>
              <a:gd name="connsiteY198" fmla="*/ 8701770 h 10808782"/>
              <a:gd name="connsiteX199" fmla="*/ 20674580 w 25004707"/>
              <a:gd name="connsiteY199" fmla="*/ 8617586 h 10808782"/>
              <a:gd name="connsiteX200" fmla="*/ 20642800 w 25004707"/>
              <a:gd name="connsiteY200" fmla="*/ 9102019 h 10808782"/>
              <a:gd name="connsiteX201" fmla="*/ 22181622 w 25004707"/>
              <a:gd name="connsiteY201" fmla="*/ 5308881 h 10808782"/>
              <a:gd name="connsiteX202" fmla="*/ 22213560 w 25004707"/>
              <a:gd name="connsiteY202" fmla="*/ 4823992 h 10808782"/>
              <a:gd name="connsiteX203" fmla="*/ 22181622 w 25004707"/>
              <a:gd name="connsiteY203" fmla="*/ 5308881 h 10808782"/>
              <a:gd name="connsiteX204" fmla="*/ 21849030 w 25004707"/>
              <a:gd name="connsiteY204" fmla="*/ 5287081 h 10808782"/>
              <a:gd name="connsiteX205" fmla="*/ 20995686 w 25004707"/>
              <a:gd name="connsiteY205" fmla="*/ 5199596 h 10808782"/>
              <a:gd name="connsiteX206" fmla="*/ 21252128 w 25004707"/>
              <a:gd name="connsiteY206" fmla="*/ 5651180 h 10808782"/>
              <a:gd name="connsiteX207" fmla="*/ 20568856 w 25004707"/>
              <a:gd name="connsiteY207" fmla="*/ 5391367 h 10808782"/>
              <a:gd name="connsiteX208" fmla="*/ 21015666 w 25004707"/>
              <a:gd name="connsiteY208" fmla="*/ 5981974 h 10808782"/>
              <a:gd name="connsiteX209" fmla="*/ 22245338 w 25004707"/>
              <a:gd name="connsiteY209" fmla="*/ 4339543 h 10808782"/>
              <a:gd name="connsiteX210" fmla="*/ 22213560 w 25004707"/>
              <a:gd name="connsiteY210" fmla="*/ 4823976 h 10808782"/>
              <a:gd name="connsiteX211" fmla="*/ 20929452 w 25004707"/>
              <a:gd name="connsiteY211" fmla="*/ 4739792 h 10808782"/>
              <a:gd name="connsiteX212" fmla="*/ 22372774 w 25004707"/>
              <a:gd name="connsiteY212" fmla="*/ 2400425 h 10808782"/>
              <a:gd name="connsiteX213" fmla="*/ 22340836 w 25004707"/>
              <a:gd name="connsiteY213" fmla="*/ 2885315 h 10808782"/>
              <a:gd name="connsiteX214" fmla="*/ 22340836 w 25004707"/>
              <a:gd name="connsiteY214" fmla="*/ 2885315 h 10808782"/>
              <a:gd name="connsiteX215" fmla="*/ 21056728 w 25004707"/>
              <a:gd name="connsiteY215" fmla="*/ 2801147 h 10808782"/>
              <a:gd name="connsiteX216" fmla="*/ 22404398 w 25004707"/>
              <a:gd name="connsiteY216" fmla="*/ 1915976 h 10808782"/>
              <a:gd name="connsiteX217" fmla="*/ 22372618 w 25004707"/>
              <a:gd name="connsiteY217" fmla="*/ 2400410 h 10808782"/>
              <a:gd name="connsiteX218" fmla="*/ 22372618 w 25004707"/>
              <a:gd name="connsiteY218" fmla="*/ 2400410 h 10808782"/>
              <a:gd name="connsiteX219" fmla="*/ 21088510 w 25004707"/>
              <a:gd name="connsiteY219" fmla="*/ 2316226 h 10808782"/>
              <a:gd name="connsiteX220" fmla="*/ 20579240 w 25004707"/>
              <a:gd name="connsiteY220" fmla="*/ 10071342 h 10808782"/>
              <a:gd name="connsiteX221" fmla="*/ 20611018 w 25004707"/>
              <a:gd name="connsiteY221" fmla="*/ 9586909 h 10808782"/>
              <a:gd name="connsiteX222" fmla="*/ 20579240 w 25004707"/>
              <a:gd name="connsiteY222" fmla="*/ 10071342 h 10808782"/>
              <a:gd name="connsiteX223" fmla="*/ 19294974 w 25004707"/>
              <a:gd name="connsiteY223" fmla="*/ 9987158 h 10808782"/>
              <a:gd name="connsiteX224" fmla="*/ 21562380 w 25004707"/>
              <a:gd name="connsiteY224" fmla="*/ 6728766 h 10808782"/>
              <a:gd name="connsiteX225" fmla="*/ 21415592 w 25004707"/>
              <a:gd name="connsiteY225" fmla="*/ 7277186 h 10808782"/>
              <a:gd name="connsiteX226" fmla="*/ 22074952 w 25004707"/>
              <a:gd name="connsiteY226" fmla="*/ 7250749 h 10808782"/>
              <a:gd name="connsiteX227" fmla="*/ 20993010 w 25004707"/>
              <a:gd name="connsiteY227" fmla="*/ 3770469 h 10808782"/>
              <a:gd name="connsiteX228" fmla="*/ 21024790 w 25004707"/>
              <a:gd name="connsiteY228" fmla="*/ 3286052 h 10808782"/>
              <a:gd name="connsiteX229" fmla="*/ 20993010 w 25004707"/>
              <a:gd name="connsiteY229" fmla="*/ 3770469 h 10808782"/>
              <a:gd name="connsiteX230" fmla="*/ 19708746 w 25004707"/>
              <a:gd name="connsiteY230" fmla="*/ 3686286 h 10808782"/>
              <a:gd name="connsiteX231" fmla="*/ 20929294 w 25004707"/>
              <a:gd name="connsiteY231" fmla="*/ 4739792 h 10808782"/>
              <a:gd name="connsiteX232" fmla="*/ 20995528 w 25004707"/>
              <a:gd name="connsiteY232" fmla="*/ 5199596 h 10808782"/>
              <a:gd name="connsiteX233" fmla="*/ 20097030 w 25004707"/>
              <a:gd name="connsiteY233" fmla="*/ 4955313 h 10808782"/>
              <a:gd name="connsiteX234" fmla="*/ 20642800 w 25004707"/>
              <a:gd name="connsiteY234" fmla="*/ 9102019 h 10808782"/>
              <a:gd name="connsiteX235" fmla="*/ 20611018 w 25004707"/>
              <a:gd name="connsiteY235" fmla="*/ 9586925 h 10808782"/>
              <a:gd name="connsiteX236" fmla="*/ 19326754 w 25004707"/>
              <a:gd name="connsiteY236" fmla="*/ 9502741 h 10808782"/>
              <a:gd name="connsiteX237" fmla="*/ 20642800 w 25004707"/>
              <a:gd name="connsiteY237" fmla="*/ 9102019 h 10808782"/>
              <a:gd name="connsiteX238" fmla="*/ 19358692 w 25004707"/>
              <a:gd name="connsiteY238" fmla="*/ 9017836 h 10808782"/>
              <a:gd name="connsiteX239" fmla="*/ 20961230 w 25004707"/>
              <a:gd name="connsiteY239" fmla="*/ 4255359 h 10808782"/>
              <a:gd name="connsiteX240" fmla="*/ 20929294 w 25004707"/>
              <a:gd name="connsiteY240" fmla="*/ 4739792 h 10808782"/>
              <a:gd name="connsiteX241" fmla="*/ 19750594 w 25004707"/>
              <a:gd name="connsiteY241" fmla="*/ 4599921 h 10808782"/>
              <a:gd name="connsiteX242" fmla="*/ 20961230 w 25004707"/>
              <a:gd name="connsiteY242" fmla="*/ 4255359 h 10808782"/>
              <a:gd name="connsiteX243" fmla="*/ 20993010 w 25004707"/>
              <a:gd name="connsiteY243" fmla="*/ 3770454 h 10808782"/>
              <a:gd name="connsiteX244" fmla="*/ 20961230 w 25004707"/>
              <a:gd name="connsiteY244" fmla="*/ 4255359 h 10808782"/>
              <a:gd name="connsiteX245" fmla="*/ 19676964 w 25004707"/>
              <a:gd name="connsiteY245" fmla="*/ 4171175 h 10808782"/>
              <a:gd name="connsiteX246" fmla="*/ 21120288 w 25004707"/>
              <a:gd name="connsiteY246" fmla="*/ 1831808 h 10808782"/>
              <a:gd name="connsiteX247" fmla="*/ 21088510 w 25004707"/>
              <a:gd name="connsiteY247" fmla="*/ 2316226 h 10808782"/>
              <a:gd name="connsiteX248" fmla="*/ 21088510 w 25004707"/>
              <a:gd name="connsiteY248" fmla="*/ 2316226 h 10808782"/>
              <a:gd name="connsiteX249" fmla="*/ 21056728 w 25004707"/>
              <a:gd name="connsiteY249" fmla="*/ 2801131 h 10808782"/>
              <a:gd name="connsiteX250" fmla="*/ 21088510 w 25004707"/>
              <a:gd name="connsiteY250" fmla="*/ 2316226 h 10808782"/>
              <a:gd name="connsiteX251" fmla="*/ 19804244 w 25004707"/>
              <a:gd name="connsiteY251" fmla="*/ 2232058 h 10808782"/>
              <a:gd name="connsiteX252" fmla="*/ 21152226 w 25004707"/>
              <a:gd name="connsiteY252" fmla="*/ 1346888 h 10808782"/>
              <a:gd name="connsiteX253" fmla="*/ 21120288 w 25004707"/>
              <a:gd name="connsiteY253" fmla="*/ 1831793 h 10808782"/>
              <a:gd name="connsiteX254" fmla="*/ 21120288 w 25004707"/>
              <a:gd name="connsiteY254" fmla="*/ 1831793 h 10808782"/>
              <a:gd name="connsiteX255" fmla="*/ 19836180 w 25004707"/>
              <a:gd name="connsiteY255" fmla="*/ 1747609 h 10808782"/>
              <a:gd name="connsiteX256" fmla="*/ 21056728 w 25004707"/>
              <a:gd name="connsiteY256" fmla="*/ 2801131 h 10808782"/>
              <a:gd name="connsiteX257" fmla="*/ 21024790 w 25004707"/>
              <a:gd name="connsiteY257" fmla="*/ 3286020 h 10808782"/>
              <a:gd name="connsiteX258" fmla="*/ 21056728 w 25004707"/>
              <a:gd name="connsiteY258" fmla="*/ 2801131 h 10808782"/>
              <a:gd name="connsiteX259" fmla="*/ 19772464 w 25004707"/>
              <a:gd name="connsiteY259" fmla="*/ 2716963 h 10808782"/>
              <a:gd name="connsiteX260" fmla="*/ 21024790 w 25004707"/>
              <a:gd name="connsiteY260" fmla="*/ 3286020 h 10808782"/>
              <a:gd name="connsiteX261" fmla="*/ 19740684 w 25004707"/>
              <a:gd name="connsiteY261" fmla="*/ 3201853 h 10808782"/>
              <a:gd name="connsiteX262" fmla="*/ 21488592 w 25004707"/>
              <a:gd name="connsiteY262" fmla="*/ 6165430 h 10808782"/>
              <a:gd name="connsiteX263" fmla="*/ 21562380 w 25004707"/>
              <a:gd name="connsiteY263" fmla="*/ 6728310 h 10808782"/>
              <a:gd name="connsiteX264" fmla="*/ 21184006 w 25004707"/>
              <a:gd name="connsiteY264" fmla="*/ 6703508 h 10808782"/>
              <a:gd name="connsiteX265" fmla="*/ 20674736 w 25004707"/>
              <a:gd name="connsiteY265" fmla="*/ 8617602 h 10808782"/>
              <a:gd name="connsiteX266" fmla="*/ 20690628 w 25004707"/>
              <a:gd name="connsiteY266" fmla="*/ 8375378 h 10808782"/>
              <a:gd name="connsiteX267" fmla="*/ 20800442 w 25004707"/>
              <a:gd name="connsiteY267" fmla="*/ 8170860 h 10808782"/>
              <a:gd name="connsiteX268" fmla="*/ 21113838 w 25004707"/>
              <a:gd name="connsiteY268" fmla="*/ 7756165 h 10808782"/>
              <a:gd name="connsiteX269" fmla="*/ 21415434 w 25004707"/>
              <a:gd name="connsiteY269" fmla="*/ 7276714 h 10808782"/>
              <a:gd name="connsiteX270" fmla="*/ 20579240 w 25004707"/>
              <a:gd name="connsiteY270" fmla="*/ 10071342 h 10808782"/>
              <a:gd name="connsiteX271" fmla="*/ 20547302 w 25004707"/>
              <a:gd name="connsiteY271" fmla="*/ 10556248 h 10808782"/>
              <a:gd name="connsiteX272" fmla="*/ 19263194 w 25004707"/>
              <a:gd name="connsiteY272" fmla="*/ 10472064 h 10808782"/>
              <a:gd name="connsiteX273" fmla="*/ 20800442 w 25004707"/>
              <a:gd name="connsiteY273" fmla="*/ 8170372 h 10808782"/>
              <a:gd name="connsiteX274" fmla="*/ 21113838 w 25004707"/>
              <a:gd name="connsiteY274" fmla="*/ 7756149 h 10808782"/>
              <a:gd name="connsiteX275" fmla="*/ 20096558 w 25004707"/>
              <a:gd name="connsiteY275" fmla="*/ 4954825 h 10808782"/>
              <a:gd name="connsiteX276" fmla="*/ 20568856 w 25004707"/>
              <a:gd name="connsiteY276" fmla="*/ 5391367 h 10808782"/>
              <a:gd name="connsiteX277" fmla="*/ 19539460 w 25004707"/>
              <a:gd name="connsiteY277" fmla="*/ 4997829 h 10808782"/>
              <a:gd name="connsiteX278" fmla="*/ 19676964 w 25004707"/>
              <a:gd name="connsiteY278" fmla="*/ 4170719 h 10808782"/>
              <a:gd name="connsiteX279" fmla="*/ 19750594 w 25004707"/>
              <a:gd name="connsiteY279" fmla="*/ 4599953 h 10808782"/>
              <a:gd name="connsiteX280" fmla="*/ 18586528 w 25004707"/>
              <a:gd name="connsiteY280" fmla="*/ 4366498 h 10808782"/>
              <a:gd name="connsiteX281" fmla="*/ 20097188 w 25004707"/>
              <a:gd name="connsiteY281" fmla="*/ 4954857 h 10808782"/>
              <a:gd name="connsiteX282" fmla="*/ 19751068 w 25004707"/>
              <a:gd name="connsiteY282" fmla="*/ 4599984 h 10808782"/>
              <a:gd name="connsiteX283" fmla="*/ 19772464 w 25004707"/>
              <a:gd name="connsiteY283" fmla="*/ 2716947 h 10808782"/>
              <a:gd name="connsiteX284" fmla="*/ 19740684 w 25004707"/>
              <a:gd name="connsiteY284" fmla="*/ 3201853 h 10808782"/>
              <a:gd name="connsiteX285" fmla="*/ 18456576 w 25004707"/>
              <a:gd name="connsiteY285" fmla="*/ 3117669 h 10808782"/>
              <a:gd name="connsiteX286" fmla="*/ 20922686 w 25004707"/>
              <a:gd name="connsiteY286" fmla="*/ 7397316 h 10808782"/>
              <a:gd name="connsiteX287" fmla="*/ 21184006 w 25004707"/>
              <a:gd name="connsiteY287" fmla="*/ 6703963 h 10808782"/>
              <a:gd name="connsiteX288" fmla="*/ 19877714 w 25004707"/>
              <a:gd name="connsiteY288" fmla="*/ 8295752 h 10808782"/>
              <a:gd name="connsiteX289" fmla="*/ 20403032 w 25004707"/>
              <a:gd name="connsiteY289" fmla="*/ 7924611 h 10808782"/>
              <a:gd name="connsiteX290" fmla="*/ 19740684 w 25004707"/>
              <a:gd name="connsiteY290" fmla="*/ 3201853 h 10808782"/>
              <a:gd name="connsiteX291" fmla="*/ 19708746 w 25004707"/>
              <a:gd name="connsiteY291" fmla="*/ 3686286 h 10808782"/>
              <a:gd name="connsiteX292" fmla="*/ 19708746 w 25004707"/>
              <a:gd name="connsiteY292" fmla="*/ 3686286 h 10808782"/>
              <a:gd name="connsiteX293" fmla="*/ 18424638 w 25004707"/>
              <a:gd name="connsiteY293" fmla="*/ 3602118 h 10808782"/>
              <a:gd name="connsiteX294" fmla="*/ 19804244 w 25004707"/>
              <a:gd name="connsiteY294" fmla="*/ 2232042 h 10808782"/>
              <a:gd name="connsiteX295" fmla="*/ 19772464 w 25004707"/>
              <a:gd name="connsiteY295" fmla="*/ 2716947 h 10808782"/>
              <a:gd name="connsiteX296" fmla="*/ 18488356 w 25004707"/>
              <a:gd name="connsiteY296" fmla="*/ 2632764 h 10808782"/>
              <a:gd name="connsiteX297" fmla="*/ 19804244 w 25004707"/>
              <a:gd name="connsiteY297" fmla="*/ 2232042 h 10808782"/>
              <a:gd name="connsiteX298" fmla="*/ 19836180 w 25004707"/>
              <a:gd name="connsiteY298" fmla="*/ 1747625 h 10808782"/>
              <a:gd name="connsiteX299" fmla="*/ 19804244 w 25004707"/>
              <a:gd name="connsiteY299" fmla="*/ 2232042 h 10808782"/>
              <a:gd name="connsiteX300" fmla="*/ 18520136 w 25004707"/>
              <a:gd name="connsiteY300" fmla="*/ 2147874 h 10808782"/>
              <a:gd name="connsiteX301" fmla="*/ 19676964 w 25004707"/>
              <a:gd name="connsiteY301" fmla="*/ 4171175 h 10808782"/>
              <a:gd name="connsiteX302" fmla="*/ 19708902 w 25004707"/>
              <a:gd name="connsiteY302" fmla="*/ 3686270 h 10808782"/>
              <a:gd name="connsiteX303" fmla="*/ 19676964 w 25004707"/>
              <a:gd name="connsiteY303" fmla="*/ 4171175 h 10808782"/>
              <a:gd name="connsiteX304" fmla="*/ 19344218 w 25004707"/>
              <a:gd name="connsiteY304" fmla="*/ 4149359 h 10808782"/>
              <a:gd name="connsiteX305" fmla="*/ 18402454 w 25004707"/>
              <a:gd name="connsiteY305" fmla="*/ 4077278 h 10808782"/>
              <a:gd name="connsiteX306" fmla="*/ 19326754 w 25004707"/>
              <a:gd name="connsiteY306" fmla="*/ 9502725 h 10808782"/>
              <a:gd name="connsiteX307" fmla="*/ 19294974 w 25004707"/>
              <a:gd name="connsiteY307" fmla="*/ 9987158 h 10808782"/>
              <a:gd name="connsiteX308" fmla="*/ 18010866 w 25004707"/>
              <a:gd name="connsiteY308" fmla="*/ 9902991 h 10808782"/>
              <a:gd name="connsiteX309" fmla="*/ 19263194 w 25004707"/>
              <a:gd name="connsiteY309" fmla="*/ 10472064 h 10808782"/>
              <a:gd name="connsiteX310" fmla="*/ 19294974 w 25004707"/>
              <a:gd name="connsiteY310" fmla="*/ 9987175 h 10808782"/>
              <a:gd name="connsiteX311" fmla="*/ 19263194 w 25004707"/>
              <a:gd name="connsiteY311" fmla="*/ 10472064 h 10808782"/>
              <a:gd name="connsiteX312" fmla="*/ 17978928 w 25004707"/>
              <a:gd name="connsiteY312" fmla="*/ 10387896 h 10808782"/>
              <a:gd name="connsiteX313" fmla="*/ 19326754 w 25004707"/>
              <a:gd name="connsiteY313" fmla="*/ 9502741 h 10808782"/>
              <a:gd name="connsiteX314" fmla="*/ 19358692 w 25004707"/>
              <a:gd name="connsiteY314" fmla="*/ 9017852 h 10808782"/>
              <a:gd name="connsiteX315" fmla="*/ 19326754 w 25004707"/>
              <a:gd name="connsiteY315" fmla="*/ 9502741 h 10808782"/>
              <a:gd name="connsiteX316" fmla="*/ 18042646 w 25004707"/>
              <a:gd name="connsiteY316" fmla="*/ 9418573 h 10808782"/>
              <a:gd name="connsiteX317" fmla="*/ 19358692 w 25004707"/>
              <a:gd name="connsiteY317" fmla="*/ 9017852 h 10808782"/>
              <a:gd name="connsiteX318" fmla="*/ 19487700 w 25004707"/>
              <a:gd name="connsiteY318" fmla="*/ 8601900 h 10808782"/>
              <a:gd name="connsiteX319" fmla="*/ 19358692 w 25004707"/>
              <a:gd name="connsiteY319" fmla="*/ 9017852 h 10808782"/>
              <a:gd name="connsiteX320" fmla="*/ 18082764 w 25004707"/>
              <a:gd name="connsiteY320" fmla="*/ 8945975 h 10808782"/>
              <a:gd name="connsiteX321" fmla="*/ 21015666 w 25004707"/>
              <a:gd name="connsiteY321" fmla="*/ 5981974 h 10808782"/>
              <a:gd name="connsiteX322" fmla="*/ 21184006 w 25004707"/>
              <a:gd name="connsiteY322" fmla="*/ 6703508 h 10808782"/>
              <a:gd name="connsiteX323" fmla="*/ 21015666 w 25004707"/>
              <a:gd name="connsiteY323" fmla="*/ 5981974 h 10808782"/>
              <a:gd name="connsiteX324" fmla="*/ 20273552 w 25004707"/>
              <a:gd name="connsiteY324" fmla="*/ 5643966 h 10808782"/>
              <a:gd name="connsiteX325" fmla="*/ 21184006 w 25004707"/>
              <a:gd name="connsiteY325" fmla="*/ 6703508 h 10808782"/>
              <a:gd name="connsiteX326" fmla="*/ 20666240 w 25004707"/>
              <a:gd name="connsiteY326" fmla="*/ 6669558 h 10808782"/>
              <a:gd name="connsiteX327" fmla="*/ 19487700 w 25004707"/>
              <a:gd name="connsiteY327" fmla="*/ 8602388 h 10808782"/>
              <a:gd name="connsiteX328" fmla="*/ 19877244 w 25004707"/>
              <a:gd name="connsiteY328" fmla="*/ 8295720 h 10808782"/>
              <a:gd name="connsiteX329" fmla="*/ 20922686 w 25004707"/>
              <a:gd name="connsiteY329" fmla="*/ 7397331 h 10808782"/>
              <a:gd name="connsiteX330" fmla="*/ 20402560 w 25004707"/>
              <a:gd name="connsiteY330" fmla="*/ 7924564 h 10808782"/>
              <a:gd name="connsiteX331" fmla="*/ 19330530 w 25004707"/>
              <a:gd name="connsiteY331" fmla="*/ 8180368 h 10808782"/>
              <a:gd name="connsiteX332" fmla="*/ 19867960 w 25004707"/>
              <a:gd name="connsiteY332" fmla="*/ 1262715 h 10808782"/>
              <a:gd name="connsiteX333" fmla="*/ 19836024 w 25004707"/>
              <a:gd name="connsiteY333" fmla="*/ 1747609 h 10808782"/>
              <a:gd name="connsiteX334" fmla="*/ 18551914 w 25004707"/>
              <a:gd name="connsiteY334" fmla="*/ 1663441 h 10808782"/>
              <a:gd name="connsiteX335" fmla="*/ 18583852 w 25004707"/>
              <a:gd name="connsiteY335" fmla="*/ 1178533 h 10808782"/>
              <a:gd name="connsiteX336" fmla="*/ 18551914 w 25004707"/>
              <a:gd name="connsiteY336" fmla="*/ 1663425 h 10808782"/>
              <a:gd name="connsiteX337" fmla="*/ 18551914 w 25004707"/>
              <a:gd name="connsiteY337" fmla="*/ 1663425 h 10808782"/>
              <a:gd name="connsiteX338" fmla="*/ 18520136 w 25004707"/>
              <a:gd name="connsiteY338" fmla="*/ 2147874 h 10808782"/>
              <a:gd name="connsiteX339" fmla="*/ 18551914 w 25004707"/>
              <a:gd name="connsiteY339" fmla="*/ 1663425 h 10808782"/>
              <a:gd name="connsiteX340" fmla="*/ 17267806 w 25004707"/>
              <a:gd name="connsiteY340" fmla="*/ 1579257 h 10808782"/>
              <a:gd name="connsiteX341" fmla="*/ 18586528 w 25004707"/>
              <a:gd name="connsiteY341" fmla="*/ 4366498 h 10808782"/>
              <a:gd name="connsiteX342" fmla="*/ 18402610 w 25004707"/>
              <a:gd name="connsiteY342" fmla="*/ 4076822 h 10808782"/>
              <a:gd name="connsiteX343" fmla="*/ 18586528 w 25004707"/>
              <a:gd name="connsiteY343" fmla="*/ 4366498 h 10808782"/>
              <a:gd name="connsiteX344" fmla="*/ 18962698 w 25004707"/>
              <a:gd name="connsiteY344" fmla="*/ 4627804 h 10808782"/>
              <a:gd name="connsiteX345" fmla="*/ 18586528 w 25004707"/>
              <a:gd name="connsiteY345" fmla="*/ 4366498 h 10808782"/>
              <a:gd name="connsiteX346" fmla="*/ 17200786 w 25004707"/>
              <a:gd name="connsiteY346" fmla="*/ 4158019 h 10808782"/>
              <a:gd name="connsiteX347" fmla="*/ 18488356 w 25004707"/>
              <a:gd name="connsiteY347" fmla="*/ 2632764 h 10808782"/>
              <a:gd name="connsiteX348" fmla="*/ 18456418 w 25004707"/>
              <a:gd name="connsiteY348" fmla="*/ 3117653 h 10808782"/>
              <a:gd name="connsiteX349" fmla="*/ 17172310 w 25004707"/>
              <a:gd name="connsiteY349" fmla="*/ 3033485 h 10808782"/>
              <a:gd name="connsiteX350" fmla="*/ 18488356 w 25004707"/>
              <a:gd name="connsiteY350" fmla="*/ 2632764 h 10808782"/>
              <a:gd name="connsiteX351" fmla="*/ 18520136 w 25004707"/>
              <a:gd name="connsiteY351" fmla="*/ 2147874 h 10808782"/>
              <a:gd name="connsiteX352" fmla="*/ 18488356 w 25004707"/>
              <a:gd name="connsiteY352" fmla="*/ 2632764 h 10808782"/>
              <a:gd name="connsiteX353" fmla="*/ 17204090 w 25004707"/>
              <a:gd name="connsiteY353" fmla="*/ 2548596 h 10808782"/>
              <a:gd name="connsiteX354" fmla="*/ 18424638 w 25004707"/>
              <a:gd name="connsiteY354" fmla="*/ 3602118 h 10808782"/>
              <a:gd name="connsiteX355" fmla="*/ 18402454 w 25004707"/>
              <a:gd name="connsiteY355" fmla="*/ 4077310 h 10808782"/>
              <a:gd name="connsiteX356" fmla="*/ 17125426 w 25004707"/>
              <a:gd name="connsiteY356" fmla="*/ 3949824 h 10808782"/>
              <a:gd name="connsiteX357" fmla="*/ 18424638 w 25004707"/>
              <a:gd name="connsiteY357" fmla="*/ 3602118 h 10808782"/>
              <a:gd name="connsiteX358" fmla="*/ 18456418 w 25004707"/>
              <a:gd name="connsiteY358" fmla="*/ 3117684 h 10808782"/>
              <a:gd name="connsiteX359" fmla="*/ 18424638 w 25004707"/>
              <a:gd name="connsiteY359" fmla="*/ 3602118 h 10808782"/>
              <a:gd name="connsiteX360" fmla="*/ 17140372 w 25004707"/>
              <a:gd name="connsiteY360" fmla="*/ 3517934 h 10808782"/>
              <a:gd name="connsiteX361" fmla="*/ 18520136 w 25004707"/>
              <a:gd name="connsiteY361" fmla="*/ 2147874 h 10808782"/>
              <a:gd name="connsiteX362" fmla="*/ 17236028 w 25004707"/>
              <a:gd name="connsiteY362" fmla="*/ 2063691 h 10808782"/>
              <a:gd name="connsiteX363" fmla="*/ 18962698 w 25004707"/>
              <a:gd name="connsiteY363" fmla="*/ 4627804 h 10808782"/>
              <a:gd name="connsiteX364" fmla="*/ 17358900 w 25004707"/>
              <a:gd name="connsiteY364" fmla="*/ 4323180 h 10808782"/>
              <a:gd name="connsiteX365" fmla="*/ 18962698 w 25004707"/>
              <a:gd name="connsiteY365" fmla="*/ 4627804 h 10808782"/>
              <a:gd name="connsiteX366" fmla="*/ 20096558 w 25004707"/>
              <a:gd name="connsiteY366" fmla="*/ 4954825 h 10808782"/>
              <a:gd name="connsiteX367" fmla="*/ 20273552 w 25004707"/>
              <a:gd name="connsiteY367" fmla="*/ 5643966 h 10808782"/>
              <a:gd name="connsiteX368" fmla="*/ 19539618 w 25004707"/>
              <a:gd name="connsiteY368" fmla="*/ 4997813 h 10808782"/>
              <a:gd name="connsiteX369" fmla="*/ 20273552 w 25004707"/>
              <a:gd name="connsiteY369" fmla="*/ 5643966 h 10808782"/>
              <a:gd name="connsiteX370" fmla="*/ 20666240 w 25004707"/>
              <a:gd name="connsiteY370" fmla="*/ 6669558 h 10808782"/>
              <a:gd name="connsiteX371" fmla="*/ 20273552 w 25004707"/>
              <a:gd name="connsiteY371" fmla="*/ 5643966 h 10808782"/>
              <a:gd name="connsiteX372" fmla="*/ 18261016 w 25004707"/>
              <a:gd name="connsiteY372" fmla="*/ 5022238 h 10808782"/>
              <a:gd name="connsiteX373" fmla="*/ 18710344 w 25004707"/>
              <a:gd name="connsiteY373" fmla="*/ 8471883 h 10808782"/>
              <a:gd name="connsiteX374" fmla="*/ 18303180 w 25004707"/>
              <a:gd name="connsiteY374" fmla="*/ 8681872 h 10808782"/>
              <a:gd name="connsiteX375" fmla="*/ 19487858 w 25004707"/>
              <a:gd name="connsiteY375" fmla="*/ 8602371 h 10808782"/>
              <a:gd name="connsiteX376" fmla="*/ 20666084 w 25004707"/>
              <a:gd name="connsiteY376" fmla="*/ 6669542 h 10808782"/>
              <a:gd name="connsiteX377" fmla="*/ 20142814 w 25004707"/>
              <a:gd name="connsiteY377" fmla="*/ 7635092 h 10808782"/>
              <a:gd name="connsiteX378" fmla="*/ 19330530 w 25004707"/>
              <a:gd name="connsiteY378" fmla="*/ 8179866 h 10808782"/>
              <a:gd name="connsiteX379" fmla="*/ 18710188 w 25004707"/>
              <a:gd name="connsiteY379" fmla="*/ 8471868 h 10808782"/>
              <a:gd name="connsiteX380" fmla="*/ 19330530 w 25004707"/>
              <a:gd name="connsiteY380" fmla="*/ 8179881 h 10808782"/>
              <a:gd name="connsiteX381" fmla="*/ 17402166 w 25004707"/>
              <a:gd name="connsiteY381" fmla="*/ 8385201 h 10808782"/>
              <a:gd name="connsiteX382" fmla="*/ 18082764 w 25004707"/>
              <a:gd name="connsiteY382" fmla="*/ 8945975 h 10808782"/>
              <a:gd name="connsiteX383" fmla="*/ 18303180 w 25004707"/>
              <a:gd name="connsiteY383" fmla="*/ 8681400 h 10808782"/>
              <a:gd name="connsiteX384" fmla="*/ 18082764 w 25004707"/>
              <a:gd name="connsiteY384" fmla="*/ 8945975 h 10808782"/>
              <a:gd name="connsiteX385" fmla="*/ 18042646 w 25004707"/>
              <a:gd name="connsiteY385" fmla="*/ 9418573 h 10808782"/>
              <a:gd name="connsiteX386" fmla="*/ 18082764 w 25004707"/>
              <a:gd name="connsiteY386" fmla="*/ 8945975 h 10808782"/>
              <a:gd name="connsiteX387" fmla="*/ 16799444 w 25004707"/>
              <a:gd name="connsiteY387" fmla="*/ 8904669 h 10808782"/>
              <a:gd name="connsiteX388" fmla="*/ 17978928 w 25004707"/>
              <a:gd name="connsiteY388" fmla="*/ 10387896 h 10808782"/>
              <a:gd name="connsiteX389" fmla="*/ 18010866 w 25004707"/>
              <a:gd name="connsiteY389" fmla="*/ 9902991 h 10808782"/>
              <a:gd name="connsiteX390" fmla="*/ 17978928 w 25004707"/>
              <a:gd name="connsiteY390" fmla="*/ 10387896 h 10808782"/>
              <a:gd name="connsiteX391" fmla="*/ 16694821 w 25004707"/>
              <a:gd name="connsiteY391" fmla="*/ 10303712 h 10808782"/>
              <a:gd name="connsiteX392" fmla="*/ 18010866 w 25004707"/>
              <a:gd name="connsiteY392" fmla="*/ 9902991 h 10808782"/>
              <a:gd name="connsiteX393" fmla="*/ 18042646 w 25004707"/>
              <a:gd name="connsiteY393" fmla="*/ 9418558 h 10808782"/>
              <a:gd name="connsiteX394" fmla="*/ 16758537 w 25004707"/>
              <a:gd name="connsiteY394" fmla="*/ 9334389 h 10808782"/>
              <a:gd name="connsiteX395" fmla="*/ 18010866 w 25004707"/>
              <a:gd name="connsiteY395" fmla="*/ 9902991 h 10808782"/>
              <a:gd name="connsiteX396" fmla="*/ 16726601 w 25004707"/>
              <a:gd name="connsiteY396" fmla="*/ 9818807 h 10808782"/>
              <a:gd name="connsiteX397" fmla="*/ 20666240 w 25004707"/>
              <a:gd name="connsiteY397" fmla="*/ 6669558 h 10808782"/>
              <a:gd name="connsiteX398" fmla="*/ 18998410 w 25004707"/>
              <a:gd name="connsiteY398" fmla="*/ 6560226 h 10808782"/>
              <a:gd name="connsiteX399" fmla="*/ 18261646 w 25004707"/>
              <a:gd name="connsiteY399" fmla="*/ 5022270 h 10808782"/>
              <a:gd name="connsiteX400" fmla="*/ 14385738 w 25004707"/>
              <a:gd name="connsiteY400" fmla="*/ 4808195 h 10808782"/>
              <a:gd name="connsiteX401" fmla="*/ 12486354 w 25004707"/>
              <a:gd name="connsiteY401" fmla="*/ 5165033 h 10808782"/>
              <a:gd name="connsiteX402" fmla="*/ 18962698 w 25004707"/>
              <a:gd name="connsiteY402" fmla="*/ 4628276 h 10808782"/>
              <a:gd name="connsiteX403" fmla="*/ 19539460 w 25004707"/>
              <a:gd name="connsiteY403" fmla="*/ 4998269 h 10808782"/>
              <a:gd name="connsiteX404" fmla="*/ 17654520 w 25004707"/>
              <a:gd name="connsiteY404" fmla="*/ 4542992 h 10808782"/>
              <a:gd name="connsiteX405" fmla="*/ 16758537 w 25004707"/>
              <a:gd name="connsiteY405" fmla="*/ 9334389 h 10808782"/>
              <a:gd name="connsiteX406" fmla="*/ 16800072 w 25004707"/>
              <a:gd name="connsiteY406" fmla="*/ 8904700 h 10808782"/>
              <a:gd name="connsiteX407" fmla="*/ 16758537 w 25004707"/>
              <a:gd name="connsiteY407" fmla="*/ 9334389 h 10808782"/>
              <a:gd name="connsiteX408" fmla="*/ 16726601 w 25004707"/>
              <a:gd name="connsiteY408" fmla="*/ 9818807 h 10808782"/>
              <a:gd name="connsiteX409" fmla="*/ 16758537 w 25004707"/>
              <a:gd name="connsiteY409" fmla="*/ 9334389 h 10808782"/>
              <a:gd name="connsiteX410" fmla="*/ 15474273 w 25004707"/>
              <a:gd name="connsiteY410" fmla="*/ 9250206 h 10808782"/>
              <a:gd name="connsiteX411" fmla="*/ 16726601 w 25004707"/>
              <a:gd name="connsiteY411" fmla="*/ 9818807 h 10808782"/>
              <a:gd name="connsiteX412" fmla="*/ 16694821 w 25004707"/>
              <a:gd name="connsiteY412" fmla="*/ 10303712 h 10808782"/>
              <a:gd name="connsiteX413" fmla="*/ 15410602 w 25004707"/>
              <a:gd name="connsiteY413" fmla="*/ 10219528 h 10808782"/>
              <a:gd name="connsiteX414" fmla="*/ 17267806 w 25004707"/>
              <a:gd name="connsiteY414" fmla="*/ 1579257 h 10808782"/>
              <a:gd name="connsiteX415" fmla="*/ 17236028 w 25004707"/>
              <a:gd name="connsiteY415" fmla="*/ 2063691 h 10808782"/>
              <a:gd name="connsiteX416" fmla="*/ 17267806 w 25004707"/>
              <a:gd name="connsiteY416" fmla="*/ 1579257 h 10808782"/>
              <a:gd name="connsiteX417" fmla="*/ 17299588 w 25004707"/>
              <a:gd name="connsiteY417" fmla="*/ 1094351 h 10808782"/>
              <a:gd name="connsiteX418" fmla="*/ 17267806 w 25004707"/>
              <a:gd name="connsiteY418" fmla="*/ 1579257 h 10808782"/>
              <a:gd name="connsiteX419" fmla="*/ 15983542 w 25004707"/>
              <a:gd name="connsiteY419" fmla="*/ 1495075 h 10808782"/>
              <a:gd name="connsiteX420" fmla="*/ 17236028 w 25004707"/>
              <a:gd name="connsiteY420" fmla="*/ 2063691 h 10808782"/>
              <a:gd name="connsiteX421" fmla="*/ 17204090 w 25004707"/>
              <a:gd name="connsiteY421" fmla="*/ 2548596 h 10808782"/>
              <a:gd name="connsiteX422" fmla="*/ 17236028 w 25004707"/>
              <a:gd name="connsiteY422" fmla="*/ 2063691 h 10808782"/>
              <a:gd name="connsiteX423" fmla="*/ 15951762 w 25004707"/>
              <a:gd name="connsiteY423" fmla="*/ 1979523 h 10808782"/>
              <a:gd name="connsiteX424" fmla="*/ 16799444 w 25004707"/>
              <a:gd name="connsiteY424" fmla="*/ 8904669 h 10808782"/>
              <a:gd name="connsiteX425" fmla="*/ 16902020 w 25004707"/>
              <a:gd name="connsiteY425" fmla="*/ 8707648 h 10808782"/>
              <a:gd name="connsiteX426" fmla="*/ 18303180 w 25004707"/>
              <a:gd name="connsiteY426" fmla="*/ 8681872 h 10808782"/>
              <a:gd name="connsiteX427" fmla="*/ 16799444 w 25004707"/>
              <a:gd name="connsiteY427" fmla="*/ 8904669 h 10808782"/>
              <a:gd name="connsiteX428" fmla="*/ 15487866 w 25004707"/>
              <a:gd name="connsiteY428" fmla="*/ 8816367 h 10808782"/>
              <a:gd name="connsiteX429" fmla="*/ 17204090 w 25004707"/>
              <a:gd name="connsiteY429" fmla="*/ 2548596 h 10808782"/>
              <a:gd name="connsiteX430" fmla="*/ 15919982 w 25004707"/>
              <a:gd name="connsiteY430" fmla="*/ 2464396 h 10808782"/>
              <a:gd name="connsiteX431" fmla="*/ 17172310 w 25004707"/>
              <a:gd name="connsiteY431" fmla="*/ 3033501 h 10808782"/>
              <a:gd name="connsiteX432" fmla="*/ 17140372 w 25004707"/>
              <a:gd name="connsiteY432" fmla="*/ 3517934 h 10808782"/>
              <a:gd name="connsiteX433" fmla="*/ 17140372 w 25004707"/>
              <a:gd name="connsiteY433" fmla="*/ 3517934 h 10808782"/>
              <a:gd name="connsiteX434" fmla="*/ 15856264 w 25004707"/>
              <a:gd name="connsiteY434" fmla="*/ 3433766 h 10808782"/>
              <a:gd name="connsiteX435" fmla="*/ 16726601 w 25004707"/>
              <a:gd name="connsiteY435" fmla="*/ 9818807 h 10808782"/>
              <a:gd name="connsiteX436" fmla="*/ 15442492 w 25004707"/>
              <a:gd name="connsiteY436" fmla="*/ 9734623 h 10808782"/>
              <a:gd name="connsiteX437" fmla="*/ 17204090 w 25004707"/>
              <a:gd name="connsiteY437" fmla="*/ 2548580 h 10808782"/>
              <a:gd name="connsiteX438" fmla="*/ 17172310 w 25004707"/>
              <a:gd name="connsiteY438" fmla="*/ 3033485 h 10808782"/>
              <a:gd name="connsiteX439" fmla="*/ 15888202 w 25004707"/>
              <a:gd name="connsiteY439" fmla="*/ 2949301 h 10808782"/>
              <a:gd name="connsiteX440" fmla="*/ 17402166 w 25004707"/>
              <a:gd name="connsiteY440" fmla="*/ 8385673 h 10808782"/>
              <a:gd name="connsiteX441" fmla="*/ 18066716 w 25004707"/>
              <a:gd name="connsiteY441" fmla="*/ 7989305 h 10808782"/>
              <a:gd name="connsiteX442" fmla="*/ 18998254 w 25004707"/>
              <a:gd name="connsiteY442" fmla="*/ 6560697 h 10808782"/>
              <a:gd name="connsiteX443" fmla="*/ 16901864 w 25004707"/>
              <a:gd name="connsiteY443" fmla="*/ 8707648 h 10808782"/>
              <a:gd name="connsiteX444" fmla="*/ 17080274 w 25004707"/>
              <a:gd name="connsiteY444" fmla="*/ 8564539 h 10808782"/>
              <a:gd name="connsiteX445" fmla="*/ 17402166 w 25004707"/>
              <a:gd name="connsiteY445" fmla="*/ 8385201 h 10808782"/>
              <a:gd name="connsiteX446" fmla="*/ 17200630 w 25004707"/>
              <a:gd name="connsiteY446" fmla="*/ 4158019 h 10808782"/>
              <a:gd name="connsiteX447" fmla="*/ 17124954 w 25004707"/>
              <a:gd name="connsiteY447" fmla="*/ 3949321 h 10808782"/>
              <a:gd name="connsiteX448" fmla="*/ 17140530 w 25004707"/>
              <a:gd name="connsiteY448" fmla="*/ 3517934 h 10808782"/>
              <a:gd name="connsiteX449" fmla="*/ 17125426 w 25004707"/>
              <a:gd name="connsiteY449" fmla="*/ 3949352 h 10808782"/>
              <a:gd name="connsiteX450" fmla="*/ 17201730 w 25004707"/>
              <a:gd name="connsiteY450" fmla="*/ 4158098 h 10808782"/>
              <a:gd name="connsiteX451" fmla="*/ 17358742 w 25004707"/>
              <a:gd name="connsiteY451" fmla="*/ 4323196 h 10808782"/>
              <a:gd name="connsiteX452" fmla="*/ 15489707 w 25004707"/>
              <a:gd name="connsiteY452" fmla="*/ 4211020 h 10808782"/>
              <a:gd name="connsiteX453" fmla="*/ 17654676 w 25004707"/>
              <a:gd name="connsiteY453" fmla="*/ 4542552 h 10808782"/>
              <a:gd name="connsiteX454" fmla="*/ 17359372 w 25004707"/>
              <a:gd name="connsiteY454" fmla="*/ 4322756 h 10808782"/>
              <a:gd name="connsiteX455" fmla="*/ 18261488 w 25004707"/>
              <a:gd name="connsiteY455" fmla="*/ 5022254 h 10808782"/>
              <a:gd name="connsiteX456" fmla="*/ 17654520 w 25004707"/>
              <a:gd name="connsiteY456" fmla="*/ 4542536 h 10808782"/>
              <a:gd name="connsiteX457" fmla="*/ 10846386 w 25004707"/>
              <a:gd name="connsiteY457" fmla="*/ 1158336 h 10808782"/>
              <a:gd name="connsiteX458" fmla="*/ 10814575 w 25004707"/>
              <a:gd name="connsiteY458" fmla="*/ 1642772 h 10808782"/>
              <a:gd name="connsiteX459" fmla="*/ 10846386 w 25004707"/>
              <a:gd name="connsiteY459" fmla="*/ 1158336 h 10808782"/>
              <a:gd name="connsiteX460" fmla="*/ 10878229 w 25004707"/>
              <a:gd name="connsiteY460" fmla="*/ 673426 h 10808782"/>
              <a:gd name="connsiteX461" fmla="*/ 10846386 w 25004707"/>
              <a:gd name="connsiteY461" fmla="*/ 1158336 h 10808782"/>
              <a:gd name="connsiteX462" fmla="*/ 9562215 w 25004707"/>
              <a:gd name="connsiteY462" fmla="*/ 1074149 h 10808782"/>
              <a:gd name="connsiteX463" fmla="*/ 10846386 w 25004707"/>
              <a:gd name="connsiteY463" fmla="*/ 1158336 h 10808782"/>
              <a:gd name="connsiteX464" fmla="*/ 12130541 w 25004707"/>
              <a:gd name="connsiteY464" fmla="*/ 1242500 h 10808782"/>
              <a:gd name="connsiteX465" fmla="*/ 10814575 w 25004707"/>
              <a:gd name="connsiteY465" fmla="*/ 1642772 h 10808782"/>
              <a:gd name="connsiteX466" fmla="*/ 10782701 w 25004707"/>
              <a:gd name="connsiteY466" fmla="*/ 2127677 h 10808782"/>
              <a:gd name="connsiteX467" fmla="*/ 10814575 w 25004707"/>
              <a:gd name="connsiteY467" fmla="*/ 1642772 h 10808782"/>
              <a:gd name="connsiteX468" fmla="*/ 12098730 w 25004707"/>
              <a:gd name="connsiteY468" fmla="*/ 1726956 h 10808782"/>
              <a:gd name="connsiteX469" fmla="*/ 10814575 w 25004707"/>
              <a:gd name="connsiteY469" fmla="*/ 1642772 h 10808782"/>
              <a:gd name="connsiteX470" fmla="*/ 9530388 w 25004707"/>
              <a:gd name="connsiteY470" fmla="*/ 1558589 h 10808782"/>
              <a:gd name="connsiteX471" fmla="*/ 10305289 w 25004707"/>
              <a:gd name="connsiteY471" fmla="*/ 9397889 h 10808782"/>
              <a:gd name="connsiteX472" fmla="*/ 10273446 w 25004707"/>
              <a:gd name="connsiteY472" fmla="*/ 9882778 h 10808782"/>
              <a:gd name="connsiteX473" fmla="*/ 8989260 w 25004707"/>
              <a:gd name="connsiteY473" fmla="*/ 9798610 h 10808782"/>
              <a:gd name="connsiteX474" fmla="*/ 10555692 w 25004707"/>
              <a:gd name="connsiteY474" fmla="*/ 5519827 h 10808782"/>
              <a:gd name="connsiteX475" fmla="*/ 10507424 w 25004707"/>
              <a:gd name="connsiteY475" fmla="*/ 6003648 h 10808782"/>
              <a:gd name="connsiteX476" fmla="*/ 10555614 w 25004707"/>
              <a:gd name="connsiteY476" fmla="*/ 5519341 h 10808782"/>
              <a:gd name="connsiteX477" fmla="*/ 10575783 w 25004707"/>
              <a:gd name="connsiteY477" fmla="*/ 5277870 h 10808782"/>
              <a:gd name="connsiteX478" fmla="*/ 10591688 w 25004707"/>
              <a:gd name="connsiteY478" fmla="*/ 5035661 h 10808782"/>
              <a:gd name="connsiteX479" fmla="*/ 11548855 w 25004707"/>
              <a:gd name="connsiteY479" fmla="*/ 5027347 h 10808782"/>
              <a:gd name="connsiteX480" fmla="*/ 10337085 w 25004707"/>
              <a:gd name="connsiteY480" fmla="*/ 8913455 h 10808782"/>
              <a:gd name="connsiteX481" fmla="*/ 10305258 w 25004707"/>
              <a:gd name="connsiteY481" fmla="*/ 9397889 h 10808782"/>
              <a:gd name="connsiteX482" fmla="*/ 9021087 w 25004707"/>
              <a:gd name="connsiteY482" fmla="*/ 9313705 h 10808782"/>
              <a:gd name="connsiteX483" fmla="*/ 10337085 w 25004707"/>
              <a:gd name="connsiteY483" fmla="*/ 8913455 h 10808782"/>
              <a:gd name="connsiteX484" fmla="*/ 10368913 w 25004707"/>
              <a:gd name="connsiteY484" fmla="*/ 8428566 h 10808782"/>
              <a:gd name="connsiteX485" fmla="*/ 10337085 w 25004707"/>
              <a:gd name="connsiteY485" fmla="*/ 8913455 h 10808782"/>
              <a:gd name="connsiteX486" fmla="*/ 9052883 w 25004707"/>
              <a:gd name="connsiteY486" fmla="*/ 8829287 h 10808782"/>
              <a:gd name="connsiteX487" fmla="*/ 10464347 w 25004707"/>
              <a:gd name="connsiteY487" fmla="*/ 6974794 h 10808782"/>
              <a:gd name="connsiteX488" fmla="*/ 10432536 w 25004707"/>
              <a:gd name="connsiteY488" fmla="*/ 7459228 h 10808782"/>
              <a:gd name="connsiteX489" fmla="*/ 9148365 w 25004707"/>
              <a:gd name="connsiteY489" fmla="*/ 7375059 h 10808782"/>
              <a:gd name="connsiteX490" fmla="*/ 9116522 w 25004707"/>
              <a:gd name="connsiteY490" fmla="*/ 7859965 h 10808782"/>
              <a:gd name="connsiteX491" fmla="*/ 10782731 w 25004707"/>
              <a:gd name="connsiteY491" fmla="*/ 2127662 h 10808782"/>
              <a:gd name="connsiteX492" fmla="*/ 10750888 w 25004707"/>
              <a:gd name="connsiteY492" fmla="*/ 2612551 h 10808782"/>
              <a:gd name="connsiteX493" fmla="*/ 10750888 w 25004707"/>
              <a:gd name="connsiteY493" fmla="*/ 2612551 h 10808782"/>
              <a:gd name="connsiteX494" fmla="*/ 12035043 w 25004707"/>
              <a:gd name="connsiteY494" fmla="*/ 2696735 h 10808782"/>
              <a:gd name="connsiteX495" fmla="*/ 10750888 w 25004707"/>
              <a:gd name="connsiteY495" fmla="*/ 2612551 h 10808782"/>
              <a:gd name="connsiteX496" fmla="*/ 9466717 w 25004707"/>
              <a:gd name="connsiteY496" fmla="*/ 2528383 h 10808782"/>
              <a:gd name="connsiteX497" fmla="*/ 10687250 w 25004707"/>
              <a:gd name="connsiteY497" fmla="*/ 3581905 h 10808782"/>
              <a:gd name="connsiteX498" fmla="*/ 10655422 w 25004707"/>
              <a:gd name="connsiteY498" fmla="*/ 4066339 h 10808782"/>
              <a:gd name="connsiteX499" fmla="*/ 10687250 w 25004707"/>
              <a:gd name="connsiteY499" fmla="*/ 3581905 h 10808782"/>
              <a:gd name="connsiteX500" fmla="*/ 10719077 w 25004707"/>
              <a:gd name="connsiteY500" fmla="*/ 3096984 h 10808782"/>
              <a:gd name="connsiteX501" fmla="*/ 10687250 w 25004707"/>
              <a:gd name="connsiteY501" fmla="*/ 3581905 h 10808782"/>
              <a:gd name="connsiteX502" fmla="*/ 9403063 w 25004707"/>
              <a:gd name="connsiteY502" fmla="*/ 3497721 h 10808782"/>
              <a:gd name="connsiteX503" fmla="*/ 10655422 w 25004707"/>
              <a:gd name="connsiteY503" fmla="*/ 4066339 h 10808782"/>
              <a:gd name="connsiteX504" fmla="*/ 9371251 w 25004707"/>
              <a:gd name="connsiteY504" fmla="*/ 3982155 h 10808782"/>
              <a:gd name="connsiteX505" fmla="*/ 10655422 w 25004707"/>
              <a:gd name="connsiteY505" fmla="*/ 4066339 h 10808782"/>
              <a:gd name="connsiteX506" fmla="*/ 11939593 w 25004707"/>
              <a:gd name="connsiteY506" fmla="*/ 4150506 h 10808782"/>
              <a:gd name="connsiteX507" fmla="*/ 10368881 w 25004707"/>
              <a:gd name="connsiteY507" fmla="*/ 8428566 h 10808782"/>
              <a:gd name="connsiteX508" fmla="*/ 10400693 w 25004707"/>
              <a:gd name="connsiteY508" fmla="*/ 7944132 h 10808782"/>
              <a:gd name="connsiteX509" fmla="*/ 11684864 w 25004707"/>
              <a:gd name="connsiteY509" fmla="*/ 8028316 h 10808782"/>
              <a:gd name="connsiteX510" fmla="*/ 10368881 w 25004707"/>
              <a:gd name="connsiteY510" fmla="*/ 8428566 h 10808782"/>
              <a:gd name="connsiteX511" fmla="*/ 11653068 w 25004707"/>
              <a:gd name="connsiteY511" fmla="*/ 8512733 h 10808782"/>
              <a:gd name="connsiteX512" fmla="*/ 10368881 w 25004707"/>
              <a:gd name="connsiteY512" fmla="*/ 8428566 h 10808782"/>
              <a:gd name="connsiteX513" fmla="*/ 9084726 w 25004707"/>
              <a:gd name="connsiteY513" fmla="*/ 8344382 h 10808782"/>
              <a:gd name="connsiteX514" fmla="*/ 10491817 w 25004707"/>
              <a:gd name="connsiteY514" fmla="*/ 6490549 h 10808782"/>
              <a:gd name="connsiteX515" fmla="*/ 10480222 w 25004707"/>
              <a:gd name="connsiteY515" fmla="*/ 6732585 h 10808782"/>
              <a:gd name="connsiteX516" fmla="*/ 10464317 w 25004707"/>
              <a:gd name="connsiteY516" fmla="*/ 6974794 h 10808782"/>
              <a:gd name="connsiteX517" fmla="*/ 9180145 w 25004707"/>
              <a:gd name="connsiteY517" fmla="*/ 6890626 h 10808782"/>
              <a:gd name="connsiteX518" fmla="*/ 10507361 w 25004707"/>
              <a:gd name="connsiteY518" fmla="*/ 6003632 h 10808782"/>
              <a:gd name="connsiteX519" fmla="*/ 10491943 w 25004707"/>
              <a:gd name="connsiteY519" fmla="*/ 6489606 h 10808782"/>
              <a:gd name="connsiteX520" fmla="*/ 10163458 w 25004707"/>
              <a:gd name="connsiteY520" fmla="*/ 6468073 h 10808782"/>
              <a:gd name="connsiteX521" fmla="*/ 9212005 w 25004707"/>
              <a:gd name="connsiteY521" fmla="*/ 6405705 h 10808782"/>
              <a:gd name="connsiteX522" fmla="*/ 10507361 w 25004707"/>
              <a:gd name="connsiteY522" fmla="*/ 6003632 h 10808782"/>
              <a:gd name="connsiteX523" fmla="*/ 9243879 w 25004707"/>
              <a:gd name="connsiteY523" fmla="*/ 5920832 h 10808782"/>
              <a:gd name="connsiteX524" fmla="*/ 10507361 w 25004707"/>
              <a:gd name="connsiteY524" fmla="*/ 6003632 h 10808782"/>
              <a:gd name="connsiteX525" fmla="*/ 11123456 w 25004707"/>
              <a:gd name="connsiteY525" fmla="*/ 6044043 h 10808782"/>
              <a:gd name="connsiteX526" fmla="*/ 10782701 w 25004707"/>
              <a:gd name="connsiteY526" fmla="*/ 2127677 h 10808782"/>
              <a:gd name="connsiteX527" fmla="*/ 12066887 w 25004707"/>
              <a:gd name="connsiteY527" fmla="*/ 2211845 h 10808782"/>
              <a:gd name="connsiteX528" fmla="*/ 10782701 w 25004707"/>
              <a:gd name="connsiteY528" fmla="*/ 2127677 h 10808782"/>
              <a:gd name="connsiteX529" fmla="*/ 9498529 w 25004707"/>
              <a:gd name="connsiteY529" fmla="*/ 2043493 h 10808782"/>
              <a:gd name="connsiteX530" fmla="*/ 10750841 w 25004707"/>
              <a:gd name="connsiteY530" fmla="*/ 2612582 h 10808782"/>
              <a:gd name="connsiteX531" fmla="*/ 10719029 w 25004707"/>
              <a:gd name="connsiteY531" fmla="*/ 3097016 h 10808782"/>
              <a:gd name="connsiteX532" fmla="*/ 9434859 w 25004707"/>
              <a:gd name="connsiteY532" fmla="*/ 3012832 h 10808782"/>
              <a:gd name="connsiteX533" fmla="*/ 10623563 w 25004707"/>
              <a:gd name="connsiteY533" fmla="*/ 4551244 h 10808782"/>
              <a:gd name="connsiteX534" fmla="*/ 10591752 w 25004707"/>
              <a:gd name="connsiteY534" fmla="*/ 5035661 h 10808782"/>
              <a:gd name="connsiteX535" fmla="*/ 9307550 w 25004707"/>
              <a:gd name="connsiteY535" fmla="*/ 4951493 h 10808782"/>
              <a:gd name="connsiteX536" fmla="*/ 9275706 w 25004707"/>
              <a:gd name="connsiteY536" fmla="*/ 5436398 h 10808782"/>
              <a:gd name="connsiteX537" fmla="*/ 10623563 w 25004707"/>
              <a:gd name="connsiteY537" fmla="*/ 4551244 h 10808782"/>
              <a:gd name="connsiteX538" fmla="*/ 10655390 w 25004707"/>
              <a:gd name="connsiteY538" fmla="*/ 4066339 h 10808782"/>
              <a:gd name="connsiteX539" fmla="*/ 10623563 w 25004707"/>
              <a:gd name="connsiteY539" fmla="*/ 4551244 h 10808782"/>
              <a:gd name="connsiteX540" fmla="*/ 9339392 w 25004707"/>
              <a:gd name="connsiteY540" fmla="*/ 4467060 h 10808782"/>
              <a:gd name="connsiteX541" fmla="*/ 10432504 w 25004707"/>
              <a:gd name="connsiteY541" fmla="*/ 7459228 h 10808782"/>
              <a:gd name="connsiteX542" fmla="*/ 10400662 w 25004707"/>
              <a:gd name="connsiteY542" fmla="*/ 7944132 h 10808782"/>
              <a:gd name="connsiteX543" fmla="*/ 9116475 w 25004707"/>
              <a:gd name="connsiteY543" fmla="*/ 7859949 h 10808782"/>
              <a:gd name="connsiteX544" fmla="*/ 5662142 w 25004707"/>
              <a:gd name="connsiteY544" fmla="*/ 1780254 h 10808782"/>
              <a:gd name="connsiteX545" fmla="*/ 5658194 w 25004707"/>
              <a:gd name="connsiteY545" fmla="*/ 2262267 h 10808782"/>
              <a:gd name="connsiteX546" fmla="*/ 5662142 w 25004707"/>
              <a:gd name="connsiteY546" fmla="*/ 1780254 h 10808782"/>
              <a:gd name="connsiteX547" fmla="*/ 4402830 w 25004707"/>
              <a:gd name="connsiteY547" fmla="*/ 1082261 h 10808782"/>
              <a:gd name="connsiteX548" fmla="*/ 5662142 w 25004707"/>
              <a:gd name="connsiteY548" fmla="*/ 1780254 h 10808782"/>
              <a:gd name="connsiteX549" fmla="*/ 6479129 w 25004707"/>
              <a:gd name="connsiteY549" fmla="*/ 1845561 h 10808782"/>
              <a:gd name="connsiteX550" fmla="*/ 6930187 w 25004707"/>
              <a:gd name="connsiteY550" fmla="*/ 1875142 h 10808782"/>
              <a:gd name="connsiteX551" fmla="*/ 5658194 w 25004707"/>
              <a:gd name="connsiteY551" fmla="*/ 2262267 h 10808782"/>
              <a:gd name="connsiteX552" fmla="*/ 4366723 w 25004707"/>
              <a:gd name="connsiteY552" fmla="*/ 1631817 h 10808782"/>
              <a:gd name="connsiteX553" fmla="*/ 5658194 w 25004707"/>
              <a:gd name="connsiteY553" fmla="*/ 2262267 h 10808782"/>
              <a:gd name="connsiteX554" fmla="*/ 5911822 w 25004707"/>
              <a:gd name="connsiteY554" fmla="*/ 2295353 h 10808782"/>
              <a:gd name="connsiteX555" fmla="*/ 6898297 w 25004707"/>
              <a:gd name="connsiteY555" fmla="*/ 2360015 h 10808782"/>
              <a:gd name="connsiteX556" fmla="*/ 6930156 w 25004707"/>
              <a:gd name="connsiteY556" fmla="*/ 1875126 h 10808782"/>
              <a:gd name="connsiteX557" fmla="*/ 5455005 w 25004707"/>
              <a:gd name="connsiteY557" fmla="*/ 4698958 h 10808782"/>
              <a:gd name="connsiteX558" fmla="*/ 5486817 w 25004707"/>
              <a:gd name="connsiteY558" fmla="*/ 4214524 h 10808782"/>
              <a:gd name="connsiteX559" fmla="*/ 6771003 w 25004707"/>
              <a:gd name="connsiteY559" fmla="*/ 4298708 h 10808782"/>
              <a:gd name="connsiteX560" fmla="*/ 5455005 w 25004707"/>
              <a:gd name="connsiteY560" fmla="*/ 4698958 h 10808782"/>
              <a:gd name="connsiteX561" fmla="*/ 6739176 w 25004707"/>
              <a:gd name="connsiteY561" fmla="*/ 4783142 h 10808782"/>
              <a:gd name="connsiteX562" fmla="*/ 5455005 w 25004707"/>
              <a:gd name="connsiteY562" fmla="*/ 4698958 h 10808782"/>
              <a:gd name="connsiteX563" fmla="*/ 5254428 w 25004707"/>
              <a:gd name="connsiteY563" fmla="*/ 4685802 h 10808782"/>
              <a:gd name="connsiteX564" fmla="*/ 4154818 w 25004707"/>
              <a:gd name="connsiteY564" fmla="*/ 4858838 h 10808782"/>
              <a:gd name="connsiteX565" fmla="*/ 5455005 w 25004707"/>
              <a:gd name="connsiteY565" fmla="*/ 4698958 h 10808782"/>
              <a:gd name="connsiteX566" fmla="*/ 5391335 w 25004707"/>
              <a:gd name="connsiteY566" fmla="*/ 5668281 h 10808782"/>
              <a:gd name="connsiteX567" fmla="*/ 4107179 w 25004707"/>
              <a:gd name="connsiteY567" fmla="*/ 5584097 h 10808782"/>
              <a:gd name="connsiteX568" fmla="*/ 5200355 w 25004707"/>
              <a:gd name="connsiteY568" fmla="*/ 8576736 h 10808782"/>
              <a:gd name="connsiteX569" fmla="*/ 5168543 w 25004707"/>
              <a:gd name="connsiteY569" fmla="*/ 9061169 h 10808782"/>
              <a:gd name="connsiteX570" fmla="*/ 3884356 w 25004707"/>
              <a:gd name="connsiteY570" fmla="*/ 8976986 h 10808782"/>
              <a:gd name="connsiteX571" fmla="*/ 5200355 w 25004707"/>
              <a:gd name="connsiteY571" fmla="*/ 8576736 h 10808782"/>
              <a:gd name="connsiteX572" fmla="*/ 5232197 w 25004707"/>
              <a:gd name="connsiteY572" fmla="*/ 8091847 h 10808782"/>
              <a:gd name="connsiteX573" fmla="*/ 5200355 w 25004707"/>
              <a:gd name="connsiteY573" fmla="*/ 8576736 h 10808782"/>
              <a:gd name="connsiteX574" fmla="*/ 3916184 w 25004707"/>
              <a:gd name="connsiteY574" fmla="*/ 8492568 h 10808782"/>
              <a:gd name="connsiteX575" fmla="*/ 5658225 w 25004707"/>
              <a:gd name="connsiteY575" fmla="*/ 2262283 h 10808782"/>
              <a:gd name="connsiteX576" fmla="*/ 5637521 w 25004707"/>
              <a:gd name="connsiteY576" fmla="*/ 2763912 h 10808782"/>
              <a:gd name="connsiteX577" fmla="*/ 6866517 w 25004707"/>
              <a:gd name="connsiteY577" fmla="*/ 2844465 h 10808782"/>
              <a:gd name="connsiteX578" fmla="*/ 5592415 w 25004707"/>
              <a:gd name="connsiteY578" fmla="*/ 3263937 h 10808782"/>
              <a:gd name="connsiteX579" fmla="*/ 5637489 w 25004707"/>
              <a:gd name="connsiteY579" fmla="*/ 2763896 h 10808782"/>
              <a:gd name="connsiteX580" fmla="*/ 4298128 w 25004707"/>
              <a:gd name="connsiteY580" fmla="*/ 2676113 h 10808782"/>
              <a:gd name="connsiteX581" fmla="*/ 5592415 w 25004707"/>
              <a:gd name="connsiteY581" fmla="*/ 3263937 h 10808782"/>
              <a:gd name="connsiteX582" fmla="*/ 5533291 w 25004707"/>
              <a:gd name="connsiteY582" fmla="*/ 3742335 h 10808782"/>
              <a:gd name="connsiteX583" fmla="*/ 5592415 w 25004707"/>
              <a:gd name="connsiteY583" fmla="*/ 3263937 h 10808782"/>
              <a:gd name="connsiteX584" fmla="*/ 5848183 w 25004707"/>
              <a:gd name="connsiteY584" fmla="*/ 3264220 h 10808782"/>
              <a:gd name="connsiteX585" fmla="*/ 6834674 w 25004707"/>
              <a:gd name="connsiteY585" fmla="*/ 3328898 h 10808782"/>
              <a:gd name="connsiteX586" fmla="*/ 5709640 w 25004707"/>
              <a:gd name="connsiteY586" fmla="*/ 821626 h 10808782"/>
              <a:gd name="connsiteX587" fmla="*/ 5677828 w 25004707"/>
              <a:gd name="connsiteY587" fmla="*/ 1306056 h 10808782"/>
              <a:gd name="connsiteX588" fmla="*/ 5622638 w 25004707"/>
              <a:gd name="connsiteY588" fmla="*/ 1302440 h 10808782"/>
              <a:gd name="connsiteX589" fmla="*/ 5501527 w 25004707"/>
              <a:gd name="connsiteY589" fmla="*/ 1263917 h 10808782"/>
              <a:gd name="connsiteX590" fmla="*/ 4424446 w 25004707"/>
              <a:gd name="connsiteY590" fmla="*/ 752908 h 10808782"/>
              <a:gd name="connsiteX591" fmla="*/ 5709640 w 25004707"/>
              <a:gd name="connsiteY591" fmla="*/ 821626 h 10808782"/>
              <a:gd name="connsiteX592" fmla="*/ 5741483 w 25004707"/>
              <a:gd name="connsiteY592" fmla="*/ 336712 h 10808782"/>
              <a:gd name="connsiteX593" fmla="*/ 5709640 w 25004707"/>
              <a:gd name="connsiteY593" fmla="*/ 821626 h 10808782"/>
              <a:gd name="connsiteX594" fmla="*/ 5509063 w 25004707"/>
              <a:gd name="connsiteY594" fmla="*/ 808462 h 10808782"/>
              <a:gd name="connsiteX595" fmla="*/ 4441500 w 25004707"/>
              <a:gd name="connsiteY595" fmla="*/ 493335 h 10808782"/>
              <a:gd name="connsiteX596" fmla="*/ 5136715 w 25004707"/>
              <a:gd name="connsiteY596" fmla="*/ 9546074 h 10808782"/>
              <a:gd name="connsiteX597" fmla="*/ 5168575 w 25004707"/>
              <a:gd name="connsiteY597" fmla="*/ 9061169 h 10808782"/>
              <a:gd name="connsiteX598" fmla="*/ 5136715 w 25004707"/>
              <a:gd name="connsiteY598" fmla="*/ 9546074 h 10808782"/>
              <a:gd name="connsiteX599" fmla="*/ 6420871 w 25004707"/>
              <a:gd name="connsiteY599" fmla="*/ 9630242 h 10808782"/>
              <a:gd name="connsiteX600" fmla="*/ 6452730 w 25004707"/>
              <a:gd name="connsiteY600" fmla="*/ 9145353 h 10808782"/>
              <a:gd name="connsiteX601" fmla="*/ 7736885 w 25004707"/>
              <a:gd name="connsiteY601" fmla="*/ 9229521 h 10808782"/>
              <a:gd name="connsiteX602" fmla="*/ 5136715 w 25004707"/>
              <a:gd name="connsiteY602" fmla="*/ 9546074 h 10808782"/>
              <a:gd name="connsiteX603" fmla="*/ 3852544 w 25004707"/>
              <a:gd name="connsiteY603" fmla="*/ 9461890 h 10808782"/>
              <a:gd name="connsiteX604" fmla="*/ 5486801 w 25004707"/>
              <a:gd name="connsiteY604" fmla="*/ 4214981 h 10808782"/>
              <a:gd name="connsiteX605" fmla="*/ 5491773 w 25004707"/>
              <a:gd name="connsiteY605" fmla="*/ 4139080 h 10808782"/>
              <a:gd name="connsiteX606" fmla="*/ 5497892 w 25004707"/>
              <a:gd name="connsiteY606" fmla="*/ 4062315 h 10808782"/>
              <a:gd name="connsiteX607" fmla="*/ 5533276 w 25004707"/>
              <a:gd name="connsiteY607" fmla="*/ 3742335 h 10808782"/>
              <a:gd name="connsiteX608" fmla="*/ 4193442 w 25004707"/>
              <a:gd name="connsiteY608" fmla="*/ 4269945 h 10808782"/>
              <a:gd name="connsiteX609" fmla="*/ 5327633 w 25004707"/>
              <a:gd name="connsiteY609" fmla="*/ 6638091 h 10808782"/>
              <a:gd name="connsiteX610" fmla="*/ 5359476 w 25004707"/>
              <a:gd name="connsiteY610" fmla="*/ 6153186 h 10808782"/>
              <a:gd name="connsiteX611" fmla="*/ 6643678 w 25004707"/>
              <a:gd name="connsiteY611" fmla="*/ 6237369 h 10808782"/>
              <a:gd name="connsiteX612" fmla="*/ 5327633 w 25004707"/>
              <a:gd name="connsiteY612" fmla="*/ 6638091 h 10808782"/>
              <a:gd name="connsiteX613" fmla="*/ 5295821 w 25004707"/>
              <a:gd name="connsiteY613" fmla="*/ 7122508 h 10808782"/>
              <a:gd name="connsiteX614" fmla="*/ 5327633 w 25004707"/>
              <a:gd name="connsiteY614" fmla="*/ 6638091 h 10808782"/>
              <a:gd name="connsiteX615" fmla="*/ 6611819 w 25004707"/>
              <a:gd name="connsiteY615" fmla="*/ 6722259 h 10808782"/>
              <a:gd name="connsiteX616" fmla="*/ 5327633 w 25004707"/>
              <a:gd name="connsiteY616" fmla="*/ 6638091 h 10808782"/>
              <a:gd name="connsiteX617" fmla="*/ 4043446 w 25004707"/>
              <a:gd name="connsiteY617" fmla="*/ 6553891 h 10808782"/>
              <a:gd name="connsiteX618" fmla="*/ 5295821 w 25004707"/>
              <a:gd name="connsiteY618" fmla="*/ 7122508 h 10808782"/>
              <a:gd name="connsiteX619" fmla="*/ 4011634 w 25004707"/>
              <a:gd name="connsiteY619" fmla="*/ 7038325 h 10808782"/>
              <a:gd name="connsiteX620" fmla="*/ 5295821 w 25004707"/>
              <a:gd name="connsiteY620" fmla="*/ 7122508 h 10808782"/>
              <a:gd name="connsiteX621" fmla="*/ 6579992 w 25004707"/>
              <a:gd name="connsiteY621" fmla="*/ 7206692 h 10808782"/>
              <a:gd name="connsiteX622" fmla="*/ 5391303 w 25004707"/>
              <a:gd name="connsiteY622" fmla="*/ 5668281 h 10808782"/>
              <a:gd name="connsiteX623" fmla="*/ 5359460 w 25004707"/>
              <a:gd name="connsiteY623" fmla="*/ 6153186 h 10808782"/>
              <a:gd name="connsiteX624" fmla="*/ 4075304 w 25004707"/>
              <a:gd name="connsiteY624" fmla="*/ 6069002 h 10808782"/>
              <a:gd name="connsiteX625" fmla="*/ 5676774 w 25004707"/>
              <a:gd name="connsiteY625" fmla="*/ 1305997 h 10808782"/>
              <a:gd name="connsiteX626" fmla="*/ 5661592 w 25004707"/>
              <a:gd name="connsiteY626" fmla="*/ 1780223 h 10808782"/>
              <a:gd name="connsiteX627" fmla="*/ 5295774 w 25004707"/>
              <a:gd name="connsiteY627" fmla="*/ 7122508 h 10808782"/>
              <a:gd name="connsiteX628" fmla="*/ 5263931 w 25004707"/>
              <a:gd name="connsiteY628" fmla="*/ 7607414 h 10808782"/>
              <a:gd name="connsiteX629" fmla="*/ 3979775 w 25004707"/>
              <a:gd name="connsiteY629" fmla="*/ 7523230 h 10808782"/>
              <a:gd name="connsiteX630" fmla="*/ 1666131 w 25004707"/>
              <a:gd name="connsiteY630" fmla="*/ 3477068 h 10808782"/>
              <a:gd name="connsiteX631" fmla="*/ 1697943 w 25004707"/>
              <a:gd name="connsiteY631" fmla="*/ 2992651 h 10808782"/>
              <a:gd name="connsiteX632" fmla="*/ 1666131 w 25004707"/>
              <a:gd name="connsiteY632" fmla="*/ 3477068 h 10808782"/>
              <a:gd name="connsiteX633" fmla="*/ 1634272 w 25004707"/>
              <a:gd name="connsiteY633" fmla="*/ 3961989 h 10808782"/>
              <a:gd name="connsiteX634" fmla="*/ 1666131 w 25004707"/>
              <a:gd name="connsiteY634" fmla="*/ 3477068 h 10808782"/>
              <a:gd name="connsiteX635" fmla="*/ 381954 w 25004707"/>
              <a:gd name="connsiteY635" fmla="*/ 3392900 h 10808782"/>
              <a:gd name="connsiteX636" fmla="*/ 1666131 w 25004707"/>
              <a:gd name="connsiteY636" fmla="*/ 3477068 h 10808782"/>
              <a:gd name="connsiteX637" fmla="*/ 2652607 w 25004707"/>
              <a:gd name="connsiteY637" fmla="*/ 3541731 h 10808782"/>
              <a:gd name="connsiteX638" fmla="*/ 2934679 w 25004707"/>
              <a:gd name="connsiteY638" fmla="*/ 3571987 h 10808782"/>
              <a:gd name="connsiteX639" fmla="*/ 1697943 w 25004707"/>
              <a:gd name="connsiteY639" fmla="*/ 2992651 h 10808782"/>
              <a:gd name="connsiteX640" fmla="*/ 1729801 w 25004707"/>
              <a:gd name="connsiteY640" fmla="*/ 2507730 h 10808782"/>
              <a:gd name="connsiteX641" fmla="*/ 1697943 w 25004707"/>
              <a:gd name="connsiteY641" fmla="*/ 2992651 h 10808782"/>
              <a:gd name="connsiteX642" fmla="*/ 403160 w 25004707"/>
              <a:gd name="connsiteY642" fmla="*/ 2907760 h 10808782"/>
              <a:gd name="connsiteX643" fmla="*/ 1602492 w 25004707"/>
              <a:gd name="connsiteY643" fmla="*/ 4446422 h 10808782"/>
              <a:gd name="connsiteX644" fmla="*/ 1634304 w 25004707"/>
              <a:gd name="connsiteY644" fmla="*/ 3961989 h 10808782"/>
              <a:gd name="connsiteX645" fmla="*/ 1602492 w 25004707"/>
              <a:gd name="connsiteY645" fmla="*/ 4446422 h 10808782"/>
              <a:gd name="connsiteX646" fmla="*/ 2886663 w 25004707"/>
              <a:gd name="connsiteY646" fmla="*/ 4530606 h 10808782"/>
              <a:gd name="connsiteX647" fmla="*/ 1602492 w 25004707"/>
              <a:gd name="connsiteY647" fmla="*/ 4446422 h 10808782"/>
              <a:gd name="connsiteX648" fmla="*/ 318315 w 25004707"/>
              <a:gd name="connsiteY648" fmla="*/ 4362239 h 10808782"/>
              <a:gd name="connsiteX649" fmla="*/ 1347818 w 25004707"/>
              <a:gd name="connsiteY649" fmla="*/ 8324201 h 10808782"/>
              <a:gd name="connsiteX650" fmla="*/ 1379664 w 25004707"/>
              <a:gd name="connsiteY650" fmla="*/ 7839312 h 10808782"/>
              <a:gd name="connsiteX651" fmla="*/ 1347818 w 25004707"/>
              <a:gd name="connsiteY651" fmla="*/ 8324201 h 10808782"/>
              <a:gd name="connsiteX652" fmla="*/ 2631997 w 25004707"/>
              <a:gd name="connsiteY652" fmla="*/ 8408384 h 10808782"/>
              <a:gd name="connsiteX653" fmla="*/ 2663840 w 25004707"/>
              <a:gd name="connsiteY653" fmla="*/ 7923495 h 10808782"/>
              <a:gd name="connsiteX654" fmla="*/ 1347818 w 25004707"/>
              <a:gd name="connsiteY654" fmla="*/ 8324201 h 10808782"/>
              <a:gd name="connsiteX655" fmla="*/ 63640 w 25004707"/>
              <a:gd name="connsiteY655" fmla="*/ 8240033 h 10808782"/>
              <a:gd name="connsiteX656" fmla="*/ 1411411 w 25004707"/>
              <a:gd name="connsiteY656" fmla="*/ 7354878 h 10808782"/>
              <a:gd name="connsiteX657" fmla="*/ 1443258 w 25004707"/>
              <a:gd name="connsiteY657" fmla="*/ 6869973 h 10808782"/>
              <a:gd name="connsiteX658" fmla="*/ 2727447 w 25004707"/>
              <a:gd name="connsiteY658" fmla="*/ 6954157 h 10808782"/>
              <a:gd name="connsiteX659" fmla="*/ 1411411 w 25004707"/>
              <a:gd name="connsiteY659" fmla="*/ 7354878 h 10808782"/>
              <a:gd name="connsiteX660" fmla="*/ 1379615 w 25004707"/>
              <a:gd name="connsiteY660" fmla="*/ 7839312 h 10808782"/>
              <a:gd name="connsiteX661" fmla="*/ 1411411 w 25004707"/>
              <a:gd name="connsiteY661" fmla="*/ 7354878 h 10808782"/>
              <a:gd name="connsiteX662" fmla="*/ 127234 w 25004707"/>
              <a:gd name="connsiteY662" fmla="*/ 7270695 h 10808782"/>
              <a:gd name="connsiteX663" fmla="*/ 1793456 w 25004707"/>
              <a:gd name="connsiteY663" fmla="*/ 1538423 h 10808782"/>
              <a:gd name="connsiteX664" fmla="*/ 1825315 w 25004707"/>
              <a:gd name="connsiteY664" fmla="*/ 1053519 h 10808782"/>
              <a:gd name="connsiteX665" fmla="*/ 1793456 w 25004707"/>
              <a:gd name="connsiteY665" fmla="*/ 1538423 h 10808782"/>
              <a:gd name="connsiteX666" fmla="*/ 509285 w 25004707"/>
              <a:gd name="connsiteY666" fmla="*/ 1454241 h 10808782"/>
              <a:gd name="connsiteX667" fmla="*/ 1793456 w 25004707"/>
              <a:gd name="connsiteY667" fmla="*/ 1538423 h 10808782"/>
              <a:gd name="connsiteX668" fmla="*/ 2244530 w 25004707"/>
              <a:gd name="connsiteY668" fmla="*/ 1567988 h 10808782"/>
              <a:gd name="connsiteX669" fmla="*/ 3063877 w 25004707"/>
              <a:gd name="connsiteY669" fmla="*/ 1613223 h 10808782"/>
              <a:gd name="connsiteX670" fmla="*/ 1825315 w 25004707"/>
              <a:gd name="connsiteY670" fmla="*/ 1053519 h 10808782"/>
              <a:gd name="connsiteX671" fmla="*/ 1857095 w 25004707"/>
              <a:gd name="connsiteY671" fmla="*/ 569070 h 10808782"/>
              <a:gd name="connsiteX672" fmla="*/ 1825315 w 25004707"/>
              <a:gd name="connsiteY672" fmla="*/ 1053519 h 10808782"/>
              <a:gd name="connsiteX673" fmla="*/ 541117 w 25004707"/>
              <a:gd name="connsiteY673" fmla="*/ 969340 h 10808782"/>
              <a:gd name="connsiteX674" fmla="*/ 1315958 w 25004707"/>
              <a:gd name="connsiteY674" fmla="*/ 8808634 h 10808782"/>
              <a:gd name="connsiteX675" fmla="*/ 1284111 w 25004707"/>
              <a:gd name="connsiteY675" fmla="*/ 9293539 h 10808782"/>
              <a:gd name="connsiteX676" fmla="*/ 2568295 w 25004707"/>
              <a:gd name="connsiteY676" fmla="*/ 9377707 h 10808782"/>
              <a:gd name="connsiteX677" fmla="*/ 1538806 w 25004707"/>
              <a:gd name="connsiteY677" fmla="*/ 5415746 h 10808782"/>
              <a:gd name="connsiteX678" fmla="*/ 1570617 w 25004707"/>
              <a:gd name="connsiteY678" fmla="*/ 4931312 h 10808782"/>
              <a:gd name="connsiteX679" fmla="*/ 1538806 w 25004707"/>
              <a:gd name="connsiteY679" fmla="*/ 5415746 h 10808782"/>
              <a:gd name="connsiteX680" fmla="*/ 1506961 w 25004707"/>
              <a:gd name="connsiteY680" fmla="*/ 5900650 h 10808782"/>
              <a:gd name="connsiteX681" fmla="*/ 1538806 w 25004707"/>
              <a:gd name="connsiteY681" fmla="*/ 5415746 h 10808782"/>
              <a:gd name="connsiteX682" fmla="*/ 254622 w 25004707"/>
              <a:gd name="connsiteY682" fmla="*/ 5331577 h 10808782"/>
              <a:gd name="connsiteX683" fmla="*/ 1570617 w 25004707"/>
              <a:gd name="connsiteY683" fmla="*/ 4931312 h 10808782"/>
              <a:gd name="connsiteX684" fmla="*/ 1602461 w 25004707"/>
              <a:gd name="connsiteY684" fmla="*/ 4446407 h 10808782"/>
              <a:gd name="connsiteX685" fmla="*/ 1570617 w 25004707"/>
              <a:gd name="connsiteY685" fmla="*/ 4931312 h 10808782"/>
              <a:gd name="connsiteX686" fmla="*/ 286431 w 25004707"/>
              <a:gd name="connsiteY686" fmla="*/ 4847128 h 10808782"/>
              <a:gd name="connsiteX687" fmla="*/ 1729786 w 25004707"/>
              <a:gd name="connsiteY687" fmla="*/ 2507761 h 10808782"/>
              <a:gd name="connsiteX688" fmla="*/ 1761597 w 25004707"/>
              <a:gd name="connsiteY688" fmla="*/ 2023328 h 10808782"/>
              <a:gd name="connsiteX689" fmla="*/ 2414287 w 25004707"/>
              <a:gd name="connsiteY689" fmla="*/ 2066111 h 10808782"/>
              <a:gd name="connsiteX690" fmla="*/ 2740663 w 25004707"/>
              <a:gd name="connsiteY690" fmla="*/ 2087031 h 10808782"/>
              <a:gd name="connsiteX691" fmla="*/ 3004360 w 25004707"/>
              <a:gd name="connsiteY691" fmla="*/ 2088776 h 10808782"/>
              <a:gd name="connsiteX692" fmla="*/ 1729786 w 25004707"/>
              <a:gd name="connsiteY692" fmla="*/ 2507761 h 10808782"/>
              <a:gd name="connsiteX693" fmla="*/ 2958782 w 25004707"/>
              <a:gd name="connsiteY693" fmla="*/ 2588330 h 10808782"/>
              <a:gd name="connsiteX694" fmla="*/ 1729786 w 25004707"/>
              <a:gd name="connsiteY694" fmla="*/ 2507761 h 10808782"/>
              <a:gd name="connsiteX695" fmla="*/ 434989 w 25004707"/>
              <a:gd name="connsiteY695" fmla="*/ 2422886 h 10808782"/>
              <a:gd name="connsiteX696" fmla="*/ 1475135 w 25004707"/>
              <a:gd name="connsiteY696" fmla="*/ 6385540 h 10808782"/>
              <a:gd name="connsiteX697" fmla="*/ 1443319 w 25004707"/>
              <a:gd name="connsiteY697" fmla="*/ 6869973 h 10808782"/>
              <a:gd name="connsiteX698" fmla="*/ 159142 w 25004707"/>
              <a:gd name="connsiteY698" fmla="*/ 6785789 h 10808782"/>
              <a:gd name="connsiteX699" fmla="*/ 1475135 w 25004707"/>
              <a:gd name="connsiteY699" fmla="*/ 6385540 h 10808782"/>
              <a:gd name="connsiteX700" fmla="*/ 1506961 w 25004707"/>
              <a:gd name="connsiteY700" fmla="*/ 5900650 h 10808782"/>
              <a:gd name="connsiteX701" fmla="*/ 1475135 w 25004707"/>
              <a:gd name="connsiteY701" fmla="*/ 6385540 h 10808782"/>
              <a:gd name="connsiteX702" fmla="*/ 190938 w 25004707"/>
              <a:gd name="connsiteY702" fmla="*/ 6301372 h 10808782"/>
              <a:gd name="connsiteX703" fmla="*/ 1857095 w 25004707"/>
              <a:gd name="connsiteY703" fmla="*/ 569070 h 10808782"/>
              <a:gd name="connsiteX704" fmla="*/ 1888954 w 25004707"/>
              <a:gd name="connsiteY704" fmla="*/ 84169 h 10808782"/>
              <a:gd name="connsiteX705" fmla="*/ 1857095 w 25004707"/>
              <a:gd name="connsiteY705" fmla="*/ 569070 h 10808782"/>
              <a:gd name="connsiteX706" fmla="*/ 3141266 w 25004707"/>
              <a:gd name="connsiteY706" fmla="*/ 653251 h 10808782"/>
              <a:gd name="connsiteX707" fmla="*/ 3173109 w 25004707"/>
              <a:gd name="connsiteY707" fmla="*/ 168350 h 10808782"/>
              <a:gd name="connsiteX708" fmla="*/ 1857095 w 25004707"/>
              <a:gd name="connsiteY708" fmla="*/ 569070 h 10808782"/>
              <a:gd name="connsiteX709" fmla="*/ 572924 w 25004707"/>
              <a:gd name="connsiteY709" fmla="*/ 484891 h 10808782"/>
              <a:gd name="connsiteX710" fmla="*/ 1379615 w 25004707"/>
              <a:gd name="connsiteY710" fmla="*/ 7839312 h 10808782"/>
              <a:gd name="connsiteX711" fmla="*/ 95437 w 25004707"/>
              <a:gd name="connsiteY711" fmla="*/ 7755128 h 10808782"/>
              <a:gd name="connsiteX712" fmla="*/ 1379615 w 25004707"/>
              <a:gd name="connsiteY712" fmla="*/ 7839312 h 10808782"/>
              <a:gd name="connsiteX713" fmla="*/ 2663793 w 25004707"/>
              <a:gd name="connsiteY713" fmla="*/ 7923495 h 10808782"/>
              <a:gd name="connsiteX714" fmla="*/ 1634272 w 25004707"/>
              <a:gd name="connsiteY714" fmla="*/ 3961989 h 10808782"/>
              <a:gd name="connsiteX715" fmla="*/ 2918475 w 25004707"/>
              <a:gd name="connsiteY715" fmla="*/ 4046173 h 10808782"/>
              <a:gd name="connsiteX716" fmla="*/ 1634272 w 25004707"/>
              <a:gd name="connsiteY716" fmla="*/ 3961989 h 10808782"/>
              <a:gd name="connsiteX717" fmla="*/ 350101 w 25004707"/>
              <a:gd name="connsiteY717" fmla="*/ 3877805 h 10808782"/>
              <a:gd name="connsiteX718" fmla="*/ 1506961 w 25004707"/>
              <a:gd name="connsiteY718" fmla="*/ 5900650 h 10808782"/>
              <a:gd name="connsiteX719" fmla="*/ 222779 w 25004707"/>
              <a:gd name="connsiteY719" fmla="*/ 5816467 h 10808782"/>
              <a:gd name="connsiteX720" fmla="*/ 1506961 w 25004707"/>
              <a:gd name="connsiteY720" fmla="*/ 5900650 h 10808782"/>
              <a:gd name="connsiteX721" fmla="*/ 2791118 w 25004707"/>
              <a:gd name="connsiteY721" fmla="*/ 5984834 h 10808782"/>
              <a:gd name="connsiteX722" fmla="*/ 1793441 w 25004707"/>
              <a:gd name="connsiteY722" fmla="*/ 1538407 h 10808782"/>
              <a:gd name="connsiteX723" fmla="*/ 1761597 w 25004707"/>
              <a:gd name="connsiteY723" fmla="*/ 2023296 h 10808782"/>
              <a:gd name="connsiteX724" fmla="*/ 477423 w 25004707"/>
              <a:gd name="connsiteY724" fmla="*/ 1939128 h 10808782"/>
              <a:gd name="connsiteX725" fmla="*/ 1347747 w 25004707"/>
              <a:gd name="connsiteY725" fmla="*/ 8324185 h 10808782"/>
              <a:gd name="connsiteX726" fmla="*/ 1315932 w 25004707"/>
              <a:gd name="connsiteY726" fmla="*/ 8808618 h 10808782"/>
              <a:gd name="connsiteX727" fmla="*/ 31754 w 25004707"/>
              <a:gd name="connsiteY727" fmla="*/ 8724434 h 10808782"/>
              <a:gd name="connsiteX728" fmla="*/ 2918475 w 25004707"/>
              <a:gd name="connsiteY728" fmla="*/ 4046173 h 10808782"/>
              <a:gd name="connsiteX729" fmla="*/ 2886663 w 25004707"/>
              <a:gd name="connsiteY729" fmla="*/ 4530606 h 10808782"/>
              <a:gd name="connsiteX730" fmla="*/ 2918475 w 25004707"/>
              <a:gd name="connsiteY730" fmla="*/ 4046173 h 10808782"/>
              <a:gd name="connsiteX731" fmla="*/ 2923446 w 25004707"/>
              <a:gd name="connsiteY731" fmla="*/ 3970272 h 10808782"/>
              <a:gd name="connsiteX732" fmla="*/ 2934176 w 25004707"/>
              <a:gd name="connsiteY732" fmla="*/ 3571956 h 10808782"/>
              <a:gd name="connsiteX733" fmla="*/ 2886663 w 25004707"/>
              <a:gd name="connsiteY733" fmla="*/ 4530606 h 10808782"/>
              <a:gd name="connsiteX734" fmla="*/ 3087240 w 25004707"/>
              <a:gd name="connsiteY734" fmla="*/ 4543731 h 10808782"/>
              <a:gd name="connsiteX735" fmla="*/ 4154818 w 25004707"/>
              <a:gd name="connsiteY735" fmla="*/ 4858838 h 10808782"/>
              <a:gd name="connsiteX736" fmla="*/ 2958782 w 25004707"/>
              <a:gd name="connsiteY736" fmla="*/ 2588330 h 10808782"/>
              <a:gd name="connsiteX737" fmla="*/ 3003841 w 25004707"/>
              <a:gd name="connsiteY737" fmla="*/ 2088289 h 10808782"/>
              <a:gd name="connsiteX738" fmla="*/ 3062980 w 25004707"/>
              <a:gd name="connsiteY738" fmla="*/ 1609875 h 10808782"/>
              <a:gd name="connsiteX739" fmla="*/ 2958782 w 25004707"/>
              <a:gd name="connsiteY739" fmla="*/ 2588330 h 10808782"/>
              <a:gd name="connsiteX740" fmla="*/ 2938062 w 25004707"/>
              <a:gd name="connsiteY740" fmla="*/ 3089943 h 10808782"/>
              <a:gd name="connsiteX741" fmla="*/ 4229533 w 25004707"/>
              <a:gd name="connsiteY741" fmla="*/ 3720409 h 10808782"/>
              <a:gd name="connsiteX742" fmla="*/ 4298128 w 25004707"/>
              <a:gd name="connsiteY742" fmla="*/ 2676113 h 10808782"/>
              <a:gd name="connsiteX743" fmla="*/ 2958782 w 25004707"/>
              <a:gd name="connsiteY743" fmla="*/ 2588330 h 10808782"/>
              <a:gd name="connsiteX744" fmla="*/ 4298128 w 25004707"/>
              <a:gd name="connsiteY744" fmla="*/ 2676113 h 10808782"/>
              <a:gd name="connsiteX745" fmla="*/ 3141329 w 25004707"/>
              <a:gd name="connsiteY745" fmla="*/ 653273 h 10808782"/>
              <a:gd name="connsiteX746" fmla="*/ 3109502 w 25004707"/>
              <a:gd name="connsiteY746" fmla="*/ 1137705 h 10808782"/>
              <a:gd name="connsiteX747" fmla="*/ 3109502 w 25004707"/>
              <a:gd name="connsiteY747" fmla="*/ 1137705 h 10808782"/>
              <a:gd name="connsiteX748" fmla="*/ 3063043 w 25004707"/>
              <a:gd name="connsiteY748" fmla="*/ 1609891 h 10808782"/>
              <a:gd name="connsiteX749" fmla="*/ 4402830 w 25004707"/>
              <a:gd name="connsiteY749" fmla="*/ 1082261 h 10808782"/>
              <a:gd name="connsiteX750" fmla="*/ 3109502 w 25004707"/>
              <a:gd name="connsiteY750" fmla="*/ 1137705 h 10808782"/>
              <a:gd name="connsiteX751" fmla="*/ 1825331 w 25004707"/>
              <a:gd name="connsiteY751" fmla="*/ 1053526 h 10808782"/>
              <a:gd name="connsiteX752" fmla="*/ 2938125 w 25004707"/>
              <a:gd name="connsiteY752" fmla="*/ 3089943 h 10808782"/>
              <a:gd name="connsiteX753" fmla="*/ 2934176 w 25004707"/>
              <a:gd name="connsiteY753" fmla="*/ 3571956 h 10808782"/>
              <a:gd name="connsiteX754" fmla="*/ 2934176 w 25004707"/>
              <a:gd name="connsiteY754" fmla="*/ 3571956 h 10808782"/>
              <a:gd name="connsiteX755" fmla="*/ 4193489 w 25004707"/>
              <a:gd name="connsiteY755" fmla="*/ 4269945 h 10808782"/>
              <a:gd name="connsiteX756" fmla="*/ 4229580 w 25004707"/>
              <a:gd name="connsiteY756" fmla="*/ 3720393 h 10808782"/>
              <a:gd name="connsiteX757" fmla="*/ 2854836 w 25004707"/>
              <a:gd name="connsiteY757" fmla="*/ 5015496 h 10808782"/>
              <a:gd name="connsiteX758" fmla="*/ 2823024 w 25004707"/>
              <a:gd name="connsiteY758" fmla="*/ 5499929 h 10808782"/>
              <a:gd name="connsiteX759" fmla="*/ 2854836 w 25004707"/>
              <a:gd name="connsiteY759" fmla="*/ 5015496 h 10808782"/>
              <a:gd name="connsiteX760" fmla="*/ 2886695 w 25004707"/>
              <a:gd name="connsiteY760" fmla="*/ 4530606 h 10808782"/>
              <a:gd name="connsiteX761" fmla="*/ 2854836 w 25004707"/>
              <a:gd name="connsiteY761" fmla="*/ 5015496 h 10808782"/>
              <a:gd name="connsiteX762" fmla="*/ 1570665 w 25004707"/>
              <a:gd name="connsiteY762" fmla="*/ 4931328 h 10808782"/>
              <a:gd name="connsiteX763" fmla="*/ 2823024 w 25004707"/>
              <a:gd name="connsiteY763" fmla="*/ 5499929 h 10808782"/>
              <a:gd name="connsiteX764" fmla="*/ 4107179 w 25004707"/>
              <a:gd name="connsiteY764" fmla="*/ 5584097 h 10808782"/>
              <a:gd name="connsiteX765" fmla="*/ 2823024 w 25004707"/>
              <a:gd name="connsiteY765" fmla="*/ 5499929 h 10808782"/>
              <a:gd name="connsiteX766" fmla="*/ 1538853 w 25004707"/>
              <a:gd name="connsiteY766" fmla="*/ 5415746 h 10808782"/>
              <a:gd name="connsiteX767" fmla="*/ 2663793 w 25004707"/>
              <a:gd name="connsiteY767" fmla="*/ 7923495 h 10808782"/>
              <a:gd name="connsiteX768" fmla="*/ 2695604 w 25004707"/>
              <a:gd name="connsiteY768" fmla="*/ 7439062 h 10808782"/>
              <a:gd name="connsiteX769" fmla="*/ 3979775 w 25004707"/>
              <a:gd name="connsiteY769" fmla="*/ 7523230 h 10808782"/>
              <a:gd name="connsiteX770" fmla="*/ 2663793 w 25004707"/>
              <a:gd name="connsiteY770" fmla="*/ 7923495 h 10808782"/>
              <a:gd name="connsiteX771" fmla="*/ 3947948 w 25004707"/>
              <a:gd name="connsiteY771" fmla="*/ 8007663 h 10808782"/>
              <a:gd name="connsiteX772" fmla="*/ 3979775 w 25004707"/>
              <a:gd name="connsiteY772" fmla="*/ 7523230 h 10808782"/>
              <a:gd name="connsiteX773" fmla="*/ 2568295 w 25004707"/>
              <a:gd name="connsiteY773" fmla="*/ 9377707 h 10808782"/>
              <a:gd name="connsiteX774" fmla="*/ 2600138 w 25004707"/>
              <a:gd name="connsiteY774" fmla="*/ 8892802 h 10808782"/>
              <a:gd name="connsiteX775" fmla="*/ 3884340 w 25004707"/>
              <a:gd name="connsiteY775" fmla="*/ 8976986 h 10808782"/>
              <a:gd name="connsiteX776" fmla="*/ 3916152 w 25004707"/>
              <a:gd name="connsiteY776" fmla="*/ 8492552 h 10808782"/>
              <a:gd name="connsiteX777" fmla="*/ 2568295 w 25004707"/>
              <a:gd name="connsiteY777" fmla="*/ 9377707 h 10808782"/>
              <a:gd name="connsiteX778" fmla="*/ 3852450 w 25004707"/>
              <a:gd name="connsiteY778" fmla="*/ 9461875 h 10808782"/>
              <a:gd name="connsiteX779" fmla="*/ 3884293 w 25004707"/>
              <a:gd name="connsiteY779" fmla="*/ 8976986 h 10808782"/>
              <a:gd name="connsiteX780" fmla="*/ 2822961 w 25004707"/>
              <a:gd name="connsiteY780" fmla="*/ 5499929 h 10808782"/>
              <a:gd name="connsiteX781" fmla="*/ 2791118 w 25004707"/>
              <a:gd name="connsiteY781" fmla="*/ 5984834 h 10808782"/>
              <a:gd name="connsiteX782" fmla="*/ 2791118 w 25004707"/>
              <a:gd name="connsiteY782" fmla="*/ 5984834 h 10808782"/>
              <a:gd name="connsiteX783" fmla="*/ 2759275 w 25004707"/>
              <a:gd name="connsiteY783" fmla="*/ 6469723 h 10808782"/>
              <a:gd name="connsiteX784" fmla="*/ 2791118 w 25004707"/>
              <a:gd name="connsiteY784" fmla="*/ 5984834 h 10808782"/>
              <a:gd name="connsiteX785" fmla="*/ 4075304 w 25004707"/>
              <a:gd name="connsiteY785" fmla="*/ 6069002 h 10808782"/>
              <a:gd name="connsiteX786" fmla="*/ 2759275 w 25004707"/>
              <a:gd name="connsiteY786" fmla="*/ 6469723 h 10808782"/>
              <a:gd name="connsiteX787" fmla="*/ 2727447 w 25004707"/>
              <a:gd name="connsiteY787" fmla="*/ 6954157 h 10808782"/>
              <a:gd name="connsiteX788" fmla="*/ 2759275 w 25004707"/>
              <a:gd name="connsiteY788" fmla="*/ 6469723 h 10808782"/>
              <a:gd name="connsiteX789" fmla="*/ 1475099 w 25004707"/>
              <a:gd name="connsiteY789" fmla="*/ 6385555 h 10808782"/>
              <a:gd name="connsiteX790" fmla="*/ 2759275 w 25004707"/>
              <a:gd name="connsiteY790" fmla="*/ 6469723 h 10808782"/>
              <a:gd name="connsiteX791" fmla="*/ 4043446 w 25004707"/>
              <a:gd name="connsiteY791" fmla="*/ 6553891 h 10808782"/>
              <a:gd name="connsiteX792" fmla="*/ 2727479 w 25004707"/>
              <a:gd name="connsiteY792" fmla="*/ 6954157 h 10808782"/>
              <a:gd name="connsiteX793" fmla="*/ 2695636 w 25004707"/>
              <a:gd name="connsiteY793" fmla="*/ 7439062 h 10808782"/>
              <a:gd name="connsiteX794" fmla="*/ 1411460 w 25004707"/>
              <a:gd name="connsiteY794" fmla="*/ 7354878 h 10808782"/>
              <a:gd name="connsiteX795" fmla="*/ 2727447 w 25004707"/>
              <a:gd name="connsiteY795" fmla="*/ 6954157 h 10808782"/>
              <a:gd name="connsiteX796" fmla="*/ 4011634 w 25004707"/>
              <a:gd name="connsiteY796" fmla="*/ 7038325 h 10808782"/>
              <a:gd name="connsiteX797" fmla="*/ 4298128 w 25004707"/>
              <a:gd name="connsiteY797" fmla="*/ 2676113 h 10808782"/>
              <a:gd name="connsiteX798" fmla="*/ 4366723 w 25004707"/>
              <a:gd name="connsiteY798" fmla="*/ 1631817 h 10808782"/>
              <a:gd name="connsiteX799" fmla="*/ 4043446 w 25004707"/>
              <a:gd name="connsiteY799" fmla="*/ 6553891 h 10808782"/>
              <a:gd name="connsiteX800" fmla="*/ 4011634 w 25004707"/>
              <a:gd name="connsiteY800" fmla="*/ 7038325 h 10808782"/>
              <a:gd name="connsiteX801" fmla="*/ 4043446 w 25004707"/>
              <a:gd name="connsiteY801" fmla="*/ 6553891 h 10808782"/>
              <a:gd name="connsiteX802" fmla="*/ 4075304 w 25004707"/>
              <a:gd name="connsiteY802" fmla="*/ 6069002 h 10808782"/>
              <a:gd name="connsiteX803" fmla="*/ 4011634 w 25004707"/>
              <a:gd name="connsiteY803" fmla="*/ 7038325 h 10808782"/>
              <a:gd name="connsiteX804" fmla="*/ 3979775 w 25004707"/>
              <a:gd name="connsiteY804" fmla="*/ 7523230 h 10808782"/>
              <a:gd name="connsiteX805" fmla="*/ 4457312 w 25004707"/>
              <a:gd name="connsiteY805" fmla="*/ 252523 h 10808782"/>
              <a:gd name="connsiteX806" fmla="*/ 4441500 w 25004707"/>
              <a:gd name="connsiteY806" fmla="*/ 493335 h 10808782"/>
              <a:gd name="connsiteX807" fmla="*/ 4441500 w 25004707"/>
              <a:gd name="connsiteY807" fmla="*/ 493335 h 10808782"/>
              <a:gd name="connsiteX808" fmla="*/ 3341890 w 25004707"/>
              <a:gd name="connsiteY808" fmla="*/ 666397 h 10808782"/>
              <a:gd name="connsiteX809" fmla="*/ 3141314 w 25004707"/>
              <a:gd name="connsiteY809" fmla="*/ 653248 h 10808782"/>
              <a:gd name="connsiteX810" fmla="*/ 4193505 w 25004707"/>
              <a:gd name="connsiteY810" fmla="*/ 4269945 h 10808782"/>
              <a:gd name="connsiteX811" fmla="*/ 4171904 w 25004707"/>
              <a:gd name="connsiteY811" fmla="*/ 4598837 h 10808782"/>
              <a:gd name="connsiteX812" fmla="*/ 4402830 w 25004707"/>
              <a:gd name="connsiteY812" fmla="*/ 1082261 h 10808782"/>
              <a:gd name="connsiteX813" fmla="*/ 4424415 w 25004707"/>
              <a:gd name="connsiteY813" fmla="*/ 753372 h 10808782"/>
              <a:gd name="connsiteX814" fmla="*/ 3289752 w 25004707"/>
              <a:gd name="connsiteY814" fmla="*/ 1119395 h 10808782"/>
              <a:gd name="connsiteX815" fmla="*/ 3109439 w 25004707"/>
              <a:gd name="connsiteY815" fmla="*/ 1138162 h 10808782"/>
              <a:gd name="connsiteX816" fmla="*/ 4366723 w 25004707"/>
              <a:gd name="connsiteY816" fmla="*/ 1631817 h 10808782"/>
              <a:gd name="connsiteX817" fmla="*/ 3003872 w 25004707"/>
              <a:gd name="connsiteY817" fmla="*/ 2088273 h 10808782"/>
              <a:gd name="connsiteX818" fmla="*/ 4402766 w 25004707"/>
              <a:gd name="connsiteY818" fmla="*/ 1082272 h 10808782"/>
              <a:gd name="connsiteX819" fmla="*/ 4366676 w 25004707"/>
              <a:gd name="connsiteY819" fmla="*/ 1631817 h 10808782"/>
              <a:gd name="connsiteX820" fmla="*/ 4107148 w 25004707"/>
              <a:gd name="connsiteY820" fmla="*/ 5584097 h 10808782"/>
              <a:gd name="connsiteX821" fmla="*/ 4075304 w 25004707"/>
              <a:gd name="connsiteY821" fmla="*/ 6069002 h 10808782"/>
              <a:gd name="connsiteX822" fmla="*/ 4136254 w 25004707"/>
              <a:gd name="connsiteY822" fmla="*/ 5141363 h 10808782"/>
              <a:gd name="connsiteX823" fmla="*/ 4107179 w 25004707"/>
              <a:gd name="connsiteY823" fmla="*/ 5584097 h 10808782"/>
              <a:gd name="connsiteX824" fmla="*/ 4136254 w 25004707"/>
              <a:gd name="connsiteY824" fmla="*/ 5141363 h 10808782"/>
              <a:gd name="connsiteX825" fmla="*/ 4154818 w 25004707"/>
              <a:gd name="connsiteY825" fmla="*/ 4858838 h 10808782"/>
              <a:gd name="connsiteX826" fmla="*/ 4136254 w 25004707"/>
              <a:gd name="connsiteY826" fmla="*/ 5141363 h 10808782"/>
              <a:gd name="connsiteX827" fmla="*/ 4901023 w 25004707"/>
              <a:gd name="connsiteY827" fmla="*/ 5149598 h 10808782"/>
              <a:gd name="connsiteX828" fmla="*/ 5423193 w 25004707"/>
              <a:gd name="connsiteY828" fmla="*/ 5183816 h 10808782"/>
              <a:gd name="connsiteX829" fmla="*/ 4136254 w 25004707"/>
              <a:gd name="connsiteY829" fmla="*/ 5141363 h 10808782"/>
              <a:gd name="connsiteX830" fmla="*/ 3509586 w 25004707"/>
              <a:gd name="connsiteY830" fmla="*/ 5059317 h 10808782"/>
              <a:gd name="connsiteX831" fmla="*/ 2854836 w 25004707"/>
              <a:gd name="connsiteY831" fmla="*/ 5015464 h 10808782"/>
              <a:gd name="connsiteX832" fmla="*/ 3948026 w 25004707"/>
              <a:gd name="connsiteY832" fmla="*/ 8007663 h 10808782"/>
              <a:gd name="connsiteX833" fmla="*/ 3916184 w 25004707"/>
              <a:gd name="connsiteY833" fmla="*/ 8492568 h 10808782"/>
              <a:gd name="connsiteX834" fmla="*/ 3916184 w 25004707"/>
              <a:gd name="connsiteY834" fmla="*/ 8492568 h 10808782"/>
              <a:gd name="connsiteX835" fmla="*/ 2632012 w 25004707"/>
              <a:gd name="connsiteY835" fmla="*/ 8408369 h 10808782"/>
              <a:gd name="connsiteX836" fmla="*/ 2600201 w 25004707"/>
              <a:gd name="connsiteY836" fmla="*/ 8892802 h 10808782"/>
              <a:gd name="connsiteX837" fmla="*/ 1316024 w 25004707"/>
              <a:gd name="connsiteY837" fmla="*/ 8808634 h 10808782"/>
              <a:gd name="connsiteX838" fmla="*/ 4154818 w 25004707"/>
              <a:gd name="connsiteY838" fmla="*/ 4858838 h 10808782"/>
              <a:gd name="connsiteX839" fmla="*/ 4171888 w 25004707"/>
              <a:gd name="connsiteY839" fmla="*/ 4598837 h 10808782"/>
              <a:gd name="connsiteX840" fmla="*/ 4441469 w 25004707"/>
              <a:gd name="connsiteY840" fmla="*/ 493350 h 10808782"/>
              <a:gd name="connsiteX841" fmla="*/ 4424383 w 25004707"/>
              <a:gd name="connsiteY841" fmla="*/ 753369 h 10808782"/>
              <a:gd name="connsiteX842" fmla="*/ 4171888 w 25004707"/>
              <a:gd name="connsiteY842" fmla="*/ 4598837 h 10808782"/>
              <a:gd name="connsiteX843" fmla="*/ 5486817 w 25004707"/>
              <a:gd name="connsiteY843" fmla="*/ 4214493 h 10808782"/>
              <a:gd name="connsiteX844" fmla="*/ 4171888 w 25004707"/>
              <a:gd name="connsiteY844" fmla="*/ 4598837 h 10808782"/>
              <a:gd name="connsiteX845" fmla="*/ 2918475 w 25004707"/>
              <a:gd name="connsiteY845" fmla="*/ 4046141 h 10808782"/>
              <a:gd name="connsiteX846" fmla="*/ 6516337 w 25004707"/>
              <a:gd name="connsiteY846" fmla="*/ 8176030 h 10808782"/>
              <a:gd name="connsiteX847" fmla="*/ 6484494 w 25004707"/>
              <a:gd name="connsiteY847" fmla="*/ 8660920 h 10808782"/>
              <a:gd name="connsiteX848" fmla="*/ 5200323 w 25004707"/>
              <a:gd name="connsiteY848" fmla="*/ 8576751 h 10808782"/>
              <a:gd name="connsiteX849" fmla="*/ 6516337 w 25004707"/>
              <a:gd name="connsiteY849" fmla="*/ 8176030 h 10808782"/>
              <a:gd name="connsiteX850" fmla="*/ 6548180 w 25004707"/>
              <a:gd name="connsiteY850" fmla="*/ 7691597 h 10808782"/>
              <a:gd name="connsiteX851" fmla="*/ 7832335 w 25004707"/>
              <a:gd name="connsiteY851" fmla="*/ 7775781 h 10808782"/>
              <a:gd name="connsiteX852" fmla="*/ 6516337 w 25004707"/>
              <a:gd name="connsiteY852" fmla="*/ 8176030 h 10808782"/>
              <a:gd name="connsiteX853" fmla="*/ 5232182 w 25004707"/>
              <a:gd name="connsiteY853" fmla="*/ 8091847 h 10808782"/>
              <a:gd name="connsiteX854" fmla="*/ 6516337 w 25004707"/>
              <a:gd name="connsiteY854" fmla="*/ 8176030 h 10808782"/>
              <a:gd name="connsiteX855" fmla="*/ 7800540 w 25004707"/>
              <a:gd name="connsiteY855" fmla="*/ 8260199 h 10808782"/>
              <a:gd name="connsiteX856" fmla="*/ 6484447 w 25004707"/>
              <a:gd name="connsiteY856" fmla="*/ 8660904 h 10808782"/>
              <a:gd name="connsiteX857" fmla="*/ 6452635 w 25004707"/>
              <a:gd name="connsiteY857" fmla="*/ 9145338 h 10808782"/>
              <a:gd name="connsiteX858" fmla="*/ 5168449 w 25004707"/>
              <a:gd name="connsiteY858" fmla="*/ 9061154 h 10808782"/>
              <a:gd name="connsiteX859" fmla="*/ 6707364 w 25004707"/>
              <a:gd name="connsiteY859" fmla="*/ 5268031 h 10808782"/>
              <a:gd name="connsiteX860" fmla="*/ 6675537 w 25004707"/>
              <a:gd name="connsiteY860" fmla="*/ 5752465 h 10808782"/>
              <a:gd name="connsiteX861" fmla="*/ 6675537 w 25004707"/>
              <a:gd name="connsiteY861" fmla="*/ 5752465 h 10808782"/>
              <a:gd name="connsiteX862" fmla="*/ 6643678 w 25004707"/>
              <a:gd name="connsiteY862" fmla="*/ 6237369 h 10808782"/>
              <a:gd name="connsiteX863" fmla="*/ 6675537 w 25004707"/>
              <a:gd name="connsiteY863" fmla="*/ 5752465 h 10808782"/>
              <a:gd name="connsiteX864" fmla="*/ 7959724 w 25004707"/>
              <a:gd name="connsiteY864" fmla="*/ 5836648 h 10808782"/>
              <a:gd name="connsiteX865" fmla="*/ 6675537 w 25004707"/>
              <a:gd name="connsiteY865" fmla="*/ 5752465 h 10808782"/>
              <a:gd name="connsiteX866" fmla="*/ 5391366 w 25004707"/>
              <a:gd name="connsiteY866" fmla="*/ 5668297 h 10808782"/>
              <a:gd name="connsiteX867" fmla="*/ 6739145 w 25004707"/>
              <a:gd name="connsiteY867" fmla="*/ 4783126 h 10808782"/>
              <a:gd name="connsiteX868" fmla="*/ 6707301 w 25004707"/>
              <a:gd name="connsiteY868" fmla="*/ 5268031 h 10808782"/>
              <a:gd name="connsiteX869" fmla="*/ 5423115 w 25004707"/>
              <a:gd name="connsiteY869" fmla="*/ 5183847 h 10808782"/>
              <a:gd name="connsiteX870" fmla="*/ 6771003 w 25004707"/>
              <a:gd name="connsiteY870" fmla="*/ 4298708 h 10808782"/>
              <a:gd name="connsiteX871" fmla="*/ 6802846 w 25004707"/>
              <a:gd name="connsiteY871" fmla="*/ 3813819 h 10808782"/>
              <a:gd name="connsiteX872" fmla="*/ 8087017 w 25004707"/>
              <a:gd name="connsiteY872" fmla="*/ 3897971 h 10808782"/>
              <a:gd name="connsiteX873" fmla="*/ 8118845 w 25004707"/>
              <a:gd name="connsiteY873" fmla="*/ 3413538 h 10808782"/>
              <a:gd name="connsiteX874" fmla="*/ 6771003 w 25004707"/>
              <a:gd name="connsiteY874" fmla="*/ 4298708 h 10808782"/>
              <a:gd name="connsiteX875" fmla="*/ 6739176 w 25004707"/>
              <a:gd name="connsiteY875" fmla="*/ 4783142 h 10808782"/>
              <a:gd name="connsiteX876" fmla="*/ 6962031 w 25004707"/>
              <a:gd name="connsiteY876" fmla="*/ 1390234 h 10808782"/>
              <a:gd name="connsiteX877" fmla="*/ 6930187 w 25004707"/>
              <a:gd name="connsiteY877" fmla="*/ 1875142 h 10808782"/>
              <a:gd name="connsiteX878" fmla="*/ 6962031 w 25004707"/>
              <a:gd name="connsiteY878" fmla="*/ 1390234 h 10808782"/>
              <a:gd name="connsiteX879" fmla="*/ 6993842 w 25004707"/>
              <a:gd name="connsiteY879" fmla="*/ 905794 h 10808782"/>
              <a:gd name="connsiteX880" fmla="*/ 6962031 w 25004707"/>
              <a:gd name="connsiteY880" fmla="*/ 1390234 h 10808782"/>
              <a:gd name="connsiteX881" fmla="*/ 5677875 w 25004707"/>
              <a:gd name="connsiteY881" fmla="*/ 1306052 h 10808782"/>
              <a:gd name="connsiteX882" fmla="*/ 6962031 w 25004707"/>
              <a:gd name="connsiteY882" fmla="*/ 1390234 h 10808782"/>
              <a:gd name="connsiteX883" fmla="*/ 8246217 w 25004707"/>
              <a:gd name="connsiteY883" fmla="*/ 1474414 h 10808782"/>
              <a:gd name="connsiteX884" fmla="*/ 6930187 w 25004707"/>
              <a:gd name="connsiteY884" fmla="*/ 1875142 h 10808782"/>
              <a:gd name="connsiteX885" fmla="*/ 8214374 w 25004707"/>
              <a:gd name="connsiteY885" fmla="*/ 1959310 h 10808782"/>
              <a:gd name="connsiteX886" fmla="*/ 8246217 w 25004707"/>
              <a:gd name="connsiteY886" fmla="*/ 1474414 h 10808782"/>
              <a:gd name="connsiteX887" fmla="*/ 7025685 w 25004707"/>
              <a:gd name="connsiteY887" fmla="*/ 420894 h 10808782"/>
              <a:gd name="connsiteX888" fmla="*/ 6993842 w 25004707"/>
              <a:gd name="connsiteY888" fmla="*/ 905794 h 10808782"/>
              <a:gd name="connsiteX889" fmla="*/ 6993842 w 25004707"/>
              <a:gd name="connsiteY889" fmla="*/ 905794 h 10808782"/>
              <a:gd name="connsiteX890" fmla="*/ 5709671 w 25004707"/>
              <a:gd name="connsiteY890" fmla="*/ 821615 h 10808782"/>
              <a:gd name="connsiteX891" fmla="*/ 6993842 w 25004707"/>
              <a:gd name="connsiteY891" fmla="*/ 905794 h 10808782"/>
              <a:gd name="connsiteX892" fmla="*/ 8278013 w 25004707"/>
              <a:gd name="connsiteY892" fmla="*/ 989967 h 10808782"/>
              <a:gd name="connsiteX893" fmla="*/ 8309856 w 25004707"/>
              <a:gd name="connsiteY893" fmla="*/ 505066 h 10808782"/>
              <a:gd name="connsiteX894" fmla="*/ 6739176 w 25004707"/>
              <a:gd name="connsiteY894" fmla="*/ 4783142 h 10808782"/>
              <a:gd name="connsiteX895" fmla="*/ 8023347 w 25004707"/>
              <a:gd name="connsiteY895" fmla="*/ 4867310 h 10808782"/>
              <a:gd name="connsiteX896" fmla="*/ 6611819 w 25004707"/>
              <a:gd name="connsiteY896" fmla="*/ 6722259 h 10808782"/>
              <a:gd name="connsiteX897" fmla="*/ 6579992 w 25004707"/>
              <a:gd name="connsiteY897" fmla="*/ 7206692 h 10808782"/>
              <a:gd name="connsiteX898" fmla="*/ 6611819 w 25004707"/>
              <a:gd name="connsiteY898" fmla="*/ 6722259 h 10808782"/>
              <a:gd name="connsiteX899" fmla="*/ 6643647 w 25004707"/>
              <a:gd name="connsiteY899" fmla="*/ 6237369 h 10808782"/>
              <a:gd name="connsiteX900" fmla="*/ 6611819 w 25004707"/>
              <a:gd name="connsiteY900" fmla="*/ 6722259 h 10808782"/>
              <a:gd name="connsiteX901" fmla="*/ 7895990 w 25004707"/>
              <a:gd name="connsiteY901" fmla="*/ 6806442 h 10808782"/>
              <a:gd name="connsiteX902" fmla="*/ 6579992 w 25004707"/>
              <a:gd name="connsiteY902" fmla="*/ 7206692 h 10808782"/>
              <a:gd name="connsiteX903" fmla="*/ 6548133 w 25004707"/>
              <a:gd name="connsiteY903" fmla="*/ 7691613 h 10808782"/>
              <a:gd name="connsiteX904" fmla="*/ 5263978 w 25004707"/>
              <a:gd name="connsiteY904" fmla="*/ 7607414 h 10808782"/>
              <a:gd name="connsiteX905" fmla="*/ 5232150 w 25004707"/>
              <a:gd name="connsiteY905" fmla="*/ 8091847 h 10808782"/>
              <a:gd name="connsiteX906" fmla="*/ 3947979 w 25004707"/>
              <a:gd name="connsiteY906" fmla="*/ 8007663 h 10808782"/>
              <a:gd name="connsiteX907" fmla="*/ 6643678 w 25004707"/>
              <a:gd name="connsiteY907" fmla="*/ 6237369 h 10808782"/>
              <a:gd name="connsiteX908" fmla="*/ 7927849 w 25004707"/>
              <a:gd name="connsiteY908" fmla="*/ 6321553 h 10808782"/>
              <a:gd name="connsiteX909" fmla="*/ 6898344 w 25004707"/>
              <a:gd name="connsiteY909" fmla="*/ 2360031 h 10808782"/>
              <a:gd name="connsiteX910" fmla="*/ 6866517 w 25004707"/>
              <a:gd name="connsiteY910" fmla="*/ 2844465 h 10808782"/>
              <a:gd name="connsiteX911" fmla="*/ 6866517 w 25004707"/>
              <a:gd name="connsiteY911" fmla="*/ 2844465 h 10808782"/>
              <a:gd name="connsiteX912" fmla="*/ 8150688 w 25004707"/>
              <a:gd name="connsiteY912" fmla="*/ 2928648 h 10808782"/>
              <a:gd name="connsiteX913" fmla="*/ 6866517 w 25004707"/>
              <a:gd name="connsiteY913" fmla="*/ 2844465 h 10808782"/>
              <a:gd name="connsiteX914" fmla="*/ 6802862 w 25004707"/>
              <a:gd name="connsiteY914" fmla="*/ 3813787 h 10808782"/>
              <a:gd name="connsiteX915" fmla="*/ 7832335 w 25004707"/>
              <a:gd name="connsiteY915" fmla="*/ 7775781 h 10808782"/>
              <a:gd name="connsiteX916" fmla="*/ 7864178 w 25004707"/>
              <a:gd name="connsiteY916" fmla="*/ 7290876 h 10808782"/>
              <a:gd name="connsiteX917" fmla="*/ 7832335 w 25004707"/>
              <a:gd name="connsiteY917" fmla="*/ 7775781 h 10808782"/>
              <a:gd name="connsiteX918" fmla="*/ 7800540 w 25004707"/>
              <a:gd name="connsiteY918" fmla="*/ 8260199 h 10808782"/>
              <a:gd name="connsiteX919" fmla="*/ 7832335 w 25004707"/>
              <a:gd name="connsiteY919" fmla="*/ 7775781 h 10808782"/>
              <a:gd name="connsiteX920" fmla="*/ 9116522 w 25004707"/>
              <a:gd name="connsiteY920" fmla="*/ 7859965 h 10808782"/>
              <a:gd name="connsiteX921" fmla="*/ 7864178 w 25004707"/>
              <a:gd name="connsiteY921" fmla="*/ 7290876 h 10808782"/>
              <a:gd name="connsiteX922" fmla="*/ 7895990 w 25004707"/>
              <a:gd name="connsiteY922" fmla="*/ 6806442 h 10808782"/>
              <a:gd name="connsiteX923" fmla="*/ 7864178 w 25004707"/>
              <a:gd name="connsiteY923" fmla="*/ 7290876 h 10808782"/>
              <a:gd name="connsiteX924" fmla="*/ 6580023 w 25004707"/>
              <a:gd name="connsiteY924" fmla="*/ 7206692 h 10808782"/>
              <a:gd name="connsiteX925" fmla="*/ 7864178 w 25004707"/>
              <a:gd name="connsiteY925" fmla="*/ 7290876 h 10808782"/>
              <a:gd name="connsiteX926" fmla="*/ 9148365 w 25004707"/>
              <a:gd name="connsiteY926" fmla="*/ 7375028 h 10808782"/>
              <a:gd name="connsiteX927" fmla="*/ 9180177 w 25004707"/>
              <a:gd name="connsiteY927" fmla="*/ 6890626 h 10808782"/>
              <a:gd name="connsiteX928" fmla="*/ 8023347 w 25004707"/>
              <a:gd name="connsiteY928" fmla="*/ 4867310 h 10808782"/>
              <a:gd name="connsiteX929" fmla="*/ 7991504 w 25004707"/>
              <a:gd name="connsiteY929" fmla="*/ 5352199 h 10808782"/>
              <a:gd name="connsiteX930" fmla="*/ 6707317 w 25004707"/>
              <a:gd name="connsiteY930" fmla="*/ 5268031 h 10808782"/>
              <a:gd name="connsiteX931" fmla="*/ 8023347 w 25004707"/>
              <a:gd name="connsiteY931" fmla="*/ 4867310 h 10808782"/>
              <a:gd name="connsiteX932" fmla="*/ 8055159 w 25004707"/>
              <a:gd name="connsiteY932" fmla="*/ 4382892 h 10808782"/>
              <a:gd name="connsiteX933" fmla="*/ 8023347 w 25004707"/>
              <a:gd name="connsiteY933" fmla="*/ 4867310 h 10808782"/>
              <a:gd name="connsiteX934" fmla="*/ 9307518 w 25004707"/>
              <a:gd name="connsiteY934" fmla="*/ 4951493 h 10808782"/>
              <a:gd name="connsiteX935" fmla="*/ 9339345 w 25004707"/>
              <a:gd name="connsiteY935" fmla="*/ 4467060 h 10808782"/>
              <a:gd name="connsiteX936" fmla="*/ 8150735 w 25004707"/>
              <a:gd name="connsiteY936" fmla="*/ 2928633 h 10808782"/>
              <a:gd name="connsiteX937" fmla="*/ 8118892 w 25004707"/>
              <a:gd name="connsiteY937" fmla="*/ 3413522 h 10808782"/>
              <a:gd name="connsiteX938" fmla="*/ 8118892 w 25004707"/>
              <a:gd name="connsiteY938" fmla="*/ 3413522 h 10808782"/>
              <a:gd name="connsiteX939" fmla="*/ 6834705 w 25004707"/>
              <a:gd name="connsiteY939" fmla="*/ 3329354 h 10808782"/>
              <a:gd name="connsiteX940" fmla="*/ 8118892 w 25004707"/>
              <a:gd name="connsiteY940" fmla="*/ 3413522 h 10808782"/>
              <a:gd name="connsiteX941" fmla="*/ 9403063 w 25004707"/>
              <a:gd name="connsiteY941" fmla="*/ 3497721 h 10808782"/>
              <a:gd name="connsiteX942" fmla="*/ 7927849 w 25004707"/>
              <a:gd name="connsiteY942" fmla="*/ 6321553 h 10808782"/>
              <a:gd name="connsiteX943" fmla="*/ 7895990 w 25004707"/>
              <a:gd name="connsiteY943" fmla="*/ 6806442 h 10808782"/>
              <a:gd name="connsiteX944" fmla="*/ 7927849 w 25004707"/>
              <a:gd name="connsiteY944" fmla="*/ 6321553 h 10808782"/>
              <a:gd name="connsiteX945" fmla="*/ 7959692 w 25004707"/>
              <a:gd name="connsiteY945" fmla="*/ 5836632 h 10808782"/>
              <a:gd name="connsiteX946" fmla="*/ 7895990 w 25004707"/>
              <a:gd name="connsiteY946" fmla="*/ 6806442 h 10808782"/>
              <a:gd name="connsiteX947" fmla="*/ 9180177 w 25004707"/>
              <a:gd name="connsiteY947" fmla="*/ 6890626 h 10808782"/>
              <a:gd name="connsiteX948" fmla="*/ 7736885 w 25004707"/>
              <a:gd name="connsiteY948" fmla="*/ 9229521 h 10808782"/>
              <a:gd name="connsiteX949" fmla="*/ 7705010 w 25004707"/>
              <a:gd name="connsiteY949" fmla="*/ 9714426 h 10808782"/>
              <a:gd name="connsiteX950" fmla="*/ 7736885 w 25004707"/>
              <a:gd name="connsiteY950" fmla="*/ 9229521 h 10808782"/>
              <a:gd name="connsiteX951" fmla="*/ 9021040 w 25004707"/>
              <a:gd name="connsiteY951" fmla="*/ 9313690 h 10808782"/>
              <a:gd name="connsiteX952" fmla="*/ 7736885 w 25004707"/>
              <a:gd name="connsiteY952" fmla="*/ 9229521 h 10808782"/>
              <a:gd name="connsiteX953" fmla="*/ 7800540 w 25004707"/>
              <a:gd name="connsiteY953" fmla="*/ 8260199 h 10808782"/>
              <a:gd name="connsiteX954" fmla="*/ 8087049 w 25004707"/>
              <a:gd name="connsiteY954" fmla="*/ 3897987 h 10808782"/>
              <a:gd name="connsiteX955" fmla="*/ 8055206 w 25004707"/>
              <a:gd name="connsiteY955" fmla="*/ 4382892 h 10808782"/>
              <a:gd name="connsiteX956" fmla="*/ 8055206 w 25004707"/>
              <a:gd name="connsiteY956" fmla="*/ 4382892 h 10808782"/>
              <a:gd name="connsiteX957" fmla="*/ 6771019 w 25004707"/>
              <a:gd name="connsiteY957" fmla="*/ 4298708 h 10808782"/>
              <a:gd name="connsiteX958" fmla="*/ 8055206 w 25004707"/>
              <a:gd name="connsiteY958" fmla="*/ 4382892 h 10808782"/>
              <a:gd name="connsiteX959" fmla="*/ 9339392 w 25004707"/>
              <a:gd name="connsiteY959" fmla="*/ 4467060 h 10808782"/>
              <a:gd name="connsiteX960" fmla="*/ 7959724 w 25004707"/>
              <a:gd name="connsiteY960" fmla="*/ 5836648 h 10808782"/>
              <a:gd name="connsiteX961" fmla="*/ 7991535 w 25004707"/>
              <a:gd name="connsiteY961" fmla="*/ 5352214 h 10808782"/>
              <a:gd name="connsiteX962" fmla="*/ 9275706 w 25004707"/>
              <a:gd name="connsiteY962" fmla="*/ 5436398 h 10808782"/>
              <a:gd name="connsiteX963" fmla="*/ 7959724 w 25004707"/>
              <a:gd name="connsiteY963" fmla="*/ 5836648 h 10808782"/>
              <a:gd name="connsiteX964" fmla="*/ 9243879 w 25004707"/>
              <a:gd name="connsiteY964" fmla="*/ 5920832 h 10808782"/>
              <a:gd name="connsiteX965" fmla="*/ 7705010 w 25004707"/>
              <a:gd name="connsiteY965" fmla="*/ 9714426 h 10808782"/>
              <a:gd name="connsiteX966" fmla="*/ 6420839 w 25004707"/>
              <a:gd name="connsiteY966" fmla="*/ 9630242 h 10808782"/>
              <a:gd name="connsiteX967" fmla="*/ 7705010 w 25004707"/>
              <a:gd name="connsiteY967" fmla="*/ 9714426 h 10808782"/>
              <a:gd name="connsiteX968" fmla="*/ 8989196 w 25004707"/>
              <a:gd name="connsiteY968" fmla="*/ 9798594 h 10808782"/>
              <a:gd name="connsiteX969" fmla="*/ 9021040 w 25004707"/>
              <a:gd name="connsiteY969" fmla="*/ 9313690 h 10808782"/>
              <a:gd name="connsiteX970" fmla="*/ 8246217 w 25004707"/>
              <a:gd name="connsiteY970" fmla="*/ 1474414 h 10808782"/>
              <a:gd name="connsiteX971" fmla="*/ 8278029 w 25004707"/>
              <a:gd name="connsiteY971" fmla="*/ 989981 h 10808782"/>
              <a:gd name="connsiteX972" fmla="*/ 9562184 w 25004707"/>
              <a:gd name="connsiteY972" fmla="*/ 1074155 h 10808782"/>
              <a:gd name="connsiteX973" fmla="*/ 7800540 w 25004707"/>
              <a:gd name="connsiteY973" fmla="*/ 8260199 h 10808782"/>
              <a:gd name="connsiteX974" fmla="*/ 9084726 w 25004707"/>
              <a:gd name="connsiteY974" fmla="*/ 8344382 h 10808782"/>
              <a:gd name="connsiteX975" fmla="*/ 8182500 w 25004707"/>
              <a:gd name="connsiteY975" fmla="*/ 2444199 h 10808782"/>
              <a:gd name="connsiteX976" fmla="*/ 8214343 w 25004707"/>
              <a:gd name="connsiteY976" fmla="*/ 1959294 h 10808782"/>
              <a:gd name="connsiteX977" fmla="*/ 9498529 w 25004707"/>
              <a:gd name="connsiteY977" fmla="*/ 2043493 h 10808782"/>
              <a:gd name="connsiteX978" fmla="*/ 8182500 w 25004707"/>
              <a:gd name="connsiteY978" fmla="*/ 2444199 h 10808782"/>
              <a:gd name="connsiteX979" fmla="*/ 8150688 w 25004707"/>
              <a:gd name="connsiteY979" fmla="*/ 2928648 h 10808782"/>
              <a:gd name="connsiteX980" fmla="*/ 8182500 w 25004707"/>
              <a:gd name="connsiteY980" fmla="*/ 2444199 h 10808782"/>
              <a:gd name="connsiteX981" fmla="*/ 9466686 w 25004707"/>
              <a:gd name="connsiteY981" fmla="*/ 2528399 h 10808782"/>
              <a:gd name="connsiteX982" fmla="*/ 8182500 w 25004707"/>
              <a:gd name="connsiteY982" fmla="*/ 2444199 h 10808782"/>
              <a:gd name="connsiteX983" fmla="*/ 6898329 w 25004707"/>
              <a:gd name="connsiteY983" fmla="*/ 2360015 h 10808782"/>
              <a:gd name="connsiteX984" fmla="*/ 8150688 w 25004707"/>
              <a:gd name="connsiteY984" fmla="*/ 2928648 h 10808782"/>
              <a:gd name="connsiteX985" fmla="*/ 9434859 w 25004707"/>
              <a:gd name="connsiteY985" fmla="*/ 3012832 h 10808782"/>
              <a:gd name="connsiteX986" fmla="*/ 9275706 w 25004707"/>
              <a:gd name="connsiteY986" fmla="*/ 5436398 h 10808782"/>
              <a:gd name="connsiteX987" fmla="*/ 9243879 w 25004707"/>
              <a:gd name="connsiteY987" fmla="*/ 5920832 h 10808782"/>
              <a:gd name="connsiteX988" fmla="*/ 9243879 w 25004707"/>
              <a:gd name="connsiteY988" fmla="*/ 5920832 h 10808782"/>
              <a:gd name="connsiteX989" fmla="*/ 9212035 w 25004707"/>
              <a:gd name="connsiteY989" fmla="*/ 6405721 h 10808782"/>
              <a:gd name="connsiteX990" fmla="*/ 9212035 w 25004707"/>
              <a:gd name="connsiteY990" fmla="*/ 6405721 h 10808782"/>
              <a:gd name="connsiteX991" fmla="*/ 9180177 w 25004707"/>
              <a:gd name="connsiteY991" fmla="*/ 6890626 h 10808782"/>
              <a:gd name="connsiteX992" fmla="*/ 9212035 w 25004707"/>
              <a:gd name="connsiteY992" fmla="*/ 6405721 h 10808782"/>
              <a:gd name="connsiteX993" fmla="*/ 7927865 w 25004707"/>
              <a:gd name="connsiteY993" fmla="*/ 6321538 h 10808782"/>
              <a:gd name="connsiteX994" fmla="*/ 9371235 w 25004707"/>
              <a:gd name="connsiteY994" fmla="*/ 3982171 h 10808782"/>
              <a:gd name="connsiteX995" fmla="*/ 9339392 w 25004707"/>
              <a:gd name="connsiteY995" fmla="*/ 4467060 h 10808782"/>
              <a:gd name="connsiteX996" fmla="*/ 9562184 w 25004707"/>
              <a:gd name="connsiteY996" fmla="*/ 1074155 h 10808782"/>
              <a:gd name="connsiteX997" fmla="*/ 9530372 w 25004707"/>
              <a:gd name="connsiteY997" fmla="*/ 1558589 h 10808782"/>
              <a:gd name="connsiteX998" fmla="*/ 9562184 w 25004707"/>
              <a:gd name="connsiteY998" fmla="*/ 1074155 h 10808782"/>
              <a:gd name="connsiteX999" fmla="*/ 9594027 w 25004707"/>
              <a:gd name="connsiteY999" fmla="*/ 589247 h 10808782"/>
              <a:gd name="connsiteX1000" fmla="*/ 9530372 w 25004707"/>
              <a:gd name="connsiteY1000" fmla="*/ 1558589 h 10808782"/>
              <a:gd name="connsiteX1001" fmla="*/ 9498529 w 25004707"/>
              <a:gd name="connsiteY1001" fmla="*/ 2043493 h 10808782"/>
              <a:gd name="connsiteX1002" fmla="*/ 9530372 w 25004707"/>
              <a:gd name="connsiteY1002" fmla="*/ 1558589 h 10808782"/>
              <a:gd name="connsiteX1003" fmla="*/ 8246186 w 25004707"/>
              <a:gd name="connsiteY1003" fmla="*/ 1474408 h 10808782"/>
              <a:gd name="connsiteX1004" fmla="*/ 9116522 w 25004707"/>
              <a:gd name="connsiteY1004" fmla="*/ 7859965 h 10808782"/>
              <a:gd name="connsiteX1005" fmla="*/ 9084726 w 25004707"/>
              <a:gd name="connsiteY1005" fmla="*/ 8344382 h 10808782"/>
              <a:gd name="connsiteX1006" fmla="*/ 9403063 w 25004707"/>
              <a:gd name="connsiteY1006" fmla="*/ 3497721 h 10808782"/>
              <a:gd name="connsiteX1007" fmla="*/ 9371251 w 25004707"/>
              <a:gd name="connsiteY1007" fmla="*/ 3982155 h 10808782"/>
              <a:gd name="connsiteX1008" fmla="*/ 9403063 w 25004707"/>
              <a:gd name="connsiteY1008" fmla="*/ 3497721 h 10808782"/>
              <a:gd name="connsiteX1009" fmla="*/ 9434921 w 25004707"/>
              <a:gd name="connsiteY1009" fmla="*/ 3012801 h 10808782"/>
              <a:gd name="connsiteX1010" fmla="*/ 9371251 w 25004707"/>
              <a:gd name="connsiteY1010" fmla="*/ 3982155 h 10808782"/>
              <a:gd name="connsiteX1011" fmla="*/ 8087081 w 25004707"/>
              <a:gd name="connsiteY1011" fmla="*/ 3897971 h 10808782"/>
              <a:gd name="connsiteX1012" fmla="*/ 9498529 w 25004707"/>
              <a:gd name="connsiteY1012" fmla="*/ 2043493 h 10808782"/>
              <a:gd name="connsiteX1013" fmla="*/ 9466686 w 25004707"/>
              <a:gd name="connsiteY1013" fmla="*/ 2528399 h 10808782"/>
              <a:gd name="connsiteX1014" fmla="*/ 9466686 w 25004707"/>
              <a:gd name="connsiteY1014" fmla="*/ 2528399 h 10808782"/>
              <a:gd name="connsiteX1015" fmla="*/ 9434859 w 25004707"/>
              <a:gd name="connsiteY1015" fmla="*/ 3012832 h 10808782"/>
              <a:gd name="connsiteX1016" fmla="*/ 9021040 w 25004707"/>
              <a:gd name="connsiteY1016" fmla="*/ 9313690 h 10808782"/>
              <a:gd name="connsiteX1017" fmla="*/ 9052851 w 25004707"/>
              <a:gd name="connsiteY1017" fmla="*/ 8829272 h 10808782"/>
              <a:gd name="connsiteX1018" fmla="*/ 9084726 w 25004707"/>
              <a:gd name="connsiteY1018" fmla="*/ 8344382 h 10808782"/>
              <a:gd name="connsiteX1019" fmla="*/ 9052883 w 25004707"/>
              <a:gd name="connsiteY1019" fmla="*/ 8829287 h 10808782"/>
              <a:gd name="connsiteX1020" fmla="*/ 9052883 w 25004707"/>
              <a:gd name="connsiteY1020" fmla="*/ 8829287 h 10808782"/>
              <a:gd name="connsiteX1021" fmla="*/ 6484525 w 25004707"/>
              <a:gd name="connsiteY1021" fmla="*/ 8660920 h 10808782"/>
              <a:gd name="connsiteX1022" fmla="*/ 11589397 w 25004707"/>
              <a:gd name="connsiteY1022" fmla="*/ 9482057 h 10808782"/>
              <a:gd name="connsiteX1023" fmla="*/ 11621209 w 25004707"/>
              <a:gd name="connsiteY1023" fmla="*/ 8997623 h 10808782"/>
              <a:gd name="connsiteX1024" fmla="*/ 11589397 w 25004707"/>
              <a:gd name="connsiteY1024" fmla="*/ 9482057 h 10808782"/>
              <a:gd name="connsiteX1025" fmla="*/ 11557539 w 25004707"/>
              <a:gd name="connsiteY1025" fmla="*/ 9966962 h 10808782"/>
              <a:gd name="connsiteX1026" fmla="*/ 10273352 w 25004707"/>
              <a:gd name="connsiteY1026" fmla="*/ 9882778 h 10808782"/>
              <a:gd name="connsiteX1027" fmla="*/ 11589397 w 25004707"/>
              <a:gd name="connsiteY1027" fmla="*/ 9482057 h 10808782"/>
              <a:gd name="connsiteX1028" fmla="*/ 12873584 w 25004707"/>
              <a:gd name="connsiteY1028" fmla="*/ 9566240 h 10808782"/>
              <a:gd name="connsiteX1029" fmla="*/ 11589397 w 25004707"/>
              <a:gd name="connsiteY1029" fmla="*/ 9482057 h 10808782"/>
              <a:gd name="connsiteX1030" fmla="*/ 10305227 w 25004707"/>
              <a:gd name="connsiteY1030" fmla="*/ 9397873 h 10808782"/>
              <a:gd name="connsiteX1031" fmla="*/ 11621209 w 25004707"/>
              <a:gd name="connsiteY1031" fmla="*/ 8997623 h 10808782"/>
              <a:gd name="connsiteX1032" fmla="*/ 11653068 w 25004707"/>
              <a:gd name="connsiteY1032" fmla="*/ 8512733 h 10808782"/>
              <a:gd name="connsiteX1033" fmla="*/ 11621209 w 25004707"/>
              <a:gd name="connsiteY1033" fmla="*/ 8997623 h 10808782"/>
              <a:gd name="connsiteX1034" fmla="*/ 10337038 w 25004707"/>
              <a:gd name="connsiteY1034" fmla="*/ 8913455 h 10808782"/>
              <a:gd name="connsiteX1035" fmla="*/ 12098730 w 25004707"/>
              <a:gd name="connsiteY1035" fmla="*/ 1726956 h 10808782"/>
              <a:gd name="connsiteX1036" fmla="*/ 12066887 w 25004707"/>
              <a:gd name="connsiteY1036" fmla="*/ 2211845 h 10808782"/>
              <a:gd name="connsiteX1037" fmla="*/ 12098730 w 25004707"/>
              <a:gd name="connsiteY1037" fmla="*/ 1726956 h 10808782"/>
              <a:gd name="connsiteX1038" fmla="*/ 12130541 w 25004707"/>
              <a:gd name="connsiteY1038" fmla="*/ 1242500 h 10808782"/>
              <a:gd name="connsiteX1039" fmla="*/ 12098730 w 25004707"/>
              <a:gd name="connsiteY1039" fmla="*/ 1726956 h 10808782"/>
              <a:gd name="connsiteX1040" fmla="*/ 13382917 w 25004707"/>
              <a:gd name="connsiteY1040" fmla="*/ 1811140 h 10808782"/>
              <a:gd name="connsiteX1041" fmla="*/ 12066887 w 25004707"/>
              <a:gd name="connsiteY1041" fmla="*/ 2211845 h 10808782"/>
              <a:gd name="connsiteX1042" fmla="*/ 12035043 w 25004707"/>
              <a:gd name="connsiteY1042" fmla="*/ 2696735 h 10808782"/>
              <a:gd name="connsiteX1043" fmla="*/ 12066887 w 25004707"/>
              <a:gd name="connsiteY1043" fmla="*/ 2211845 h 10808782"/>
              <a:gd name="connsiteX1044" fmla="*/ 13351074 w 25004707"/>
              <a:gd name="connsiteY1044" fmla="*/ 2296029 h 10808782"/>
              <a:gd name="connsiteX1045" fmla="*/ 13382917 w 25004707"/>
              <a:gd name="connsiteY1045" fmla="*/ 1811140 h 10808782"/>
              <a:gd name="connsiteX1046" fmla="*/ 11684864 w 25004707"/>
              <a:gd name="connsiteY1046" fmla="*/ 8028316 h 10808782"/>
              <a:gd name="connsiteX1047" fmla="*/ 11700769 w 25004707"/>
              <a:gd name="connsiteY1047" fmla="*/ 7786092 h 10808782"/>
              <a:gd name="connsiteX1048" fmla="*/ 11645721 w 25004707"/>
              <a:gd name="connsiteY1048" fmla="*/ 7561345 h 10808782"/>
              <a:gd name="connsiteX1049" fmla="*/ 11684864 w 25004707"/>
              <a:gd name="connsiteY1049" fmla="*/ 8028316 h 10808782"/>
              <a:gd name="connsiteX1050" fmla="*/ 11653068 w 25004707"/>
              <a:gd name="connsiteY1050" fmla="*/ 8512733 h 10808782"/>
              <a:gd name="connsiteX1051" fmla="*/ 12162401 w 25004707"/>
              <a:gd name="connsiteY1051" fmla="*/ 757600 h 10808782"/>
              <a:gd name="connsiteX1052" fmla="*/ 12130541 w 25004707"/>
              <a:gd name="connsiteY1052" fmla="*/ 1242500 h 10808782"/>
              <a:gd name="connsiteX1053" fmla="*/ 12130541 w 25004707"/>
              <a:gd name="connsiteY1053" fmla="*/ 1242500 h 10808782"/>
              <a:gd name="connsiteX1054" fmla="*/ 13414713 w 25004707"/>
              <a:gd name="connsiteY1054" fmla="*/ 1326681 h 10808782"/>
              <a:gd name="connsiteX1055" fmla="*/ 11971389 w 25004707"/>
              <a:gd name="connsiteY1055" fmla="*/ 3666073 h 10808782"/>
              <a:gd name="connsiteX1056" fmla="*/ 11939593 w 25004707"/>
              <a:gd name="connsiteY1056" fmla="*/ 4150506 h 10808782"/>
              <a:gd name="connsiteX1057" fmla="*/ 11971389 w 25004707"/>
              <a:gd name="connsiteY1057" fmla="*/ 3666073 h 10808782"/>
              <a:gd name="connsiteX1058" fmla="*/ 10687203 w 25004707"/>
              <a:gd name="connsiteY1058" fmla="*/ 3581889 h 10808782"/>
              <a:gd name="connsiteX1059" fmla="*/ 11971389 w 25004707"/>
              <a:gd name="connsiteY1059" fmla="*/ 3666073 h 10808782"/>
              <a:gd name="connsiteX1060" fmla="*/ 12035043 w 25004707"/>
              <a:gd name="connsiteY1060" fmla="*/ 2696750 h 10808782"/>
              <a:gd name="connsiteX1061" fmla="*/ 11939562 w 25004707"/>
              <a:gd name="connsiteY1061" fmla="*/ 4150506 h 10808782"/>
              <a:gd name="connsiteX1062" fmla="*/ 11923656 w 25004707"/>
              <a:gd name="connsiteY1062" fmla="*/ 4392731 h 10808782"/>
              <a:gd name="connsiteX1063" fmla="*/ 11839674 w 25004707"/>
              <a:gd name="connsiteY1063" fmla="*/ 4608362 h 10808782"/>
              <a:gd name="connsiteX1064" fmla="*/ 11939593 w 25004707"/>
              <a:gd name="connsiteY1064" fmla="*/ 4150506 h 10808782"/>
              <a:gd name="connsiteX1065" fmla="*/ 12272294 w 25004707"/>
              <a:gd name="connsiteY1065" fmla="*/ 4172322 h 10808782"/>
              <a:gd name="connsiteX1066" fmla="*/ 13140632 w 25004707"/>
              <a:gd name="connsiteY1066" fmla="*/ 4177462 h 10808782"/>
              <a:gd name="connsiteX1067" fmla="*/ 11123456 w 25004707"/>
              <a:gd name="connsiteY1067" fmla="*/ 6044043 h 10808782"/>
              <a:gd name="connsiteX1068" fmla="*/ 11191500 w 25004707"/>
              <a:gd name="connsiteY1068" fmla="*/ 6598074 h 10808782"/>
              <a:gd name="connsiteX1069" fmla="*/ 10491927 w 25004707"/>
              <a:gd name="connsiteY1069" fmla="*/ 6490078 h 10808782"/>
              <a:gd name="connsiteX1070" fmla="*/ 11123456 w 25004707"/>
              <a:gd name="connsiteY1070" fmla="*/ 6044043 h 10808782"/>
              <a:gd name="connsiteX1071" fmla="*/ 11503937 w 25004707"/>
              <a:gd name="connsiteY1071" fmla="*/ 6068971 h 10808782"/>
              <a:gd name="connsiteX1072" fmla="*/ 11646287 w 25004707"/>
              <a:gd name="connsiteY1072" fmla="*/ 7561361 h 10808782"/>
              <a:gd name="connsiteX1073" fmla="*/ 11412797 w 25004707"/>
              <a:gd name="connsiteY1073" fmla="*/ 7108001 h 10808782"/>
              <a:gd name="connsiteX1074" fmla="*/ 11130048 w 25004707"/>
              <a:gd name="connsiteY1074" fmla="*/ 7039111 h 10808782"/>
              <a:gd name="connsiteX1075" fmla="*/ 10846071 w 25004707"/>
              <a:gd name="connsiteY1075" fmla="*/ 7005444 h 10808782"/>
              <a:gd name="connsiteX1076" fmla="*/ 10464379 w 25004707"/>
              <a:gd name="connsiteY1076" fmla="*/ 6974779 h 10808782"/>
              <a:gd name="connsiteX1077" fmla="*/ 11191531 w 25004707"/>
              <a:gd name="connsiteY1077" fmla="*/ 6598058 h 10808782"/>
              <a:gd name="connsiteX1078" fmla="*/ 11412813 w 25004707"/>
              <a:gd name="connsiteY1078" fmla="*/ 7107545 h 10808782"/>
              <a:gd name="connsiteX1079" fmla="*/ 12088126 w 25004707"/>
              <a:gd name="connsiteY1079" fmla="*/ 7357425 h 10808782"/>
              <a:gd name="connsiteX1080" fmla="*/ 12035043 w 25004707"/>
              <a:gd name="connsiteY1080" fmla="*/ 2696735 h 10808782"/>
              <a:gd name="connsiteX1081" fmla="*/ 13319230 w 25004707"/>
              <a:gd name="connsiteY1081" fmla="*/ 2780918 h 10808782"/>
              <a:gd name="connsiteX1082" fmla="*/ 11840162 w 25004707"/>
              <a:gd name="connsiteY1082" fmla="*/ 4608393 h 10808782"/>
              <a:gd name="connsiteX1083" fmla="*/ 11549389 w 25004707"/>
              <a:gd name="connsiteY1083" fmla="*/ 5027378 h 10808782"/>
              <a:gd name="connsiteX1084" fmla="*/ 11263368 w 25004707"/>
              <a:gd name="connsiteY1084" fmla="*/ 5504110 h 10808782"/>
              <a:gd name="connsiteX1085" fmla="*/ 11123440 w 25004707"/>
              <a:gd name="connsiteY1085" fmla="*/ 6044498 h 10808782"/>
              <a:gd name="connsiteX1086" fmla="*/ 11549436 w 25004707"/>
              <a:gd name="connsiteY1086" fmla="*/ 5027394 h 10808782"/>
              <a:gd name="connsiteX1087" fmla="*/ 11263415 w 25004707"/>
              <a:gd name="connsiteY1087" fmla="*/ 5503623 h 10808782"/>
              <a:gd name="connsiteX1088" fmla="*/ 11752593 w 25004707"/>
              <a:gd name="connsiteY1088" fmla="*/ 5391241 h 10808782"/>
              <a:gd name="connsiteX1089" fmla="*/ 12251684 w 25004707"/>
              <a:gd name="connsiteY1089" fmla="*/ 4867812 h 10808782"/>
              <a:gd name="connsiteX1090" fmla="*/ 13275399 w 25004707"/>
              <a:gd name="connsiteY1090" fmla="*/ 4617321 h 10808782"/>
              <a:gd name="connsiteX1091" fmla="*/ 13140664 w 25004707"/>
              <a:gd name="connsiteY1091" fmla="*/ 4177494 h 10808782"/>
              <a:gd name="connsiteX1092" fmla="*/ 12761818 w 25004707"/>
              <a:gd name="connsiteY1092" fmla="*/ 4492837 h 10808782"/>
              <a:gd name="connsiteX1093" fmla="*/ 11661721 w 25004707"/>
              <a:gd name="connsiteY1093" fmla="*/ 6773813 h 10808782"/>
              <a:gd name="connsiteX1094" fmla="*/ 11503858 w 25004707"/>
              <a:gd name="connsiteY1094" fmla="*/ 6069442 h 10808782"/>
              <a:gd name="connsiteX1095" fmla="*/ 12905427 w 25004707"/>
              <a:gd name="connsiteY1095" fmla="*/ 9081823 h 10808782"/>
              <a:gd name="connsiteX1096" fmla="*/ 12937271 w 25004707"/>
              <a:gd name="connsiteY1096" fmla="*/ 8596917 h 10808782"/>
              <a:gd name="connsiteX1097" fmla="*/ 12905427 w 25004707"/>
              <a:gd name="connsiteY1097" fmla="*/ 9081823 h 10808782"/>
              <a:gd name="connsiteX1098" fmla="*/ 14190133 w 25004707"/>
              <a:gd name="connsiteY1098" fmla="*/ 9166037 h 10808782"/>
              <a:gd name="connsiteX1099" fmla="*/ 12905427 w 25004707"/>
              <a:gd name="connsiteY1099" fmla="*/ 9081823 h 10808782"/>
              <a:gd name="connsiteX1100" fmla="*/ 11621240 w 25004707"/>
              <a:gd name="connsiteY1100" fmla="*/ 8997639 h 10808782"/>
              <a:gd name="connsiteX1101" fmla="*/ 12251620 w 25004707"/>
              <a:gd name="connsiteY1101" fmla="*/ 4868269 h 10808782"/>
              <a:gd name="connsiteX1102" fmla="*/ 12762275 w 25004707"/>
              <a:gd name="connsiteY1102" fmla="*/ 4493340 h 10808782"/>
              <a:gd name="connsiteX1103" fmla="*/ 11503937 w 25004707"/>
              <a:gd name="connsiteY1103" fmla="*/ 6068971 h 10808782"/>
              <a:gd name="connsiteX1104" fmla="*/ 11752562 w 25004707"/>
              <a:gd name="connsiteY1104" fmla="*/ 5391257 h 10808782"/>
              <a:gd name="connsiteX1105" fmla="*/ 11503937 w 25004707"/>
              <a:gd name="connsiteY1105" fmla="*/ 6068971 h 10808782"/>
              <a:gd name="connsiteX1106" fmla="*/ 11995302 w 25004707"/>
              <a:gd name="connsiteY1106" fmla="*/ 6101176 h 10808782"/>
              <a:gd name="connsiteX1107" fmla="*/ 13319215 w 25004707"/>
              <a:gd name="connsiteY1107" fmla="*/ 2780934 h 10808782"/>
              <a:gd name="connsiteX1108" fmla="*/ 13287403 w 25004707"/>
              <a:gd name="connsiteY1108" fmla="*/ 3265368 h 10808782"/>
              <a:gd name="connsiteX1109" fmla="*/ 10719045 w 25004707"/>
              <a:gd name="connsiteY1109" fmla="*/ 3097000 h 10808782"/>
              <a:gd name="connsiteX1110" fmla="*/ 12879185 w 25004707"/>
              <a:gd name="connsiteY1110" fmla="*/ 8157877 h 10808782"/>
              <a:gd name="connsiteX1111" fmla="*/ 12953113 w 25004707"/>
              <a:gd name="connsiteY1111" fmla="*/ 8354693 h 10808782"/>
              <a:gd name="connsiteX1112" fmla="*/ 12937192 w 25004707"/>
              <a:gd name="connsiteY1112" fmla="*/ 8596917 h 10808782"/>
              <a:gd name="connsiteX1113" fmla="*/ 11653021 w 25004707"/>
              <a:gd name="connsiteY1113" fmla="*/ 8512733 h 10808782"/>
              <a:gd name="connsiteX1114" fmla="*/ 13351074 w 25004707"/>
              <a:gd name="connsiteY1114" fmla="*/ 2296013 h 10808782"/>
              <a:gd name="connsiteX1115" fmla="*/ 13319230 w 25004707"/>
              <a:gd name="connsiteY1115" fmla="*/ 2780918 h 10808782"/>
              <a:gd name="connsiteX1116" fmla="*/ 13319230 w 25004707"/>
              <a:gd name="connsiteY1116" fmla="*/ 2780918 h 10808782"/>
              <a:gd name="connsiteX1117" fmla="*/ 14603952 w 25004707"/>
              <a:gd name="connsiteY1117" fmla="*/ 2865118 h 10808782"/>
              <a:gd name="connsiteX1118" fmla="*/ 14635795 w 25004707"/>
              <a:gd name="connsiteY1118" fmla="*/ 2380244 h 10808782"/>
              <a:gd name="connsiteX1119" fmla="*/ 13382917 w 25004707"/>
              <a:gd name="connsiteY1119" fmla="*/ 1811140 h 10808782"/>
              <a:gd name="connsiteX1120" fmla="*/ 13414713 w 25004707"/>
              <a:gd name="connsiteY1120" fmla="*/ 1326681 h 10808782"/>
              <a:gd name="connsiteX1121" fmla="*/ 13382917 w 25004707"/>
              <a:gd name="connsiteY1121" fmla="*/ 1811140 h 10808782"/>
              <a:gd name="connsiteX1122" fmla="*/ 14667607 w 25004707"/>
              <a:gd name="connsiteY1122" fmla="*/ 1895339 h 10808782"/>
              <a:gd name="connsiteX1123" fmla="*/ 13287451 w 25004707"/>
              <a:gd name="connsiteY1123" fmla="*/ 3265336 h 10808782"/>
              <a:gd name="connsiteX1124" fmla="*/ 13255607 w 25004707"/>
              <a:gd name="connsiteY1124" fmla="*/ 3750241 h 10808782"/>
              <a:gd name="connsiteX1125" fmla="*/ 11971436 w 25004707"/>
              <a:gd name="connsiteY1125" fmla="*/ 3666057 h 10808782"/>
              <a:gd name="connsiteX1126" fmla="*/ 13140585 w 25004707"/>
              <a:gd name="connsiteY1126" fmla="*/ 4177934 h 10808782"/>
              <a:gd name="connsiteX1127" fmla="*/ 13239622 w 25004707"/>
              <a:gd name="connsiteY1127" fmla="*/ 3992450 h 10808782"/>
              <a:gd name="connsiteX1128" fmla="*/ 13255529 w 25004707"/>
              <a:gd name="connsiteY1128" fmla="*/ 3750241 h 10808782"/>
              <a:gd name="connsiteX1129" fmla="*/ 14206023 w 25004707"/>
              <a:gd name="connsiteY1129" fmla="*/ 3811147 h 10808782"/>
              <a:gd name="connsiteX1130" fmla="*/ 14533910 w 25004707"/>
              <a:gd name="connsiteY1130" fmla="*/ 3825576 h 10808782"/>
              <a:gd name="connsiteX1131" fmla="*/ 14311810 w 25004707"/>
              <a:gd name="connsiteY1131" fmla="*/ 4099440 h 10808782"/>
              <a:gd name="connsiteX1132" fmla="*/ 12544864 w 25004707"/>
              <a:gd name="connsiteY1132" fmla="*/ 7795774 h 10808782"/>
              <a:gd name="connsiteX1133" fmla="*/ 12879217 w 25004707"/>
              <a:gd name="connsiteY1133" fmla="*/ 8157877 h 10808782"/>
              <a:gd name="connsiteX1134" fmla="*/ 14029580 w 25004707"/>
              <a:gd name="connsiteY1134" fmla="*/ 8388549 h 10808782"/>
              <a:gd name="connsiteX1135" fmla="*/ 12545383 w 25004707"/>
              <a:gd name="connsiteY1135" fmla="*/ 7795805 h 10808782"/>
              <a:gd name="connsiteX1136" fmla="*/ 12088126 w 25004707"/>
              <a:gd name="connsiteY1136" fmla="*/ 7357425 h 10808782"/>
              <a:gd name="connsiteX1137" fmla="*/ 12088126 w 25004707"/>
              <a:gd name="connsiteY1137" fmla="*/ 7357425 h 10808782"/>
              <a:gd name="connsiteX1138" fmla="*/ 11661799 w 25004707"/>
              <a:gd name="connsiteY1138" fmla="*/ 6773325 h 10808782"/>
              <a:gd name="connsiteX1139" fmla="*/ 12088126 w 25004707"/>
              <a:gd name="connsiteY1139" fmla="*/ 7357425 h 10808782"/>
              <a:gd name="connsiteX1140" fmla="*/ 13070307 w 25004707"/>
              <a:gd name="connsiteY1140" fmla="*/ 7739410 h 10808782"/>
              <a:gd name="connsiteX1141" fmla="*/ 12873584 w 25004707"/>
              <a:gd name="connsiteY1141" fmla="*/ 9566240 h 10808782"/>
              <a:gd name="connsiteX1142" fmla="*/ 12905396 w 25004707"/>
              <a:gd name="connsiteY1142" fmla="*/ 9081806 h 10808782"/>
              <a:gd name="connsiteX1143" fmla="*/ 12873584 w 25004707"/>
              <a:gd name="connsiteY1143" fmla="*/ 9566240 h 10808782"/>
              <a:gd name="connsiteX1144" fmla="*/ 14158290 w 25004707"/>
              <a:gd name="connsiteY1144" fmla="*/ 9650455 h 10808782"/>
              <a:gd name="connsiteX1145" fmla="*/ 12873631 w 25004707"/>
              <a:gd name="connsiteY1145" fmla="*/ 9566240 h 10808782"/>
              <a:gd name="connsiteX1146" fmla="*/ 12841773 w 25004707"/>
              <a:gd name="connsiteY1146" fmla="*/ 10051145 h 10808782"/>
              <a:gd name="connsiteX1147" fmla="*/ 11557601 w 25004707"/>
              <a:gd name="connsiteY1147" fmla="*/ 9966962 h 10808782"/>
              <a:gd name="connsiteX1148" fmla="*/ 13446556 w 25004707"/>
              <a:gd name="connsiteY1148" fmla="*/ 841781 h 10808782"/>
              <a:gd name="connsiteX1149" fmla="*/ 13414713 w 25004707"/>
              <a:gd name="connsiteY1149" fmla="*/ 1326681 h 10808782"/>
              <a:gd name="connsiteX1150" fmla="*/ 14190133 w 25004707"/>
              <a:gd name="connsiteY1150" fmla="*/ 9166037 h 10808782"/>
              <a:gd name="connsiteX1151" fmla="*/ 14206039 w 25004707"/>
              <a:gd name="connsiteY1151" fmla="*/ 8923813 h 10808782"/>
              <a:gd name="connsiteX1152" fmla="*/ 14214503 w 25004707"/>
              <a:gd name="connsiteY1152" fmla="*/ 8689589 h 10808782"/>
              <a:gd name="connsiteX1153" fmla="*/ 14190133 w 25004707"/>
              <a:gd name="connsiteY1153" fmla="*/ 9166037 h 10808782"/>
              <a:gd name="connsiteX1154" fmla="*/ 14158290 w 25004707"/>
              <a:gd name="connsiteY1154" fmla="*/ 9650455 h 10808782"/>
              <a:gd name="connsiteX1155" fmla="*/ 14190133 w 25004707"/>
              <a:gd name="connsiteY1155" fmla="*/ 9166037 h 10808782"/>
              <a:gd name="connsiteX1156" fmla="*/ 15474273 w 25004707"/>
              <a:gd name="connsiteY1156" fmla="*/ 9250206 h 10808782"/>
              <a:gd name="connsiteX1157" fmla="*/ 14603889 w 25004707"/>
              <a:gd name="connsiteY1157" fmla="*/ 2865133 h 10808782"/>
              <a:gd name="connsiteX1158" fmla="*/ 14572062 w 25004707"/>
              <a:gd name="connsiteY1158" fmla="*/ 3349567 h 10808782"/>
              <a:gd name="connsiteX1159" fmla="*/ 14572062 w 25004707"/>
              <a:gd name="connsiteY1159" fmla="*/ 3349567 h 10808782"/>
              <a:gd name="connsiteX1160" fmla="*/ 13287355 w 25004707"/>
              <a:gd name="connsiteY1160" fmla="*/ 3265352 h 10808782"/>
              <a:gd name="connsiteX1161" fmla="*/ 14572062 w 25004707"/>
              <a:gd name="connsiteY1161" fmla="*/ 3349567 h 10808782"/>
              <a:gd name="connsiteX1162" fmla="*/ 15856264 w 25004707"/>
              <a:gd name="connsiteY1162" fmla="*/ 3433766 h 10808782"/>
              <a:gd name="connsiteX1163" fmla="*/ 14731277 w 25004707"/>
              <a:gd name="connsiteY1163" fmla="*/ 925990 h 10808782"/>
              <a:gd name="connsiteX1164" fmla="*/ 14699434 w 25004707"/>
              <a:gd name="connsiteY1164" fmla="*/ 1410890 h 10808782"/>
              <a:gd name="connsiteX1165" fmla="*/ 14699434 w 25004707"/>
              <a:gd name="connsiteY1165" fmla="*/ 1410890 h 10808782"/>
              <a:gd name="connsiteX1166" fmla="*/ 14667607 w 25004707"/>
              <a:gd name="connsiteY1166" fmla="*/ 1895339 h 10808782"/>
              <a:gd name="connsiteX1167" fmla="*/ 14699434 w 25004707"/>
              <a:gd name="connsiteY1167" fmla="*/ 1410890 h 10808782"/>
              <a:gd name="connsiteX1168" fmla="*/ 15983542 w 25004707"/>
              <a:gd name="connsiteY1168" fmla="*/ 1495075 h 10808782"/>
              <a:gd name="connsiteX1169" fmla="*/ 14699434 w 25004707"/>
              <a:gd name="connsiteY1169" fmla="*/ 1410890 h 10808782"/>
              <a:gd name="connsiteX1170" fmla="*/ 13414728 w 25004707"/>
              <a:gd name="connsiteY1170" fmla="*/ 1326676 h 10808782"/>
              <a:gd name="connsiteX1171" fmla="*/ 14029580 w 25004707"/>
              <a:gd name="connsiteY1171" fmla="*/ 8388549 h 10808782"/>
              <a:gd name="connsiteX1172" fmla="*/ 13647070 w 25004707"/>
              <a:gd name="connsiteY1172" fmla="*/ 8118803 h 10808782"/>
              <a:gd name="connsiteX1173" fmla="*/ 14029580 w 25004707"/>
              <a:gd name="connsiteY1173" fmla="*/ 8388549 h 10808782"/>
              <a:gd name="connsiteX1174" fmla="*/ 15397386 w 25004707"/>
              <a:gd name="connsiteY1174" fmla="*/ 8603361 h 10808782"/>
              <a:gd name="connsiteX1175" fmla="*/ 14126447 w 25004707"/>
              <a:gd name="connsiteY1175" fmla="*/ 10135345 h 10808782"/>
              <a:gd name="connsiteX1176" fmla="*/ 14158290 w 25004707"/>
              <a:gd name="connsiteY1176" fmla="*/ 9650455 h 10808782"/>
              <a:gd name="connsiteX1177" fmla="*/ 14126447 w 25004707"/>
              <a:gd name="connsiteY1177" fmla="*/ 10135345 h 10808782"/>
              <a:gd name="connsiteX1178" fmla="*/ 15410602 w 25004707"/>
              <a:gd name="connsiteY1178" fmla="*/ 10219528 h 10808782"/>
              <a:gd name="connsiteX1179" fmla="*/ 14126447 w 25004707"/>
              <a:gd name="connsiteY1179" fmla="*/ 10135345 h 10808782"/>
              <a:gd name="connsiteX1180" fmla="*/ 12841741 w 25004707"/>
              <a:gd name="connsiteY1180" fmla="*/ 10051145 h 10808782"/>
              <a:gd name="connsiteX1181" fmla="*/ 14158290 w 25004707"/>
              <a:gd name="connsiteY1181" fmla="*/ 9650455 h 10808782"/>
              <a:gd name="connsiteX1182" fmla="*/ 15442445 w 25004707"/>
              <a:gd name="connsiteY1182" fmla="*/ 9734623 h 10808782"/>
              <a:gd name="connsiteX1183" fmla="*/ 14667607 w 25004707"/>
              <a:gd name="connsiteY1183" fmla="*/ 1895339 h 10808782"/>
              <a:gd name="connsiteX1184" fmla="*/ 15951762 w 25004707"/>
              <a:gd name="connsiteY1184" fmla="*/ 1979523 h 10808782"/>
              <a:gd name="connsiteX1185" fmla="*/ 14667638 w 25004707"/>
              <a:gd name="connsiteY1185" fmla="*/ 1895339 h 10808782"/>
              <a:gd name="connsiteX1186" fmla="*/ 14635795 w 25004707"/>
              <a:gd name="connsiteY1186" fmla="*/ 2380244 h 10808782"/>
              <a:gd name="connsiteX1187" fmla="*/ 14635795 w 25004707"/>
              <a:gd name="connsiteY1187" fmla="*/ 2380244 h 10808782"/>
              <a:gd name="connsiteX1188" fmla="*/ 13351089 w 25004707"/>
              <a:gd name="connsiteY1188" fmla="*/ 2296029 h 10808782"/>
              <a:gd name="connsiteX1189" fmla="*/ 14030052 w 25004707"/>
              <a:gd name="connsiteY1189" fmla="*/ 8388596 h 10808782"/>
              <a:gd name="connsiteX1190" fmla="*/ 14214425 w 25004707"/>
              <a:gd name="connsiteY1190" fmla="*/ 8689101 h 10808782"/>
              <a:gd name="connsiteX1191" fmla="*/ 12937176 w 25004707"/>
              <a:gd name="connsiteY1191" fmla="*/ 8596886 h 10808782"/>
              <a:gd name="connsiteX1192" fmla="*/ 14572109 w 25004707"/>
              <a:gd name="connsiteY1192" fmla="*/ 3349551 h 10808782"/>
              <a:gd name="connsiteX1193" fmla="*/ 14556188 w 25004707"/>
              <a:gd name="connsiteY1193" fmla="*/ 3591776 h 10808782"/>
              <a:gd name="connsiteX1194" fmla="*/ 14533957 w 25004707"/>
              <a:gd name="connsiteY1194" fmla="*/ 3825104 h 10808782"/>
              <a:gd name="connsiteX1195" fmla="*/ 15812999 w 25004707"/>
              <a:gd name="connsiteY1195" fmla="*/ 3865656 h 10808782"/>
              <a:gd name="connsiteX1196" fmla="*/ 15695947 w 25004707"/>
              <a:gd name="connsiteY1196" fmla="*/ 4065002 h 10808782"/>
              <a:gd name="connsiteX1197" fmla="*/ 14311842 w 25004707"/>
              <a:gd name="connsiteY1197" fmla="*/ 4099440 h 10808782"/>
              <a:gd name="connsiteX1198" fmla="*/ 11994799 w 25004707"/>
              <a:gd name="connsiteY1198" fmla="*/ 6101616 h 10808782"/>
              <a:gd name="connsiteX1199" fmla="*/ 12359705 w 25004707"/>
              <a:gd name="connsiteY1199" fmla="*/ 7093871 h 10808782"/>
              <a:gd name="connsiteX1200" fmla="*/ 13070307 w 25004707"/>
              <a:gd name="connsiteY1200" fmla="*/ 7739882 h 10808782"/>
              <a:gd name="connsiteX1201" fmla="*/ 12486354 w 25004707"/>
              <a:gd name="connsiteY1201" fmla="*/ 5165033 h 10808782"/>
              <a:gd name="connsiteX1202" fmla="*/ 13275368 w 25004707"/>
              <a:gd name="connsiteY1202" fmla="*/ 4617305 h 10808782"/>
              <a:gd name="connsiteX1203" fmla="*/ 12486354 w 25004707"/>
              <a:gd name="connsiteY1203" fmla="*/ 5165033 h 10808782"/>
              <a:gd name="connsiteX1204" fmla="*/ 11752027 w 25004707"/>
              <a:gd name="connsiteY1204" fmla="*/ 5391210 h 10808782"/>
              <a:gd name="connsiteX1205" fmla="*/ 13275368 w 25004707"/>
              <a:gd name="connsiteY1205" fmla="*/ 4617305 h 10808782"/>
              <a:gd name="connsiteX1206" fmla="*/ 13897330 w 25004707"/>
              <a:gd name="connsiteY1206" fmla="*/ 4316485 h 10808782"/>
              <a:gd name="connsiteX1207" fmla="*/ 13275368 w 25004707"/>
              <a:gd name="connsiteY1207" fmla="*/ 4617305 h 10808782"/>
              <a:gd name="connsiteX1208" fmla="*/ 15121623 w 25004707"/>
              <a:gd name="connsiteY1208" fmla="*/ 4395796 h 10808782"/>
              <a:gd name="connsiteX1209" fmla="*/ 11995302 w 25004707"/>
              <a:gd name="connsiteY1209" fmla="*/ 6101176 h 10808782"/>
              <a:gd name="connsiteX1210" fmla="*/ 12486872 w 25004707"/>
              <a:gd name="connsiteY1210" fmla="*/ 5165065 h 10808782"/>
              <a:gd name="connsiteX1211" fmla="*/ 11995302 w 25004707"/>
              <a:gd name="connsiteY1211" fmla="*/ 6101176 h 10808782"/>
              <a:gd name="connsiteX1212" fmla="*/ 13443441 w 25004707"/>
              <a:gd name="connsiteY1212" fmla="*/ 6196111 h 10808782"/>
              <a:gd name="connsiteX1213" fmla="*/ 14385691 w 25004707"/>
              <a:gd name="connsiteY1213" fmla="*/ 4808195 h 10808782"/>
              <a:gd name="connsiteX1214" fmla="*/ 15121623 w 25004707"/>
              <a:gd name="connsiteY1214" fmla="*/ 4395796 h 10808782"/>
              <a:gd name="connsiteX1215" fmla="*/ 13897330 w 25004707"/>
              <a:gd name="connsiteY1215" fmla="*/ 4316485 h 10808782"/>
              <a:gd name="connsiteX1216" fmla="*/ 14311857 w 25004707"/>
              <a:gd name="connsiteY1216" fmla="*/ 4098984 h 10808782"/>
              <a:gd name="connsiteX1217" fmla="*/ 13897330 w 25004707"/>
              <a:gd name="connsiteY1217" fmla="*/ 4316485 h 10808782"/>
              <a:gd name="connsiteX1218" fmla="*/ 12762306 w 25004707"/>
              <a:gd name="connsiteY1218" fmla="*/ 4492884 h 10808782"/>
              <a:gd name="connsiteX1219" fmla="*/ 11840209 w 25004707"/>
              <a:gd name="connsiteY1219" fmla="*/ 4608409 h 10808782"/>
              <a:gd name="connsiteX1220" fmla="*/ 13647557 w 25004707"/>
              <a:gd name="connsiteY1220" fmla="*/ 8119305 h 10808782"/>
              <a:gd name="connsiteX1221" fmla="*/ 13070260 w 25004707"/>
              <a:gd name="connsiteY1221" fmla="*/ 7739866 h 10808782"/>
              <a:gd name="connsiteX1222" fmla="*/ 15121623 w 25004707"/>
              <a:gd name="connsiteY1222" fmla="*/ 4395796 h 10808782"/>
              <a:gd name="connsiteX1223" fmla="*/ 15490320 w 25004707"/>
              <a:gd name="connsiteY1223" fmla="*/ 4210579 h 10808782"/>
              <a:gd name="connsiteX1224" fmla="*/ 15121623 w 25004707"/>
              <a:gd name="connsiteY1224" fmla="*/ 4395796 h 10808782"/>
              <a:gd name="connsiteX1225" fmla="*/ 17654676 w 25004707"/>
              <a:gd name="connsiteY1225" fmla="*/ 4542536 h 10808782"/>
              <a:gd name="connsiteX1226" fmla="*/ 15489786 w 25004707"/>
              <a:gd name="connsiteY1226" fmla="*/ 4210564 h 10808782"/>
              <a:gd name="connsiteX1227" fmla="*/ 15695475 w 25004707"/>
              <a:gd name="connsiteY1227" fmla="*/ 4065002 h 10808782"/>
              <a:gd name="connsiteX1228" fmla="*/ 14871157 w 25004707"/>
              <a:gd name="connsiteY1228" fmla="*/ 8200471 h 10808782"/>
              <a:gd name="connsiteX1229" fmla="*/ 15212479 w 25004707"/>
              <a:gd name="connsiteY1229" fmla="*/ 8432228 h 10808782"/>
              <a:gd name="connsiteX1230" fmla="*/ 17080274 w 25004707"/>
              <a:gd name="connsiteY1230" fmla="*/ 8565010 h 10808782"/>
              <a:gd name="connsiteX1231" fmla="*/ 14196065 w 25004707"/>
              <a:gd name="connsiteY1231" fmla="*/ 7695574 h 10808782"/>
              <a:gd name="connsiteX1232" fmla="*/ 13443425 w 25004707"/>
              <a:gd name="connsiteY1232" fmla="*/ 6196566 h 10808782"/>
              <a:gd name="connsiteX1233" fmla="*/ 14196065 w 25004707"/>
              <a:gd name="connsiteY1233" fmla="*/ 7695574 h 10808782"/>
              <a:gd name="connsiteX1234" fmla="*/ 12359657 w 25004707"/>
              <a:gd name="connsiteY1234" fmla="*/ 7093855 h 10808782"/>
              <a:gd name="connsiteX1235" fmla="*/ 14196065 w 25004707"/>
              <a:gd name="connsiteY1235" fmla="*/ 7695574 h 10808782"/>
              <a:gd name="connsiteX1236" fmla="*/ 18066716 w 25004707"/>
              <a:gd name="connsiteY1236" fmla="*/ 7989289 h 10808782"/>
              <a:gd name="connsiteX1237" fmla="*/ 14196048 w 25004707"/>
              <a:gd name="connsiteY1237" fmla="*/ 7695558 h 10808782"/>
              <a:gd name="connsiteX1238" fmla="*/ 14871692 w 25004707"/>
              <a:gd name="connsiteY1238" fmla="*/ 8200488 h 10808782"/>
              <a:gd name="connsiteX1239" fmla="*/ 13070244 w 25004707"/>
              <a:gd name="connsiteY1239" fmla="*/ 7739850 h 10808782"/>
              <a:gd name="connsiteX1240" fmla="*/ 15397921 w 25004707"/>
              <a:gd name="connsiteY1240" fmla="*/ 8603409 h 10808782"/>
              <a:gd name="connsiteX1241" fmla="*/ 15213046 w 25004707"/>
              <a:gd name="connsiteY1241" fmla="*/ 8432244 h 10808782"/>
              <a:gd name="connsiteX1242" fmla="*/ 15397921 w 25004707"/>
              <a:gd name="connsiteY1242" fmla="*/ 8603409 h 10808782"/>
              <a:gd name="connsiteX1243" fmla="*/ 15487834 w 25004707"/>
              <a:gd name="connsiteY1243" fmla="*/ 8816336 h 10808782"/>
              <a:gd name="connsiteX1244" fmla="*/ 14214487 w 25004707"/>
              <a:gd name="connsiteY1244" fmla="*/ 8689086 h 10808782"/>
              <a:gd name="connsiteX1245" fmla="*/ 15397921 w 25004707"/>
              <a:gd name="connsiteY1245" fmla="*/ 8603409 h 10808782"/>
              <a:gd name="connsiteX1246" fmla="*/ 16902492 w 25004707"/>
              <a:gd name="connsiteY1246" fmla="*/ 8707695 h 10808782"/>
              <a:gd name="connsiteX1247" fmla="*/ 15410602 w 25004707"/>
              <a:gd name="connsiteY1247" fmla="*/ 10219528 h 10808782"/>
              <a:gd name="connsiteX1248" fmla="*/ 15442445 w 25004707"/>
              <a:gd name="connsiteY1248" fmla="*/ 9734623 h 10808782"/>
              <a:gd name="connsiteX1249" fmla="*/ 15442445 w 25004707"/>
              <a:gd name="connsiteY1249" fmla="*/ 9734623 h 10808782"/>
              <a:gd name="connsiteX1250" fmla="*/ 15474273 w 25004707"/>
              <a:gd name="connsiteY1250" fmla="*/ 9250206 h 10808782"/>
              <a:gd name="connsiteX1251" fmla="*/ 15474273 w 25004707"/>
              <a:gd name="connsiteY1251" fmla="*/ 9250206 h 10808782"/>
              <a:gd name="connsiteX1252" fmla="*/ 15487866 w 25004707"/>
              <a:gd name="connsiteY1252" fmla="*/ 8816336 h 10808782"/>
              <a:gd name="connsiteX1253" fmla="*/ 15888044 w 25004707"/>
              <a:gd name="connsiteY1253" fmla="*/ 2949333 h 10808782"/>
              <a:gd name="connsiteX1254" fmla="*/ 15856264 w 25004707"/>
              <a:gd name="connsiteY1254" fmla="*/ 3433766 h 10808782"/>
              <a:gd name="connsiteX1255" fmla="*/ 15856264 w 25004707"/>
              <a:gd name="connsiteY1255" fmla="*/ 3433766 h 10808782"/>
              <a:gd name="connsiteX1256" fmla="*/ 15812999 w 25004707"/>
              <a:gd name="connsiteY1256" fmla="*/ 3865671 h 10808782"/>
              <a:gd name="connsiteX1257" fmla="*/ 17124954 w 25004707"/>
              <a:gd name="connsiteY1257" fmla="*/ 3949352 h 10808782"/>
              <a:gd name="connsiteX1258" fmla="*/ 15919982 w 25004707"/>
              <a:gd name="connsiteY1258" fmla="*/ 2464396 h 10808782"/>
              <a:gd name="connsiteX1259" fmla="*/ 15888044 w 25004707"/>
              <a:gd name="connsiteY1259" fmla="*/ 2949301 h 10808782"/>
              <a:gd name="connsiteX1260" fmla="*/ 14603921 w 25004707"/>
              <a:gd name="connsiteY1260" fmla="*/ 2865118 h 10808782"/>
              <a:gd name="connsiteX1261" fmla="*/ 15919982 w 25004707"/>
              <a:gd name="connsiteY1261" fmla="*/ 2464396 h 10808782"/>
              <a:gd name="connsiteX1262" fmla="*/ 15951762 w 25004707"/>
              <a:gd name="connsiteY1262" fmla="*/ 1979523 h 10808782"/>
              <a:gd name="connsiteX1263" fmla="*/ 15919982 w 25004707"/>
              <a:gd name="connsiteY1263" fmla="*/ 2464396 h 10808782"/>
              <a:gd name="connsiteX1264" fmla="*/ 14635747 w 25004707"/>
              <a:gd name="connsiteY1264" fmla="*/ 2380244 h 10808782"/>
              <a:gd name="connsiteX1265" fmla="*/ 16015479 w 25004707"/>
              <a:gd name="connsiteY1265" fmla="*/ 1010175 h 10808782"/>
              <a:gd name="connsiteX1266" fmla="*/ 15983542 w 25004707"/>
              <a:gd name="connsiteY1266" fmla="*/ 1495075 h 10808782"/>
              <a:gd name="connsiteX1267" fmla="*/ 15951762 w 25004707"/>
              <a:gd name="connsiteY1267" fmla="*/ 1979523 h 10808782"/>
              <a:gd name="connsiteX1268" fmla="*/ 15983542 w 25004707"/>
              <a:gd name="connsiteY1268" fmla="*/ 1495086 h 10808782"/>
              <a:gd name="connsiteX1269" fmla="*/ 24431722 w 25004707"/>
              <a:gd name="connsiteY1269" fmla="*/ 10323878 h 10808782"/>
              <a:gd name="connsiteX1270" fmla="*/ 24442890 w 25004707"/>
              <a:gd name="connsiteY1270" fmla="*/ 10324617 h 10808782"/>
              <a:gd name="connsiteX1271" fmla="*/ 24474672 w 25004707"/>
              <a:gd name="connsiteY1271" fmla="*/ 9840199 h 10808782"/>
              <a:gd name="connsiteX1272" fmla="*/ 24463658 w 25004707"/>
              <a:gd name="connsiteY1272" fmla="*/ 9839460 h 10808782"/>
              <a:gd name="connsiteX1273" fmla="*/ 11684880 w 25004707"/>
              <a:gd name="connsiteY1273" fmla="*/ 8028300 h 10808782"/>
              <a:gd name="connsiteX1274" fmla="*/ 12879185 w 25004707"/>
              <a:gd name="connsiteY1274" fmla="*/ 8158364 h 10808782"/>
              <a:gd name="connsiteX1275" fmla="*/ 20674580 w 25004707"/>
              <a:gd name="connsiteY1275" fmla="*/ 8617586 h 10808782"/>
              <a:gd name="connsiteX1276" fmla="*/ 20341988 w 25004707"/>
              <a:gd name="connsiteY1276" fmla="*/ 8595770 h 10808782"/>
              <a:gd name="connsiteX1277" fmla="*/ 19488328 w 25004707"/>
              <a:gd name="connsiteY1277" fmla="*/ 8602418 h 10808782"/>
              <a:gd name="connsiteX1278" fmla="*/ 11646271 w 25004707"/>
              <a:gd name="connsiteY1278" fmla="*/ 7561376 h 10808782"/>
              <a:gd name="connsiteX1279" fmla="*/ 12545352 w 25004707"/>
              <a:gd name="connsiteY1279" fmla="*/ 7796293 h 10808782"/>
              <a:gd name="connsiteX1280" fmla="*/ 10432568 w 25004707"/>
              <a:gd name="connsiteY1280" fmla="*/ 7459228 h 10808782"/>
              <a:gd name="connsiteX1281" fmla="*/ 11645783 w 25004707"/>
              <a:gd name="connsiteY1281" fmla="*/ 7560874 h 10808782"/>
              <a:gd name="connsiteX1282" fmla="*/ 19877714 w 25004707"/>
              <a:gd name="connsiteY1282" fmla="*/ 8295736 h 10808782"/>
              <a:gd name="connsiteX1283" fmla="*/ 18710818 w 25004707"/>
              <a:gd name="connsiteY1283" fmla="*/ 8471900 h 10808782"/>
              <a:gd name="connsiteX1284" fmla="*/ 12545414 w 25004707"/>
              <a:gd name="connsiteY1284" fmla="*/ 7795821 h 10808782"/>
              <a:gd name="connsiteX1285" fmla="*/ 13647621 w 25004707"/>
              <a:gd name="connsiteY1285" fmla="*/ 8118850 h 10808782"/>
              <a:gd name="connsiteX1286" fmla="*/ 18710188 w 25004707"/>
              <a:gd name="connsiteY1286" fmla="*/ 8471883 h 10808782"/>
              <a:gd name="connsiteX1287" fmla="*/ 17080274 w 25004707"/>
              <a:gd name="connsiteY1287" fmla="*/ 8564539 h 10808782"/>
              <a:gd name="connsiteX1288" fmla="*/ 20800442 w 25004707"/>
              <a:gd name="connsiteY1288" fmla="*/ 8170357 h 10808782"/>
              <a:gd name="connsiteX1289" fmla="*/ 19877714 w 25004707"/>
              <a:gd name="connsiteY1289" fmla="*/ 8295264 h 10808782"/>
              <a:gd name="connsiteX1290" fmla="*/ 13647557 w 25004707"/>
              <a:gd name="connsiteY1290" fmla="*/ 8119337 h 10808782"/>
              <a:gd name="connsiteX1291" fmla="*/ 15213031 w 25004707"/>
              <a:gd name="connsiteY1291" fmla="*/ 8432275 h 10808782"/>
              <a:gd name="connsiteX1292" fmla="*/ 24570168 w 25004707"/>
              <a:gd name="connsiteY1292" fmla="*/ 8385956 h 10808782"/>
              <a:gd name="connsiteX1293" fmla="*/ 24558998 w 25004707"/>
              <a:gd name="connsiteY1293" fmla="*/ 8385217 h 10808782"/>
              <a:gd name="connsiteX1294" fmla="*/ 11191453 w 25004707"/>
              <a:gd name="connsiteY1294" fmla="*/ 6598058 h 10808782"/>
              <a:gd name="connsiteX1295" fmla="*/ 11661705 w 25004707"/>
              <a:gd name="connsiteY1295" fmla="*/ 6773325 h 10808782"/>
              <a:gd name="connsiteX1296" fmla="*/ 11661752 w 25004707"/>
              <a:gd name="connsiteY1296" fmla="*/ 6773797 h 10808782"/>
              <a:gd name="connsiteX1297" fmla="*/ 12360192 w 25004707"/>
              <a:gd name="connsiteY1297" fmla="*/ 7093886 h 10808782"/>
              <a:gd name="connsiteX1298" fmla="*/ 21415434 w 25004707"/>
              <a:gd name="connsiteY1298" fmla="*/ 7277170 h 10808782"/>
              <a:gd name="connsiteX1299" fmla="*/ 20922056 w 25004707"/>
              <a:gd name="connsiteY1299" fmla="*/ 7397268 h 10808782"/>
              <a:gd name="connsiteX1300" fmla="*/ 20922686 w 25004707"/>
              <a:gd name="connsiteY1300" fmla="*/ 7397316 h 10808782"/>
              <a:gd name="connsiteX1301" fmla="*/ 20142814 w 25004707"/>
              <a:gd name="connsiteY1301" fmla="*/ 7635564 h 10808782"/>
              <a:gd name="connsiteX1302" fmla="*/ 24622718 w 25004707"/>
              <a:gd name="connsiteY1302" fmla="*/ 7415894 h 10808782"/>
              <a:gd name="connsiteX1303" fmla="*/ 24633886 w 25004707"/>
              <a:gd name="connsiteY1303" fmla="*/ 7416633 h 10808782"/>
              <a:gd name="connsiteX1304" fmla="*/ 20142814 w 25004707"/>
              <a:gd name="connsiteY1304" fmla="*/ 7635108 h 10808782"/>
              <a:gd name="connsiteX1305" fmla="*/ 18066244 w 25004707"/>
              <a:gd name="connsiteY1305" fmla="*/ 7988802 h 10808782"/>
              <a:gd name="connsiteX1306" fmla="*/ 24665668 w 25004707"/>
              <a:gd name="connsiteY1306" fmla="*/ 6931728 h 10808782"/>
              <a:gd name="connsiteX1307" fmla="*/ 24654654 w 25004707"/>
              <a:gd name="connsiteY1307" fmla="*/ 6931005 h 10808782"/>
              <a:gd name="connsiteX1308" fmla="*/ 18998254 w 25004707"/>
              <a:gd name="connsiteY1308" fmla="*/ 6560194 h 10808782"/>
              <a:gd name="connsiteX1309" fmla="*/ 13443409 w 25004707"/>
              <a:gd name="connsiteY1309" fmla="*/ 6196079 h 10808782"/>
              <a:gd name="connsiteX1310" fmla="*/ 9275737 w 25004707"/>
              <a:gd name="connsiteY1310" fmla="*/ 5436398 h 10808782"/>
              <a:gd name="connsiteX1311" fmla="*/ 10227192 w 25004707"/>
              <a:gd name="connsiteY1311" fmla="*/ 5498766 h 10808782"/>
              <a:gd name="connsiteX1312" fmla="*/ 10555661 w 25004707"/>
              <a:gd name="connsiteY1312" fmla="*/ 5520299 h 10808782"/>
              <a:gd name="connsiteX1313" fmla="*/ 10555676 w 25004707"/>
              <a:gd name="connsiteY1313" fmla="*/ 5519796 h 10808782"/>
              <a:gd name="connsiteX1314" fmla="*/ 11263383 w 25004707"/>
              <a:gd name="connsiteY1314" fmla="*/ 5504063 h 10808782"/>
              <a:gd name="connsiteX1315" fmla="*/ 24761164 w 25004707"/>
              <a:gd name="connsiteY1315" fmla="*/ 5477971 h 10808782"/>
              <a:gd name="connsiteX1316" fmla="*/ 24749994 w 25004707"/>
              <a:gd name="connsiteY1316" fmla="*/ 5477249 h 10808782"/>
              <a:gd name="connsiteX1317" fmla="*/ 15489769 w 25004707"/>
              <a:gd name="connsiteY1317" fmla="*/ 4210548 h 10808782"/>
              <a:gd name="connsiteX1318" fmla="*/ 13896795 w 25004707"/>
              <a:gd name="connsiteY1318" fmla="*/ 4316454 h 10808782"/>
              <a:gd name="connsiteX1319" fmla="*/ 11840225 w 25004707"/>
              <a:gd name="connsiteY1319" fmla="*/ 4608393 h 10808782"/>
              <a:gd name="connsiteX1320" fmla="*/ 11564650 w 25004707"/>
              <a:gd name="connsiteY1320" fmla="*/ 4609163 h 10808782"/>
              <a:gd name="connsiteX1321" fmla="*/ 10623579 w 25004707"/>
              <a:gd name="connsiteY1321" fmla="*/ 4550772 h 10808782"/>
              <a:gd name="connsiteX1322" fmla="*/ 17200786 w 25004707"/>
              <a:gd name="connsiteY1322" fmla="*/ 4157957 h 10808782"/>
              <a:gd name="connsiteX1323" fmla="*/ 15695475 w 25004707"/>
              <a:gd name="connsiteY1323" fmla="*/ 4064971 h 10808782"/>
              <a:gd name="connsiteX1324" fmla="*/ 24792944 w 25004707"/>
              <a:gd name="connsiteY1324" fmla="*/ 4993051 h 10808782"/>
              <a:gd name="connsiteX1325" fmla="*/ 24781932 w 25004707"/>
              <a:gd name="connsiteY1325" fmla="*/ 4992328 h 10808782"/>
              <a:gd name="connsiteX1326" fmla="*/ 14311291 w 25004707"/>
              <a:gd name="connsiteY1326" fmla="*/ 4099408 h 10808782"/>
              <a:gd name="connsiteX1327" fmla="*/ 13140600 w 25004707"/>
              <a:gd name="connsiteY1327" fmla="*/ 4177934 h 10808782"/>
              <a:gd name="connsiteX1328" fmla="*/ 5533323 w 25004707"/>
              <a:gd name="connsiteY1328" fmla="*/ 3742335 h 10808782"/>
              <a:gd name="connsiteX1329" fmla="*/ 5816937 w 25004707"/>
              <a:gd name="connsiteY1329" fmla="*/ 3749157 h 10808782"/>
              <a:gd name="connsiteX1330" fmla="*/ 6803413 w 25004707"/>
              <a:gd name="connsiteY1330" fmla="*/ 3813819 h 10808782"/>
              <a:gd name="connsiteX1331" fmla="*/ 17402166 w 25004707"/>
              <a:gd name="connsiteY1331" fmla="*/ 8385657 h 10808782"/>
              <a:gd name="connsiteX1332" fmla="*/ 14871708 w 25004707"/>
              <a:gd name="connsiteY1332" fmla="*/ 8200471 h 10808782"/>
              <a:gd name="connsiteX1333" fmla="*/ 21113996 w 25004707"/>
              <a:gd name="connsiteY1333" fmla="*/ 7756165 h 10808782"/>
              <a:gd name="connsiteX1334" fmla="*/ 20402560 w 25004707"/>
              <a:gd name="connsiteY1334" fmla="*/ 7924564 h 10808782"/>
              <a:gd name="connsiteX1335" fmla="*/ 24729384 w 25004707"/>
              <a:gd name="connsiteY1335" fmla="*/ 5962405 h 10808782"/>
              <a:gd name="connsiteX1336" fmla="*/ 24718214 w 25004707"/>
              <a:gd name="connsiteY1336" fmla="*/ 5961666 h 10808782"/>
              <a:gd name="connsiteX1337" fmla="*/ 12251605 w 25004707"/>
              <a:gd name="connsiteY1337" fmla="*/ 4868284 h 10808782"/>
              <a:gd name="connsiteX1338" fmla="*/ 11549373 w 25004707"/>
              <a:gd name="connsiteY1338" fmla="*/ 5027865 h 10808782"/>
              <a:gd name="connsiteX1339" fmla="*/ 4229596 w 25004707"/>
              <a:gd name="connsiteY1339" fmla="*/ 3720409 h 10808782"/>
              <a:gd name="connsiteX1340" fmla="*/ 5592446 w 25004707"/>
              <a:gd name="connsiteY1340" fmla="*/ 3263937 h 10808782"/>
              <a:gd name="connsiteX1341" fmla="*/ 1697927 w 25004707"/>
              <a:gd name="connsiteY1341" fmla="*/ 2992635 h 10808782"/>
              <a:gd name="connsiteX1342" fmla="*/ 2684403 w 25004707"/>
              <a:gd name="connsiteY1342" fmla="*/ 3057297 h 10808782"/>
              <a:gd name="connsiteX1343" fmla="*/ 2938046 w 25004707"/>
              <a:gd name="connsiteY1343" fmla="*/ 3090399 h 10808782"/>
              <a:gd name="connsiteX1344" fmla="*/ 24824882 w 25004707"/>
              <a:gd name="connsiteY1344" fmla="*/ 4508602 h 10808782"/>
              <a:gd name="connsiteX1345" fmla="*/ 24813712 w 25004707"/>
              <a:gd name="connsiteY1345" fmla="*/ 4507879 h 10808782"/>
              <a:gd name="connsiteX1346" fmla="*/ 24888442 w 25004707"/>
              <a:gd name="connsiteY1346" fmla="*/ 3539279 h 10808782"/>
              <a:gd name="connsiteX1347" fmla="*/ 24877430 w 25004707"/>
              <a:gd name="connsiteY1347" fmla="*/ 3538556 h 10808782"/>
              <a:gd name="connsiteX1348" fmla="*/ 24920380 w 25004707"/>
              <a:gd name="connsiteY1348" fmla="*/ 3054405 h 10808782"/>
              <a:gd name="connsiteX1349" fmla="*/ 24909210 w 25004707"/>
              <a:gd name="connsiteY1349" fmla="*/ 3053682 h 10808782"/>
              <a:gd name="connsiteX1350" fmla="*/ 24984098 w 25004707"/>
              <a:gd name="connsiteY1350" fmla="*/ 2085067 h 10808782"/>
              <a:gd name="connsiteX1351" fmla="*/ 24972926 w 25004707"/>
              <a:gd name="connsiteY1351" fmla="*/ 2084328 h 10808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</a:cxnLst>
            <a:rect l="l" t="t" r="r" b="b"/>
            <a:pathLst>
              <a:path w="25004707" h="10808782">
                <a:moveTo>
                  <a:pt x="24781932" y="4992328"/>
                </a:moveTo>
                <a:lnTo>
                  <a:pt x="24813712" y="4507894"/>
                </a:lnTo>
                <a:moveTo>
                  <a:pt x="24781932" y="4992328"/>
                </a:moveTo>
                <a:lnTo>
                  <a:pt x="24749994" y="5477249"/>
                </a:lnTo>
                <a:moveTo>
                  <a:pt x="24781932" y="4992328"/>
                </a:moveTo>
                <a:lnTo>
                  <a:pt x="23497668" y="4908160"/>
                </a:lnTo>
                <a:lnTo>
                  <a:pt x="23465886" y="5393065"/>
                </a:lnTo>
                <a:moveTo>
                  <a:pt x="24813712" y="4507894"/>
                </a:moveTo>
                <a:lnTo>
                  <a:pt x="24845492" y="4022989"/>
                </a:lnTo>
                <a:moveTo>
                  <a:pt x="24813712" y="4507894"/>
                </a:moveTo>
                <a:lnTo>
                  <a:pt x="23529446" y="4423711"/>
                </a:lnTo>
                <a:moveTo>
                  <a:pt x="24718214" y="5961666"/>
                </a:moveTo>
                <a:lnTo>
                  <a:pt x="24686276" y="6446571"/>
                </a:lnTo>
                <a:lnTo>
                  <a:pt x="23402168" y="6362388"/>
                </a:lnTo>
                <a:moveTo>
                  <a:pt x="24718214" y="5961666"/>
                </a:moveTo>
                <a:lnTo>
                  <a:pt x="24749994" y="5477249"/>
                </a:lnTo>
                <a:moveTo>
                  <a:pt x="24718214" y="5961666"/>
                </a:moveTo>
                <a:lnTo>
                  <a:pt x="23433948" y="5877498"/>
                </a:lnTo>
                <a:moveTo>
                  <a:pt x="24749994" y="5477249"/>
                </a:moveTo>
                <a:lnTo>
                  <a:pt x="23465886" y="5393065"/>
                </a:lnTo>
                <a:moveTo>
                  <a:pt x="24940990" y="2568777"/>
                </a:moveTo>
                <a:lnTo>
                  <a:pt x="24909210" y="3053682"/>
                </a:lnTo>
                <a:lnTo>
                  <a:pt x="23624944" y="2969499"/>
                </a:lnTo>
                <a:moveTo>
                  <a:pt x="24877430" y="3538571"/>
                </a:moveTo>
                <a:lnTo>
                  <a:pt x="24845492" y="4023005"/>
                </a:lnTo>
                <a:moveTo>
                  <a:pt x="24845492" y="4023005"/>
                </a:moveTo>
                <a:lnTo>
                  <a:pt x="24856664" y="4023744"/>
                </a:lnTo>
                <a:moveTo>
                  <a:pt x="24845492" y="4023005"/>
                </a:moveTo>
                <a:lnTo>
                  <a:pt x="23561384" y="3938837"/>
                </a:lnTo>
                <a:moveTo>
                  <a:pt x="24940990" y="2568777"/>
                </a:moveTo>
                <a:lnTo>
                  <a:pt x="23656882" y="2484594"/>
                </a:lnTo>
                <a:lnTo>
                  <a:pt x="23624944" y="2969499"/>
                </a:lnTo>
                <a:moveTo>
                  <a:pt x="24940990" y="2568777"/>
                </a:moveTo>
                <a:lnTo>
                  <a:pt x="24952160" y="2569500"/>
                </a:lnTo>
                <a:moveTo>
                  <a:pt x="24940990" y="2568777"/>
                </a:moveTo>
                <a:lnTo>
                  <a:pt x="25004708" y="1599423"/>
                </a:lnTo>
                <a:lnTo>
                  <a:pt x="5763304" y="338142"/>
                </a:lnTo>
                <a:cubicBezTo>
                  <a:pt x="5433766" y="316539"/>
                  <a:pt x="631905" y="1774"/>
                  <a:pt x="631905" y="1774"/>
                </a:cubicBezTo>
                <a:lnTo>
                  <a:pt x="604841" y="0"/>
                </a:lnTo>
                <a:lnTo>
                  <a:pt x="0" y="9209356"/>
                </a:lnTo>
                <a:lnTo>
                  <a:pt x="1284177" y="9293539"/>
                </a:lnTo>
                <a:moveTo>
                  <a:pt x="24909210" y="3053651"/>
                </a:moveTo>
                <a:lnTo>
                  <a:pt x="24877430" y="3538556"/>
                </a:lnTo>
                <a:lnTo>
                  <a:pt x="23593164" y="3454388"/>
                </a:lnTo>
                <a:moveTo>
                  <a:pt x="24590780" y="7900799"/>
                </a:moveTo>
                <a:lnTo>
                  <a:pt x="24622718" y="7415910"/>
                </a:lnTo>
                <a:moveTo>
                  <a:pt x="24590780" y="7900799"/>
                </a:moveTo>
                <a:lnTo>
                  <a:pt x="23306672" y="7816615"/>
                </a:lnTo>
                <a:lnTo>
                  <a:pt x="23274890" y="8301049"/>
                </a:lnTo>
                <a:lnTo>
                  <a:pt x="21990782" y="8216849"/>
                </a:lnTo>
                <a:cubicBezTo>
                  <a:pt x="21990782" y="8216849"/>
                  <a:pt x="21573078" y="8189485"/>
                  <a:pt x="21466882" y="8182522"/>
                </a:cubicBezTo>
                <a:cubicBezTo>
                  <a:pt x="21222396" y="8166490"/>
                  <a:pt x="20955724" y="8169257"/>
                  <a:pt x="20799970" y="8169870"/>
                </a:cubicBezTo>
                <a:moveTo>
                  <a:pt x="24590780" y="7900799"/>
                </a:moveTo>
                <a:lnTo>
                  <a:pt x="24601948" y="7901538"/>
                </a:lnTo>
                <a:moveTo>
                  <a:pt x="24622718" y="7415910"/>
                </a:moveTo>
                <a:lnTo>
                  <a:pt x="24654496" y="6931005"/>
                </a:lnTo>
                <a:moveTo>
                  <a:pt x="24622718" y="7415910"/>
                </a:moveTo>
                <a:lnTo>
                  <a:pt x="23338452" y="7331710"/>
                </a:lnTo>
                <a:moveTo>
                  <a:pt x="24558998" y="8385232"/>
                </a:moveTo>
                <a:lnTo>
                  <a:pt x="24527218" y="8870137"/>
                </a:lnTo>
                <a:lnTo>
                  <a:pt x="23242952" y="8785953"/>
                </a:lnTo>
                <a:moveTo>
                  <a:pt x="24558998" y="8385232"/>
                </a:moveTo>
                <a:lnTo>
                  <a:pt x="24590780" y="7900799"/>
                </a:lnTo>
                <a:moveTo>
                  <a:pt x="24558998" y="8385232"/>
                </a:moveTo>
                <a:lnTo>
                  <a:pt x="23274890" y="8301049"/>
                </a:lnTo>
                <a:lnTo>
                  <a:pt x="23242952" y="8785953"/>
                </a:lnTo>
                <a:moveTo>
                  <a:pt x="24654496" y="6931005"/>
                </a:moveTo>
                <a:lnTo>
                  <a:pt x="24686434" y="6446571"/>
                </a:lnTo>
                <a:lnTo>
                  <a:pt x="24697448" y="6447294"/>
                </a:lnTo>
                <a:moveTo>
                  <a:pt x="24654496" y="6931005"/>
                </a:moveTo>
                <a:lnTo>
                  <a:pt x="23370388" y="6846837"/>
                </a:lnTo>
                <a:moveTo>
                  <a:pt x="24463500" y="9839444"/>
                </a:moveTo>
                <a:lnTo>
                  <a:pt x="24431722" y="10323878"/>
                </a:lnTo>
                <a:lnTo>
                  <a:pt x="23147614" y="10239694"/>
                </a:lnTo>
                <a:moveTo>
                  <a:pt x="23338608" y="7331726"/>
                </a:moveTo>
                <a:lnTo>
                  <a:pt x="23306672" y="7816631"/>
                </a:lnTo>
                <a:lnTo>
                  <a:pt x="22022564" y="7732447"/>
                </a:lnTo>
                <a:moveTo>
                  <a:pt x="23242952" y="8785953"/>
                </a:moveTo>
                <a:lnTo>
                  <a:pt x="23211172" y="9270371"/>
                </a:lnTo>
                <a:moveTo>
                  <a:pt x="23242952" y="8785953"/>
                </a:moveTo>
                <a:lnTo>
                  <a:pt x="21958844" y="8701770"/>
                </a:lnTo>
                <a:moveTo>
                  <a:pt x="23433948" y="5877498"/>
                </a:moveTo>
                <a:lnTo>
                  <a:pt x="23465886" y="5393065"/>
                </a:lnTo>
                <a:moveTo>
                  <a:pt x="23433948" y="5877498"/>
                </a:moveTo>
                <a:lnTo>
                  <a:pt x="22149840" y="5793299"/>
                </a:lnTo>
                <a:cubicBezTo>
                  <a:pt x="22139300" y="5953996"/>
                  <a:pt x="22133164" y="6038761"/>
                  <a:pt x="22138828" y="6277685"/>
                </a:cubicBezTo>
                <a:moveTo>
                  <a:pt x="23465886" y="5393065"/>
                </a:moveTo>
                <a:lnTo>
                  <a:pt x="22181622" y="5308881"/>
                </a:lnTo>
                <a:moveTo>
                  <a:pt x="23115676" y="10724599"/>
                </a:moveTo>
                <a:lnTo>
                  <a:pt x="23147614" y="10239709"/>
                </a:lnTo>
                <a:moveTo>
                  <a:pt x="23115676" y="10724599"/>
                </a:moveTo>
                <a:lnTo>
                  <a:pt x="24399940" y="10808782"/>
                </a:lnTo>
                <a:lnTo>
                  <a:pt x="24431722" y="10323878"/>
                </a:lnTo>
                <a:moveTo>
                  <a:pt x="23115676" y="10724599"/>
                </a:moveTo>
                <a:lnTo>
                  <a:pt x="21831568" y="10640431"/>
                </a:lnTo>
                <a:moveTo>
                  <a:pt x="23147614" y="10239709"/>
                </a:moveTo>
                <a:lnTo>
                  <a:pt x="23179392" y="9755261"/>
                </a:lnTo>
                <a:moveTo>
                  <a:pt x="23147614" y="10239709"/>
                </a:moveTo>
                <a:lnTo>
                  <a:pt x="21863348" y="10155526"/>
                </a:lnTo>
                <a:moveTo>
                  <a:pt x="23720600" y="1515244"/>
                </a:moveTo>
                <a:lnTo>
                  <a:pt x="23688662" y="2000144"/>
                </a:lnTo>
                <a:moveTo>
                  <a:pt x="23688662" y="2000144"/>
                </a:moveTo>
                <a:lnTo>
                  <a:pt x="24972772" y="2084312"/>
                </a:lnTo>
                <a:moveTo>
                  <a:pt x="23688662" y="2000144"/>
                </a:moveTo>
                <a:lnTo>
                  <a:pt x="22404554" y="1915976"/>
                </a:lnTo>
                <a:moveTo>
                  <a:pt x="23179392" y="9755261"/>
                </a:moveTo>
                <a:lnTo>
                  <a:pt x="23211172" y="9270387"/>
                </a:lnTo>
                <a:moveTo>
                  <a:pt x="23179392" y="9755261"/>
                </a:moveTo>
                <a:lnTo>
                  <a:pt x="21895126" y="9671092"/>
                </a:lnTo>
                <a:lnTo>
                  <a:pt x="21863348" y="10155526"/>
                </a:lnTo>
                <a:moveTo>
                  <a:pt x="23179392" y="9755261"/>
                </a:moveTo>
                <a:lnTo>
                  <a:pt x="24463500" y="9839460"/>
                </a:lnTo>
                <a:lnTo>
                  <a:pt x="24495438" y="9354555"/>
                </a:lnTo>
                <a:lnTo>
                  <a:pt x="24506452" y="9355294"/>
                </a:lnTo>
                <a:moveTo>
                  <a:pt x="23593164" y="3454388"/>
                </a:moveTo>
                <a:lnTo>
                  <a:pt x="23625102" y="2969483"/>
                </a:lnTo>
                <a:moveTo>
                  <a:pt x="23593164" y="3454388"/>
                </a:moveTo>
                <a:lnTo>
                  <a:pt x="22309056" y="3370204"/>
                </a:lnTo>
                <a:moveTo>
                  <a:pt x="23624944" y="2969499"/>
                </a:moveTo>
                <a:lnTo>
                  <a:pt x="22340836" y="2885315"/>
                </a:lnTo>
                <a:moveTo>
                  <a:pt x="23593164" y="3454388"/>
                </a:moveTo>
                <a:lnTo>
                  <a:pt x="23561384" y="3938821"/>
                </a:lnTo>
                <a:lnTo>
                  <a:pt x="22277118" y="3854653"/>
                </a:lnTo>
                <a:moveTo>
                  <a:pt x="23434106" y="5877482"/>
                </a:moveTo>
                <a:lnTo>
                  <a:pt x="23402168" y="6362388"/>
                </a:lnTo>
                <a:lnTo>
                  <a:pt x="22450808" y="6300020"/>
                </a:lnTo>
                <a:cubicBezTo>
                  <a:pt x="22261858" y="6287634"/>
                  <a:pt x="22138828" y="6277685"/>
                  <a:pt x="22138828" y="6277685"/>
                </a:cubicBezTo>
                <a:moveTo>
                  <a:pt x="23370388" y="6846837"/>
                </a:moveTo>
                <a:lnTo>
                  <a:pt x="23402168" y="6362404"/>
                </a:lnTo>
                <a:moveTo>
                  <a:pt x="23370388" y="6846837"/>
                </a:moveTo>
                <a:lnTo>
                  <a:pt x="23338452" y="7331710"/>
                </a:lnTo>
                <a:moveTo>
                  <a:pt x="23370388" y="6846837"/>
                </a:moveTo>
                <a:lnTo>
                  <a:pt x="22133950" y="6765781"/>
                </a:lnTo>
                <a:moveTo>
                  <a:pt x="23529604" y="4423711"/>
                </a:moveTo>
                <a:lnTo>
                  <a:pt x="23561384" y="3938806"/>
                </a:lnTo>
                <a:moveTo>
                  <a:pt x="23529604" y="4423711"/>
                </a:moveTo>
                <a:lnTo>
                  <a:pt x="23497668" y="4908160"/>
                </a:lnTo>
                <a:lnTo>
                  <a:pt x="22213560" y="4823976"/>
                </a:lnTo>
                <a:moveTo>
                  <a:pt x="23529604" y="4423711"/>
                </a:moveTo>
                <a:lnTo>
                  <a:pt x="22245338" y="4339527"/>
                </a:lnTo>
                <a:moveTo>
                  <a:pt x="23338452" y="7331710"/>
                </a:moveTo>
                <a:lnTo>
                  <a:pt x="22387090" y="7269358"/>
                </a:lnTo>
                <a:cubicBezTo>
                  <a:pt x="22198140" y="7256973"/>
                  <a:pt x="22074952" y="7250780"/>
                  <a:pt x="22074952" y="7250780"/>
                </a:cubicBezTo>
                <a:moveTo>
                  <a:pt x="23688662" y="2000160"/>
                </a:moveTo>
                <a:lnTo>
                  <a:pt x="23656882" y="2484594"/>
                </a:lnTo>
                <a:lnTo>
                  <a:pt x="22372618" y="2400410"/>
                </a:lnTo>
                <a:moveTo>
                  <a:pt x="23211172" y="9270371"/>
                </a:moveTo>
                <a:lnTo>
                  <a:pt x="24495438" y="9354555"/>
                </a:lnTo>
                <a:lnTo>
                  <a:pt x="24527218" y="8870122"/>
                </a:lnTo>
                <a:lnTo>
                  <a:pt x="24538388" y="8870860"/>
                </a:lnTo>
                <a:moveTo>
                  <a:pt x="23211172" y="9270371"/>
                </a:moveTo>
                <a:lnTo>
                  <a:pt x="21927064" y="9186203"/>
                </a:lnTo>
                <a:moveTo>
                  <a:pt x="21831568" y="10640431"/>
                </a:moveTo>
                <a:lnTo>
                  <a:pt x="21863348" y="10155526"/>
                </a:lnTo>
                <a:moveTo>
                  <a:pt x="21831568" y="10640431"/>
                </a:moveTo>
                <a:lnTo>
                  <a:pt x="20547302" y="10556248"/>
                </a:lnTo>
                <a:moveTo>
                  <a:pt x="21863348" y="10155526"/>
                </a:moveTo>
                <a:lnTo>
                  <a:pt x="20579240" y="10071342"/>
                </a:lnTo>
                <a:moveTo>
                  <a:pt x="22340836" y="2885299"/>
                </a:moveTo>
                <a:lnTo>
                  <a:pt x="22308898" y="3370204"/>
                </a:lnTo>
                <a:lnTo>
                  <a:pt x="21024790" y="3286020"/>
                </a:lnTo>
                <a:moveTo>
                  <a:pt x="22277118" y="3854653"/>
                </a:moveTo>
                <a:lnTo>
                  <a:pt x="22308898" y="3370220"/>
                </a:lnTo>
                <a:moveTo>
                  <a:pt x="22277118" y="3854653"/>
                </a:moveTo>
                <a:lnTo>
                  <a:pt x="20993010" y="3770469"/>
                </a:lnTo>
                <a:moveTo>
                  <a:pt x="21927064" y="9186203"/>
                </a:moveTo>
                <a:lnTo>
                  <a:pt x="21895126" y="9671109"/>
                </a:lnTo>
                <a:lnTo>
                  <a:pt x="20611018" y="9586925"/>
                </a:lnTo>
                <a:moveTo>
                  <a:pt x="21927064" y="9186203"/>
                </a:moveTo>
                <a:lnTo>
                  <a:pt x="21958844" y="8701770"/>
                </a:lnTo>
                <a:moveTo>
                  <a:pt x="21927064" y="9186203"/>
                </a:moveTo>
                <a:lnTo>
                  <a:pt x="20642800" y="9102019"/>
                </a:lnTo>
                <a:moveTo>
                  <a:pt x="22436334" y="1431070"/>
                </a:moveTo>
                <a:lnTo>
                  <a:pt x="22404554" y="1915976"/>
                </a:lnTo>
                <a:moveTo>
                  <a:pt x="22404554" y="1915976"/>
                </a:moveTo>
                <a:lnTo>
                  <a:pt x="21120288" y="1831793"/>
                </a:lnTo>
                <a:moveTo>
                  <a:pt x="22022564" y="7732431"/>
                </a:moveTo>
                <a:lnTo>
                  <a:pt x="22074952" y="7250780"/>
                </a:lnTo>
                <a:moveTo>
                  <a:pt x="22022564" y="7732431"/>
                </a:moveTo>
                <a:cubicBezTo>
                  <a:pt x="21593216" y="7704297"/>
                  <a:pt x="21304678" y="7722561"/>
                  <a:pt x="21113838" y="7756637"/>
                </a:cubicBezTo>
                <a:moveTo>
                  <a:pt x="22022564" y="7732431"/>
                </a:moveTo>
                <a:lnTo>
                  <a:pt x="21958844" y="8701770"/>
                </a:lnTo>
                <a:moveTo>
                  <a:pt x="22181622" y="5308897"/>
                </a:moveTo>
                <a:lnTo>
                  <a:pt x="22149840" y="5793330"/>
                </a:lnTo>
                <a:cubicBezTo>
                  <a:pt x="21856424" y="5773620"/>
                  <a:pt x="21532644" y="5736873"/>
                  <a:pt x="21252128" y="5650708"/>
                </a:cubicBezTo>
                <a:cubicBezTo>
                  <a:pt x="21357540" y="5840185"/>
                  <a:pt x="21418582" y="5988638"/>
                  <a:pt x="21488592" y="6165430"/>
                </a:cubicBezTo>
                <a:cubicBezTo>
                  <a:pt x="21381138" y="6137688"/>
                  <a:pt x="21161352" y="6067761"/>
                  <a:pt x="21015036" y="5981942"/>
                </a:cubicBezTo>
                <a:moveTo>
                  <a:pt x="22074952" y="7250780"/>
                </a:moveTo>
                <a:cubicBezTo>
                  <a:pt x="22082190" y="7163280"/>
                  <a:pt x="22118848" y="6995808"/>
                  <a:pt x="22133950" y="6766253"/>
                </a:cubicBezTo>
                <a:moveTo>
                  <a:pt x="22138828" y="6277685"/>
                </a:moveTo>
                <a:cubicBezTo>
                  <a:pt x="22133478" y="6440143"/>
                  <a:pt x="22152202" y="6487956"/>
                  <a:pt x="22133950" y="6765781"/>
                </a:cubicBezTo>
                <a:lnTo>
                  <a:pt x="21562380" y="6728310"/>
                </a:lnTo>
                <a:moveTo>
                  <a:pt x="22138828" y="6277685"/>
                </a:moveTo>
                <a:cubicBezTo>
                  <a:pt x="21841164" y="6258180"/>
                  <a:pt x="21640728" y="6210209"/>
                  <a:pt x="21488592" y="6165414"/>
                </a:cubicBezTo>
                <a:moveTo>
                  <a:pt x="22245338" y="4339527"/>
                </a:moveTo>
                <a:lnTo>
                  <a:pt x="22277276" y="3854622"/>
                </a:lnTo>
                <a:moveTo>
                  <a:pt x="22245338" y="4339527"/>
                </a:moveTo>
                <a:lnTo>
                  <a:pt x="20961230" y="4255359"/>
                </a:lnTo>
                <a:moveTo>
                  <a:pt x="21958844" y="8701770"/>
                </a:moveTo>
                <a:lnTo>
                  <a:pt x="20674580" y="8617586"/>
                </a:lnTo>
                <a:lnTo>
                  <a:pt x="20642800" y="9102019"/>
                </a:lnTo>
                <a:moveTo>
                  <a:pt x="22181622" y="5308881"/>
                </a:moveTo>
                <a:lnTo>
                  <a:pt x="22213560" y="4823992"/>
                </a:lnTo>
                <a:moveTo>
                  <a:pt x="22181622" y="5308881"/>
                </a:moveTo>
                <a:lnTo>
                  <a:pt x="21849030" y="5287081"/>
                </a:lnTo>
                <a:cubicBezTo>
                  <a:pt x="21563480" y="5268361"/>
                  <a:pt x="21279506" y="5234222"/>
                  <a:pt x="20995686" y="5199596"/>
                </a:cubicBezTo>
                <a:cubicBezTo>
                  <a:pt x="21087250" y="5355233"/>
                  <a:pt x="21157262" y="5465209"/>
                  <a:pt x="21252128" y="5651180"/>
                </a:cubicBezTo>
                <a:cubicBezTo>
                  <a:pt x="21018026" y="5564309"/>
                  <a:pt x="20878162" y="5518916"/>
                  <a:pt x="20568856" y="5391367"/>
                </a:cubicBezTo>
                <a:cubicBezTo>
                  <a:pt x="20753400" y="5568599"/>
                  <a:pt x="20900344" y="5766437"/>
                  <a:pt x="21015666" y="5981974"/>
                </a:cubicBezTo>
                <a:moveTo>
                  <a:pt x="22245338" y="4339543"/>
                </a:moveTo>
                <a:lnTo>
                  <a:pt x="22213560" y="4823976"/>
                </a:lnTo>
                <a:lnTo>
                  <a:pt x="20929452" y="4739792"/>
                </a:lnTo>
                <a:moveTo>
                  <a:pt x="22372774" y="2400425"/>
                </a:moveTo>
                <a:lnTo>
                  <a:pt x="22340836" y="2885315"/>
                </a:lnTo>
                <a:moveTo>
                  <a:pt x="22340836" y="2885315"/>
                </a:moveTo>
                <a:lnTo>
                  <a:pt x="21056728" y="2801147"/>
                </a:lnTo>
                <a:moveTo>
                  <a:pt x="22404398" y="1915976"/>
                </a:moveTo>
                <a:lnTo>
                  <a:pt x="22372618" y="2400410"/>
                </a:lnTo>
                <a:moveTo>
                  <a:pt x="22372618" y="2400410"/>
                </a:moveTo>
                <a:lnTo>
                  <a:pt x="21088510" y="2316226"/>
                </a:lnTo>
                <a:moveTo>
                  <a:pt x="20579240" y="10071342"/>
                </a:moveTo>
                <a:lnTo>
                  <a:pt x="20611018" y="9586909"/>
                </a:lnTo>
                <a:moveTo>
                  <a:pt x="20579240" y="10071342"/>
                </a:moveTo>
                <a:lnTo>
                  <a:pt x="19294974" y="9987158"/>
                </a:lnTo>
                <a:moveTo>
                  <a:pt x="21562380" y="6728766"/>
                </a:moveTo>
                <a:cubicBezTo>
                  <a:pt x="21551366" y="6897903"/>
                  <a:pt x="21513608" y="7106696"/>
                  <a:pt x="21415592" y="7277186"/>
                </a:cubicBezTo>
                <a:cubicBezTo>
                  <a:pt x="21613040" y="7231777"/>
                  <a:pt x="21816462" y="7233821"/>
                  <a:pt x="22074952" y="7250749"/>
                </a:cubicBezTo>
                <a:moveTo>
                  <a:pt x="20993010" y="3770469"/>
                </a:moveTo>
                <a:lnTo>
                  <a:pt x="21024790" y="3286052"/>
                </a:lnTo>
                <a:moveTo>
                  <a:pt x="20993010" y="3770469"/>
                </a:moveTo>
                <a:lnTo>
                  <a:pt x="19708746" y="3686286"/>
                </a:lnTo>
                <a:moveTo>
                  <a:pt x="20929294" y="4739792"/>
                </a:moveTo>
                <a:cubicBezTo>
                  <a:pt x="20917964" y="4912199"/>
                  <a:pt x="20908998" y="5049006"/>
                  <a:pt x="20995528" y="5199596"/>
                </a:cubicBezTo>
                <a:cubicBezTo>
                  <a:pt x="20674894" y="5140467"/>
                  <a:pt x="20423800" y="5069423"/>
                  <a:pt x="20097030" y="4955313"/>
                </a:cubicBezTo>
                <a:moveTo>
                  <a:pt x="20642800" y="9102019"/>
                </a:moveTo>
                <a:lnTo>
                  <a:pt x="20611018" y="9586925"/>
                </a:lnTo>
                <a:lnTo>
                  <a:pt x="19326754" y="9502741"/>
                </a:lnTo>
                <a:moveTo>
                  <a:pt x="20642800" y="9102019"/>
                </a:moveTo>
                <a:lnTo>
                  <a:pt x="19358692" y="9017836"/>
                </a:lnTo>
                <a:moveTo>
                  <a:pt x="20961230" y="4255359"/>
                </a:moveTo>
                <a:lnTo>
                  <a:pt x="20929294" y="4739792"/>
                </a:lnTo>
                <a:cubicBezTo>
                  <a:pt x="20497428" y="4711469"/>
                  <a:pt x="19951818" y="4635710"/>
                  <a:pt x="19750594" y="4599921"/>
                </a:cubicBezTo>
                <a:moveTo>
                  <a:pt x="20961230" y="4255359"/>
                </a:moveTo>
                <a:lnTo>
                  <a:pt x="20993010" y="3770454"/>
                </a:lnTo>
                <a:moveTo>
                  <a:pt x="20961230" y="4255359"/>
                </a:moveTo>
                <a:lnTo>
                  <a:pt x="19676964" y="4171175"/>
                </a:lnTo>
                <a:moveTo>
                  <a:pt x="21120288" y="1831808"/>
                </a:moveTo>
                <a:lnTo>
                  <a:pt x="21088510" y="2316226"/>
                </a:lnTo>
                <a:moveTo>
                  <a:pt x="21088510" y="2316226"/>
                </a:moveTo>
                <a:lnTo>
                  <a:pt x="21056728" y="2801131"/>
                </a:lnTo>
                <a:moveTo>
                  <a:pt x="21088510" y="2316226"/>
                </a:moveTo>
                <a:lnTo>
                  <a:pt x="19804244" y="2232058"/>
                </a:lnTo>
                <a:moveTo>
                  <a:pt x="21152226" y="1346888"/>
                </a:moveTo>
                <a:lnTo>
                  <a:pt x="21120288" y="1831793"/>
                </a:lnTo>
                <a:moveTo>
                  <a:pt x="21120288" y="1831793"/>
                </a:moveTo>
                <a:lnTo>
                  <a:pt x="19836180" y="1747609"/>
                </a:lnTo>
                <a:moveTo>
                  <a:pt x="21056728" y="2801131"/>
                </a:moveTo>
                <a:lnTo>
                  <a:pt x="21024790" y="3286020"/>
                </a:lnTo>
                <a:moveTo>
                  <a:pt x="21056728" y="2801131"/>
                </a:moveTo>
                <a:lnTo>
                  <a:pt x="19772464" y="2716963"/>
                </a:lnTo>
                <a:moveTo>
                  <a:pt x="21024790" y="3286020"/>
                </a:moveTo>
                <a:lnTo>
                  <a:pt x="19740684" y="3201853"/>
                </a:lnTo>
                <a:moveTo>
                  <a:pt x="21488592" y="6165430"/>
                </a:moveTo>
                <a:cubicBezTo>
                  <a:pt x="21553254" y="6373877"/>
                  <a:pt x="21574808" y="6539981"/>
                  <a:pt x="21562380" y="6728310"/>
                </a:cubicBezTo>
                <a:lnTo>
                  <a:pt x="21184006" y="6703508"/>
                </a:lnTo>
                <a:moveTo>
                  <a:pt x="20674736" y="8617602"/>
                </a:moveTo>
                <a:lnTo>
                  <a:pt x="20690628" y="8375378"/>
                </a:lnTo>
                <a:cubicBezTo>
                  <a:pt x="20698494" y="8254037"/>
                  <a:pt x="20800442" y="8170860"/>
                  <a:pt x="20800442" y="8170860"/>
                </a:cubicBezTo>
                <a:moveTo>
                  <a:pt x="21113838" y="7756165"/>
                </a:moveTo>
                <a:cubicBezTo>
                  <a:pt x="21242846" y="7593346"/>
                  <a:pt x="21324500" y="7452846"/>
                  <a:pt x="21415434" y="7276714"/>
                </a:cubicBezTo>
                <a:moveTo>
                  <a:pt x="20579240" y="10071342"/>
                </a:moveTo>
                <a:lnTo>
                  <a:pt x="20547302" y="10556248"/>
                </a:lnTo>
                <a:lnTo>
                  <a:pt x="19263194" y="10472064"/>
                </a:lnTo>
                <a:moveTo>
                  <a:pt x="20800442" y="8170372"/>
                </a:moveTo>
                <a:cubicBezTo>
                  <a:pt x="20889804" y="8068003"/>
                  <a:pt x="20956826" y="7973588"/>
                  <a:pt x="21113838" y="7756149"/>
                </a:cubicBezTo>
                <a:moveTo>
                  <a:pt x="20096558" y="4954825"/>
                </a:moveTo>
                <a:cubicBezTo>
                  <a:pt x="20285824" y="5109314"/>
                  <a:pt x="20403504" y="5216320"/>
                  <a:pt x="20568856" y="5391367"/>
                </a:cubicBezTo>
                <a:cubicBezTo>
                  <a:pt x="20241144" y="5252722"/>
                  <a:pt x="19875826" y="5134682"/>
                  <a:pt x="19539460" y="4997829"/>
                </a:cubicBezTo>
                <a:moveTo>
                  <a:pt x="19676964" y="4170719"/>
                </a:moveTo>
                <a:cubicBezTo>
                  <a:pt x="19667526" y="4307494"/>
                  <a:pt x="19655726" y="4494000"/>
                  <a:pt x="19750594" y="4599953"/>
                </a:cubicBezTo>
                <a:cubicBezTo>
                  <a:pt x="19382132" y="4537695"/>
                  <a:pt x="18960654" y="4463020"/>
                  <a:pt x="18586528" y="4366498"/>
                </a:cubicBezTo>
                <a:moveTo>
                  <a:pt x="20097188" y="4954857"/>
                </a:moveTo>
                <a:cubicBezTo>
                  <a:pt x="19977620" y="4860912"/>
                  <a:pt x="19850498" y="4709552"/>
                  <a:pt x="19751068" y="4599984"/>
                </a:cubicBezTo>
                <a:moveTo>
                  <a:pt x="19772464" y="2716947"/>
                </a:moveTo>
                <a:lnTo>
                  <a:pt x="19740684" y="3201853"/>
                </a:lnTo>
                <a:lnTo>
                  <a:pt x="18456576" y="3117669"/>
                </a:lnTo>
                <a:moveTo>
                  <a:pt x="20922686" y="7397316"/>
                </a:moveTo>
                <a:cubicBezTo>
                  <a:pt x="21042884" y="7204287"/>
                  <a:pt x="21160722" y="7057673"/>
                  <a:pt x="21184006" y="6703963"/>
                </a:cubicBezTo>
                <a:moveTo>
                  <a:pt x="19877714" y="8295752"/>
                </a:moveTo>
                <a:cubicBezTo>
                  <a:pt x="20050460" y="8157924"/>
                  <a:pt x="20215812" y="8074651"/>
                  <a:pt x="20403032" y="7924611"/>
                </a:cubicBezTo>
                <a:moveTo>
                  <a:pt x="19740684" y="3201853"/>
                </a:moveTo>
                <a:lnTo>
                  <a:pt x="19708746" y="3686286"/>
                </a:lnTo>
                <a:moveTo>
                  <a:pt x="19708746" y="3686286"/>
                </a:moveTo>
                <a:lnTo>
                  <a:pt x="18424638" y="3602118"/>
                </a:lnTo>
                <a:moveTo>
                  <a:pt x="19804244" y="2232042"/>
                </a:moveTo>
                <a:lnTo>
                  <a:pt x="19772464" y="2716947"/>
                </a:lnTo>
                <a:lnTo>
                  <a:pt x="18488356" y="2632764"/>
                </a:lnTo>
                <a:moveTo>
                  <a:pt x="19804244" y="2232042"/>
                </a:moveTo>
                <a:lnTo>
                  <a:pt x="19836180" y="1747625"/>
                </a:lnTo>
                <a:moveTo>
                  <a:pt x="19804244" y="2232042"/>
                </a:moveTo>
                <a:lnTo>
                  <a:pt x="18520136" y="2147874"/>
                </a:lnTo>
                <a:moveTo>
                  <a:pt x="19676964" y="4171175"/>
                </a:moveTo>
                <a:cubicBezTo>
                  <a:pt x="19687664" y="4009535"/>
                  <a:pt x="19698206" y="3847910"/>
                  <a:pt x="19708902" y="3686270"/>
                </a:cubicBezTo>
                <a:moveTo>
                  <a:pt x="19676964" y="4171175"/>
                </a:moveTo>
                <a:lnTo>
                  <a:pt x="19344218" y="4149359"/>
                </a:lnTo>
                <a:cubicBezTo>
                  <a:pt x="19030190" y="4128769"/>
                  <a:pt x="18716954" y="4102584"/>
                  <a:pt x="18402454" y="4077278"/>
                </a:cubicBezTo>
                <a:moveTo>
                  <a:pt x="19326754" y="9502725"/>
                </a:moveTo>
                <a:lnTo>
                  <a:pt x="19294974" y="9987158"/>
                </a:lnTo>
                <a:lnTo>
                  <a:pt x="18010866" y="9902991"/>
                </a:lnTo>
                <a:moveTo>
                  <a:pt x="19263194" y="10472064"/>
                </a:moveTo>
                <a:lnTo>
                  <a:pt x="19294974" y="9987175"/>
                </a:lnTo>
                <a:moveTo>
                  <a:pt x="19263194" y="10472064"/>
                </a:moveTo>
                <a:lnTo>
                  <a:pt x="17978928" y="10387896"/>
                </a:lnTo>
                <a:moveTo>
                  <a:pt x="19326754" y="9502741"/>
                </a:moveTo>
                <a:lnTo>
                  <a:pt x="19358692" y="9017852"/>
                </a:lnTo>
                <a:moveTo>
                  <a:pt x="19326754" y="9502741"/>
                </a:moveTo>
                <a:lnTo>
                  <a:pt x="18042646" y="9418573"/>
                </a:lnTo>
                <a:moveTo>
                  <a:pt x="19358692" y="9017852"/>
                </a:moveTo>
                <a:cubicBezTo>
                  <a:pt x="19367502" y="8882444"/>
                  <a:pt x="19337452" y="8684260"/>
                  <a:pt x="19487700" y="8601900"/>
                </a:cubicBezTo>
                <a:moveTo>
                  <a:pt x="19358692" y="9017852"/>
                </a:moveTo>
                <a:lnTo>
                  <a:pt x="18082764" y="8945975"/>
                </a:lnTo>
                <a:moveTo>
                  <a:pt x="21015666" y="5981974"/>
                </a:moveTo>
                <a:cubicBezTo>
                  <a:pt x="21113838" y="6157335"/>
                  <a:pt x="21203358" y="6410232"/>
                  <a:pt x="21184006" y="6703508"/>
                </a:cubicBezTo>
                <a:moveTo>
                  <a:pt x="21015666" y="5981974"/>
                </a:moveTo>
                <a:cubicBezTo>
                  <a:pt x="20703056" y="5825033"/>
                  <a:pt x="20571532" y="5764661"/>
                  <a:pt x="20273552" y="5643966"/>
                </a:cubicBezTo>
                <a:moveTo>
                  <a:pt x="21184006" y="6703508"/>
                </a:moveTo>
                <a:lnTo>
                  <a:pt x="20666240" y="6669558"/>
                </a:lnTo>
                <a:moveTo>
                  <a:pt x="19487700" y="8602388"/>
                </a:moveTo>
                <a:cubicBezTo>
                  <a:pt x="19601290" y="8504435"/>
                  <a:pt x="19769788" y="8374308"/>
                  <a:pt x="19877244" y="8295720"/>
                </a:cubicBezTo>
                <a:moveTo>
                  <a:pt x="20922686" y="7397331"/>
                </a:moveTo>
                <a:cubicBezTo>
                  <a:pt x="20780304" y="7593613"/>
                  <a:pt x="20608818" y="7770578"/>
                  <a:pt x="20402560" y="7924564"/>
                </a:cubicBezTo>
                <a:cubicBezTo>
                  <a:pt x="20069340" y="8014705"/>
                  <a:pt x="19734546" y="8098637"/>
                  <a:pt x="19330530" y="8180368"/>
                </a:cubicBezTo>
                <a:moveTo>
                  <a:pt x="19867960" y="1262715"/>
                </a:moveTo>
                <a:lnTo>
                  <a:pt x="19836024" y="1747609"/>
                </a:lnTo>
                <a:lnTo>
                  <a:pt x="18551914" y="1663441"/>
                </a:lnTo>
                <a:moveTo>
                  <a:pt x="18583852" y="1178533"/>
                </a:moveTo>
                <a:lnTo>
                  <a:pt x="18551914" y="1663425"/>
                </a:lnTo>
                <a:moveTo>
                  <a:pt x="18551914" y="1663425"/>
                </a:moveTo>
                <a:lnTo>
                  <a:pt x="18520136" y="2147874"/>
                </a:lnTo>
                <a:moveTo>
                  <a:pt x="18551914" y="1663425"/>
                </a:moveTo>
                <a:lnTo>
                  <a:pt x="17267806" y="1579257"/>
                </a:lnTo>
                <a:moveTo>
                  <a:pt x="18586528" y="4366498"/>
                </a:moveTo>
                <a:cubicBezTo>
                  <a:pt x="18501886" y="4301647"/>
                  <a:pt x="18395532" y="4183639"/>
                  <a:pt x="18402610" y="4076822"/>
                </a:cubicBezTo>
                <a:moveTo>
                  <a:pt x="18586528" y="4366498"/>
                </a:moveTo>
                <a:cubicBezTo>
                  <a:pt x="18696814" y="4464058"/>
                  <a:pt x="18814652" y="4528233"/>
                  <a:pt x="18962698" y="4627804"/>
                </a:cubicBezTo>
                <a:moveTo>
                  <a:pt x="18586528" y="4366498"/>
                </a:moveTo>
                <a:cubicBezTo>
                  <a:pt x="18174328" y="4266063"/>
                  <a:pt x="17576012" y="4182618"/>
                  <a:pt x="17200786" y="4158019"/>
                </a:cubicBezTo>
                <a:moveTo>
                  <a:pt x="18488356" y="2632764"/>
                </a:moveTo>
                <a:lnTo>
                  <a:pt x="18456418" y="3117653"/>
                </a:lnTo>
                <a:lnTo>
                  <a:pt x="17172310" y="3033485"/>
                </a:lnTo>
                <a:moveTo>
                  <a:pt x="18488356" y="2632764"/>
                </a:moveTo>
                <a:lnTo>
                  <a:pt x="18520136" y="2147874"/>
                </a:lnTo>
                <a:moveTo>
                  <a:pt x="18488356" y="2632764"/>
                </a:moveTo>
                <a:lnTo>
                  <a:pt x="17204090" y="2548596"/>
                </a:lnTo>
                <a:moveTo>
                  <a:pt x="18424638" y="3602118"/>
                </a:moveTo>
                <a:cubicBezTo>
                  <a:pt x="18414252" y="3760002"/>
                  <a:pt x="18400566" y="3919096"/>
                  <a:pt x="18402454" y="4077310"/>
                </a:cubicBezTo>
                <a:cubicBezTo>
                  <a:pt x="18142862" y="4060303"/>
                  <a:pt x="17820972" y="3995420"/>
                  <a:pt x="17125426" y="3949824"/>
                </a:cubicBezTo>
                <a:moveTo>
                  <a:pt x="18424638" y="3602118"/>
                </a:moveTo>
                <a:lnTo>
                  <a:pt x="18456418" y="3117684"/>
                </a:lnTo>
                <a:moveTo>
                  <a:pt x="18424638" y="3602118"/>
                </a:moveTo>
                <a:lnTo>
                  <a:pt x="17140372" y="3517934"/>
                </a:lnTo>
                <a:moveTo>
                  <a:pt x="18520136" y="2147874"/>
                </a:moveTo>
                <a:lnTo>
                  <a:pt x="17236028" y="2063691"/>
                </a:lnTo>
                <a:moveTo>
                  <a:pt x="18962698" y="4627804"/>
                </a:moveTo>
                <a:cubicBezTo>
                  <a:pt x="18452484" y="4476271"/>
                  <a:pt x="17899478" y="4393438"/>
                  <a:pt x="17358900" y="4323180"/>
                </a:cubicBezTo>
                <a:moveTo>
                  <a:pt x="18962698" y="4627804"/>
                </a:moveTo>
                <a:cubicBezTo>
                  <a:pt x="19316844" y="4721607"/>
                  <a:pt x="19735176" y="4843136"/>
                  <a:pt x="20096558" y="4954825"/>
                </a:cubicBezTo>
                <a:moveTo>
                  <a:pt x="20273552" y="5643966"/>
                </a:moveTo>
                <a:cubicBezTo>
                  <a:pt x="20016636" y="5426213"/>
                  <a:pt x="19872838" y="5181521"/>
                  <a:pt x="19539618" y="4997813"/>
                </a:cubicBezTo>
                <a:moveTo>
                  <a:pt x="20273552" y="5643966"/>
                </a:moveTo>
                <a:cubicBezTo>
                  <a:pt x="20516466" y="5929492"/>
                  <a:pt x="20651138" y="6314747"/>
                  <a:pt x="20666240" y="6669558"/>
                </a:cubicBezTo>
                <a:moveTo>
                  <a:pt x="20273552" y="5643966"/>
                </a:moveTo>
                <a:cubicBezTo>
                  <a:pt x="19906822" y="5476415"/>
                  <a:pt x="18967574" y="5169246"/>
                  <a:pt x="18261016" y="5022238"/>
                </a:cubicBezTo>
                <a:moveTo>
                  <a:pt x="18710344" y="8471883"/>
                </a:moveTo>
                <a:cubicBezTo>
                  <a:pt x="18556478" y="8541324"/>
                  <a:pt x="18429358" y="8603095"/>
                  <a:pt x="18303180" y="8681872"/>
                </a:cubicBezTo>
                <a:cubicBezTo>
                  <a:pt x="18818744" y="8637092"/>
                  <a:pt x="19114518" y="8613672"/>
                  <a:pt x="19487858" y="8602371"/>
                </a:cubicBezTo>
                <a:moveTo>
                  <a:pt x="20666084" y="6669542"/>
                </a:moveTo>
                <a:cubicBezTo>
                  <a:pt x="20601894" y="7064322"/>
                  <a:pt x="20421124" y="7381850"/>
                  <a:pt x="20142814" y="7635092"/>
                </a:cubicBezTo>
                <a:cubicBezTo>
                  <a:pt x="19912798" y="7819036"/>
                  <a:pt x="19631970" y="8035893"/>
                  <a:pt x="19330530" y="8179866"/>
                </a:cubicBezTo>
                <a:moveTo>
                  <a:pt x="18710188" y="8471868"/>
                </a:moveTo>
                <a:cubicBezTo>
                  <a:pt x="18917546" y="8365491"/>
                  <a:pt x="19136072" y="8285692"/>
                  <a:pt x="19330530" y="8179881"/>
                </a:cubicBezTo>
                <a:cubicBezTo>
                  <a:pt x="18705310" y="8351566"/>
                  <a:pt x="18042646" y="8354253"/>
                  <a:pt x="17402166" y="8385201"/>
                </a:cubicBezTo>
                <a:moveTo>
                  <a:pt x="18082764" y="8945975"/>
                </a:moveTo>
                <a:cubicBezTo>
                  <a:pt x="18090788" y="8781819"/>
                  <a:pt x="18303180" y="8681400"/>
                  <a:pt x="18303180" y="8681400"/>
                </a:cubicBezTo>
                <a:moveTo>
                  <a:pt x="18082764" y="8945975"/>
                </a:moveTo>
                <a:cubicBezTo>
                  <a:pt x="18062312" y="9102727"/>
                  <a:pt x="18053030" y="9261161"/>
                  <a:pt x="18042646" y="9418573"/>
                </a:cubicBezTo>
                <a:moveTo>
                  <a:pt x="18082764" y="8945975"/>
                </a:moveTo>
                <a:lnTo>
                  <a:pt x="16799444" y="8904669"/>
                </a:lnTo>
                <a:moveTo>
                  <a:pt x="17978928" y="10387896"/>
                </a:moveTo>
                <a:lnTo>
                  <a:pt x="18010866" y="9902991"/>
                </a:lnTo>
                <a:moveTo>
                  <a:pt x="17978928" y="10387896"/>
                </a:moveTo>
                <a:lnTo>
                  <a:pt x="16694821" y="10303712"/>
                </a:lnTo>
                <a:moveTo>
                  <a:pt x="18010866" y="9902991"/>
                </a:moveTo>
                <a:lnTo>
                  <a:pt x="18042646" y="9418558"/>
                </a:lnTo>
                <a:lnTo>
                  <a:pt x="16758537" y="9334389"/>
                </a:lnTo>
                <a:moveTo>
                  <a:pt x="18010866" y="9902991"/>
                </a:moveTo>
                <a:lnTo>
                  <a:pt x="16726601" y="9818807"/>
                </a:lnTo>
                <a:moveTo>
                  <a:pt x="20666240" y="6669558"/>
                </a:moveTo>
                <a:lnTo>
                  <a:pt x="18998410" y="6560226"/>
                </a:lnTo>
                <a:cubicBezTo>
                  <a:pt x="19071410" y="6022981"/>
                  <a:pt x="18680766" y="5479810"/>
                  <a:pt x="18261646" y="5022270"/>
                </a:cubicBezTo>
                <a:cubicBezTo>
                  <a:pt x="17022690" y="4759439"/>
                  <a:pt x="15696104" y="4672474"/>
                  <a:pt x="14385738" y="4808195"/>
                </a:cubicBezTo>
                <a:cubicBezTo>
                  <a:pt x="13764185" y="4875200"/>
                  <a:pt x="13115098" y="5020855"/>
                  <a:pt x="12486354" y="5165033"/>
                </a:cubicBezTo>
                <a:moveTo>
                  <a:pt x="18962698" y="4628276"/>
                </a:moveTo>
                <a:cubicBezTo>
                  <a:pt x="19153850" y="4751848"/>
                  <a:pt x="19357590" y="4863537"/>
                  <a:pt x="19539460" y="4998269"/>
                </a:cubicBezTo>
                <a:cubicBezTo>
                  <a:pt x="18914556" y="4832621"/>
                  <a:pt x="18305540" y="4612024"/>
                  <a:pt x="17654520" y="4542992"/>
                </a:cubicBezTo>
                <a:moveTo>
                  <a:pt x="16758537" y="9334389"/>
                </a:moveTo>
                <a:cubicBezTo>
                  <a:pt x="16767978" y="9190557"/>
                  <a:pt x="16773642" y="9046490"/>
                  <a:pt x="16800072" y="8904700"/>
                </a:cubicBezTo>
                <a:moveTo>
                  <a:pt x="16758537" y="9334389"/>
                </a:moveTo>
                <a:lnTo>
                  <a:pt x="16726601" y="9818807"/>
                </a:lnTo>
                <a:moveTo>
                  <a:pt x="16758537" y="9334389"/>
                </a:moveTo>
                <a:lnTo>
                  <a:pt x="15474273" y="9250206"/>
                </a:lnTo>
                <a:moveTo>
                  <a:pt x="16726601" y="9818807"/>
                </a:moveTo>
                <a:lnTo>
                  <a:pt x="16694821" y="10303712"/>
                </a:lnTo>
                <a:lnTo>
                  <a:pt x="15410602" y="10219528"/>
                </a:lnTo>
                <a:moveTo>
                  <a:pt x="17267806" y="1579257"/>
                </a:moveTo>
                <a:lnTo>
                  <a:pt x="17236028" y="2063691"/>
                </a:lnTo>
                <a:moveTo>
                  <a:pt x="17267806" y="1579257"/>
                </a:moveTo>
                <a:lnTo>
                  <a:pt x="17299588" y="1094351"/>
                </a:lnTo>
                <a:moveTo>
                  <a:pt x="17267806" y="1579257"/>
                </a:moveTo>
                <a:lnTo>
                  <a:pt x="15983542" y="1495075"/>
                </a:lnTo>
                <a:moveTo>
                  <a:pt x="17236028" y="2063691"/>
                </a:moveTo>
                <a:lnTo>
                  <a:pt x="17204090" y="2548596"/>
                </a:lnTo>
                <a:moveTo>
                  <a:pt x="17236028" y="2063691"/>
                </a:moveTo>
                <a:lnTo>
                  <a:pt x="15951762" y="1979523"/>
                </a:lnTo>
                <a:moveTo>
                  <a:pt x="16799444" y="8904669"/>
                </a:moveTo>
                <a:cubicBezTo>
                  <a:pt x="16806208" y="8803479"/>
                  <a:pt x="16902020" y="8707648"/>
                  <a:pt x="16902020" y="8707648"/>
                </a:cubicBezTo>
                <a:cubicBezTo>
                  <a:pt x="17401064" y="8736600"/>
                  <a:pt x="17938966" y="8716811"/>
                  <a:pt x="18303180" y="8681872"/>
                </a:cubicBezTo>
                <a:moveTo>
                  <a:pt x="16799444" y="8904669"/>
                </a:moveTo>
                <a:lnTo>
                  <a:pt x="15487866" y="8816367"/>
                </a:lnTo>
                <a:moveTo>
                  <a:pt x="17204090" y="2548596"/>
                </a:moveTo>
                <a:lnTo>
                  <a:pt x="15919982" y="2464396"/>
                </a:lnTo>
                <a:moveTo>
                  <a:pt x="17172310" y="3033501"/>
                </a:moveTo>
                <a:lnTo>
                  <a:pt x="17140372" y="3517934"/>
                </a:lnTo>
                <a:moveTo>
                  <a:pt x="17140372" y="3517934"/>
                </a:moveTo>
                <a:lnTo>
                  <a:pt x="15856264" y="3433766"/>
                </a:lnTo>
                <a:moveTo>
                  <a:pt x="16726601" y="9818807"/>
                </a:moveTo>
                <a:lnTo>
                  <a:pt x="15442492" y="9734623"/>
                </a:lnTo>
                <a:moveTo>
                  <a:pt x="17204090" y="2548580"/>
                </a:moveTo>
                <a:lnTo>
                  <a:pt x="17172310" y="3033485"/>
                </a:lnTo>
                <a:lnTo>
                  <a:pt x="15888202" y="2949301"/>
                </a:lnTo>
                <a:moveTo>
                  <a:pt x="17402166" y="8385673"/>
                </a:moveTo>
                <a:cubicBezTo>
                  <a:pt x="17653260" y="8263326"/>
                  <a:pt x="17771570" y="8190160"/>
                  <a:pt x="18066716" y="7989305"/>
                </a:cubicBezTo>
                <a:cubicBezTo>
                  <a:pt x="18542318" y="7588065"/>
                  <a:pt x="18944448" y="7143900"/>
                  <a:pt x="18998254" y="6560697"/>
                </a:cubicBezTo>
                <a:moveTo>
                  <a:pt x="16901864" y="8707648"/>
                </a:moveTo>
                <a:cubicBezTo>
                  <a:pt x="16967942" y="8634813"/>
                  <a:pt x="17080274" y="8564539"/>
                  <a:pt x="17080274" y="8564539"/>
                </a:cubicBezTo>
                <a:cubicBezTo>
                  <a:pt x="17222026" y="8475483"/>
                  <a:pt x="17402166" y="8385201"/>
                  <a:pt x="17402166" y="8385201"/>
                </a:cubicBezTo>
                <a:moveTo>
                  <a:pt x="17200630" y="4158019"/>
                </a:moveTo>
                <a:cubicBezTo>
                  <a:pt x="17171838" y="4110489"/>
                  <a:pt x="17138798" y="4037748"/>
                  <a:pt x="17124954" y="3949321"/>
                </a:cubicBezTo>
                <a:moveTo>
                  <a:pt x="17140530" y="3517934"/>
                </a:moveTo>
                <a:cubicBezTo>
                  <a:pt x="17131562" y="3614268"/>
                  <a:pt x="17115514" y="3840963"/>
                  <a:pt x="17125426" y="3949352"/>
                </a:cubicBezTo>
                <a:moveTo>
                  <a:pt x="17201730" y="4158098"/>
                </a:moveTo>
                <a:cubicBezTo>
                  <a:pt x="17261516" y="4239657"/>
                  <a:pt x="17302262" y="4282802"/>
                  <a:pt x="17358742" y="4323196"/>
                </a:cubicBezTo>
                <a:cubicBezTo>
                  <a:pt x="16736670" y="4270652"/>
                  <a:pt x="16113494" y="4230729"/>
                  <a:pt x="15489707" y="4211020"/>
                </a:cubicBezTo>
                <a:moveTo>
                  <a:pt x="17654676" y="4542552"/>
                </a:moveTo>
                <a:cubicBezTo>
                  <a:pt x="17526770" y="4444772"/>
                  <a:pt x="17463050" y="4407663"/>
                  <a:pt x="17359372" y="4322756"/>
                </a:cubicBezTo>
                <a:moveTo>
                  <a:pt x="18261488" y="5022254"/>
                </a:moveTo>
                <a:cubicBezTo>
                  <a:pt x="18060580" y="4859467"/>
                  <a:pt x="17900422" y="4703092"/>
                  <a:pt x="17654520" y="4542536"/>
                </a:cubicBezTo>
                <a:moveTo>
                  <a:pt x="10846386" y="1158336"/>
                </a:moveTo>
                <a:lnTo>
                  <a:pt x="10814575" y="1642772"/>
                </a:lnTo>
                <a:moveTo>
                  <a:pt x="10846386" y="1158336"/>
                </a:moveTo>
                <a:lnTo>
                  <a:pt x="10878229" y="673426"/>
                </a:lnTo>
                <a:moveTo>
                  <a:pt x="10846386" y="1158336"/>
                </a:moveTo>
                <a:lnTo>
                  <a:pt x="9562215" y="1074149"/>
                </a:lnTo>
                <a:moveTo>
                  <a:pt x="10846386" y="1158336"/>
                </a:moveTo>
                <a:lnTo>
                  <a:pt x="12130541" y="1242500"/>
                </a:lnTo>
                <a:moveTo>
                  <a:pt x="10814575" y="1642772"/>
                </a:moveTo>
                <a:lnTo>
                  <a:pt x="10782701" y="2127677"/>
                </a:lnTo>
                <a:moveTo>
                  <a:pt x="10814575" y="1642772"/>
                </a:moveTo>
                <a:lnTo>
                  <a:pt x="12098730" y="1726956"/>
                </a:lnTo>
                <a:moveTo>
                  <a:pt x="10814575" y="1642772"/>
                </a:moveTo>
                <a:lnTo>
                  <a:pt x="9530388" y="1558589"/>
                </a:lnTo>
                <a:moveTo>
                  <a:pt x="10305289" y="9397889"/>
                </a:moveTo>
                <a:lnTo>
                  <a:pt x="10273446" y="9882778"/>
                </a:lnTo>
                <a:lnTo>
                  <a:pt x="8989260" y="9798610"/>
                </a:lnTo>
                <a:moveTo>
                  <a:pt x="10555692" y="5519827"/>
                </a:moveTo>
                <a:cubicBezTo>
                  <a:pt x="10544160" y="5695519"/>
                  <a:pt x="10517886" y="5844350"/>
                  <a:pt x="10507424" y="6003648"/>
                </a:cubicBezTo>
                <a:moveTo>
                  <a:pt x="10555614" y="5519341"/>
                </a:moveTo>
                <a:cubicBezTo>
                  <a:pt x="10555614" y="5519341"/>
                  <a:pt x="10567822" y="5399226"/>
                  <a:pt x="10575783" y="5277870"/>
                </a:cubicBezTo>
                <a:lnTo>
                  <a:pt x="10591688" y="5035661"/>
                </a:lnTo>
                <a:cubicBezTo>
                  <a:pt x="10832070" y="5051426"/>
                  <a:pt x="11198942" y="5080645"/>
                  <a:pt x="11548855" y="5027347"/>
                </a:cubicBezTo>
                <a:moveTo>
                  <a:pt x="10337085" y="8913455"/>
                </a:moveTo>
                <a:lnTo>
                  <a:pt x="10305258" y="9397889"/>
                </a:lnTo>
                <a:lnTo>
                  <a:pt x="9021087" y="9313705"/>
                </a:lnTo>
                <a:moveTo>
                  <a:pt x="10337085" y="8913455"/>
                </a:moveTo>
                <a:lnTo>
                  <a:pt x="10368913" y="8428566"/>
                </a:lnTo>
                <a:moveTo>
                  <a:pt x="10337085" y="8913455"/>
                </a:moveTo>
                <a:lnTo>
                  <a:pt x="9052883" y="8829287"/>
                </a:lnTo>
                <a:moveTo>
                  <a:pt x="10464347" y="6974794"/>
                </a:moveTo>
                <a:lnTo>
                  <a:pt x="10432536" y="7459228"/>
                </a:lnTo>
                <a:lnTo>
                  <a:pt x="9148365" y="7375059"/>
                </a:lnTo>
                <a:lnTo>
                  <a:pt x="9116522" y="7859965"/>
                </a:lnTo>
                <a:moveTo>
                  <a:pt x="10782731" y="2127662"/>
                </a:moveTo>
                <a:lnTo>
                  <a:pt x="10750888" y="2612551"/>
                </a:lnTo>
                <a:moveTo>
                  <a:pt x="10750888" y="2612551"/>
                </a:moveTo>
                <a:lnTo>
                  <a:pt x="12035043" y="2696735"/>
                </a:lnTo>
                <a:moveTo>
                  <a:pt x="10750888" y="2612551"/>
                </a:moveTo>
                <a:lnTo>
                  <a:pt x="9466717" y="2528383"/>
                </a:lnTo>
                <a:moveTo>
                  <a:pt x="10687250" y="3581905"/>
                </a:moveTo>
                <a:lnTo>
                  <a:pt x="10655422" y="4066339"/>
                </a:lnTo>
                <a:moveTo>
                  <a:pt x="10687250" y="3581905"/>
                </a:moveTo>
                <a:lnTo>
                  <a:pt x="10719077" y="3096984"/>
                </a:lnTo>
                <a:moveTo>
                  <a:pt x="10687250" y="3581905"/>
                </a:moveTo>
                <a:lnTo>
                  <a:pt x="9403063" y="3497721"/>
                </a:lnTo>
                <a:moveTo>
                  <a:pt x="10655422" y="4066339"/>
                </a:moveTo>
                <a:lnTo>
                  <a:pt x="9371251" y="3982155"/>
                </a:lnTo>
                <a:moveTo>
                  <a:pt x="10655422" y="4066339"/>
                </a:moveTo>
                <a:lnTo>
                  <a:pt x="11939593" y="4150506"/>
                </a:lnTo>
                <a:moveTo>
                  <a:pt x="10368881" y="8428566"/>
                </a:moveTo>
                <a:lnTo>
                  <a:pt x="10400693" y="7944132"/>
                </a:lnTo>
                <a:lnTo>
                  <a:pt x="11684864" y="8028316"/>
                </a:lnTo>
                <a:moveTo>
                  <a:pt x="10368881" y="8428566"/>
                </a:moveTo>
                <a:lnTo>
                  <a:pt x="11653068" y="8512733"/>
                </a:lnTo>
                <a:moveTo>
                  <a:pt x="10368881" y="8428566"/>
                </a:moveTo>
                <a:lnTo>
                  <a:pt x="9084726" y="8344382"/>
                </a:lnTo>
                <a:moveTo>
                  <a:pt x="10491817" y="6490549"/>
                </a:moveTo>
                <a:cubicBezTo>
                  <a:pt x="10491817" y="6490549"/>
                  <a:pt x="10488198" y="6611245"/>
                  <a:pt x="10480222" y="6732585"/>
                </a:cubicBezTo>
                <a:lnTo>
                  <a:pt x="10464317" y="6974794"/>
                </a:lnTo>
                <a:lnTo>
                  <a:pt x="9180145" y="6890626"/>
                </a:lnTo>
                <a:moveTo>
                  <a:pt x="10507361" y="6003632"/>
                </a:moveTo>
                <a:cubicBezTo>
                  <a:pt x="10493548" y="6213997"/>
                  <a:pt x="10503444" y="6314386"/>
                  <a:pt x="10491943" y="6489606"/>
                </a:cubicBezTo>
                <a:cubicBezTo>
                  <a:pt x="10491943" y="6489606"/>
                  <a:pt x="10353966" y="6480568"/>
                  <a:pt x="10163458" y="6468073"/>
                </a:cubicBezTo>
                <a:lnTo>
                  <a:pt x="9212005" y="6405705"/>
                </a:lnTo>
                <a:moveTo>
                  <a:pt x="10507361" y="6003632"/>
                </a:moveTo>
                <a:lnTo>
                  <a:pt x="9243879" y="5920832"/>
                </a:lnTo>
                <a:moveTo>
                  <a:pt x="10507361" y="6003632"/>
                </a:moveTo>
                <a:lnTo>
                  <a:pt x="11123456" y="6044043"/>
                </a:lnTo>
                <a:moveTo>
                  <a:pt x="10782701" y="2127677"/>
                </a:moveTo>
                <a:lnTo>
                  <a:pt x="12066887" y="2211845"/>
                </a:lnTo>
                <a:moveTo>
                  <a:pt x="10782701" y="2127677"/>
                </a:moveTo>
                <a:lnTo>
                  <a:pt x="9498529" y="2043493"/>
                </a:lnTo>
                <a:moveTo>
                  <a:pt x="10750841" y="2612582"/>
                </a:moveTo>
                <a:lnTo>
                  <a:pt x="10719029" y="3097016"/>
                </a:lnTo>
                <a:lnTo>
                  <a:pt x="9434859" y="3012832"/>
                </a:lnTo>
                <a:moveTo>
                  <a:pt x="10623563" y="4551244"/>
                </a:moveTo>
                <a:lnTo>
                  <a:pt x="10591752" y="5035661"/>
                </a:lnTo>
                <a:lnTo>
                  <a:pt x="9307550" y="4951493"/>
                </a:lnTo>
                <a:lnTo>
                  <a:pt x="9275706" y="5436398"/>
                </a:lnTo>
                <a:moveTo>
                  <a:pt x="10623563" y="4551244"/>
                </a:moveTo>
                <a:lnTo>
                  <a:pt x="10655390" y="4066339"/>
                </a:lnTo>
                <a:moveTo>
                  <a:pt x="10623563" y="4551244"/>
                </a:moveTo>
                <a:lnTo>
                  <a:pt x="9339392" y="4467060"/>
                </a:lnTo>
                <a:moveTo>
                  <a:pt x="10432504" y="7459228"/>
                </a:moveTo>
                <a:lnTo>
                  <a:pt x="10400662" y="7944132"/>
                </a:lnTo>
                <a:lnTo>
                  <a:pt x="9116475" y="7859949"/>
                </a:lnTo>
                <a:moveTo>
                  <a:pt x="5662142" y="1780254"/>
                </a:moveTo>
                <a:cubicBezTo>
                  <a:pt x="5661451" y="2001826"/>
                  <a:pt x="5657045" y="2068815"/>
                  <a:pt x="5658194" y="2262267"/>
                </a:cubicBezTo>
                <a:moveTo>
                  <a:pt x="5662142" y="1780254"/>
                </a:moveTo>
                <a:cubicBezTo>
                  <a:pt x="5366902" y="1715262"/>
                  <a:pt x="4894730" y="1114507"/>
                  <a:pt x="4402830" y="1082261"/>
                </a:cubicBezTo>
                <a:moveTo>
                  <a:pt x="5662142" y="1780254"/>
                </a:moveTo>
                <a:cubicBezTo>
                  <a:pt x="5753786" y="1805088"/>
                  <a:pt x="6336921" y="1836241"/>
                  <a:pt x="6479129" y="1845561"/>
                </a:cubicBezTo>
                <a:lnTo>
                  <a:pt x="6930187" y="1875142"/>
                </a:lnTo>
                <a:moveTo>
                  <a:pt x="5658194" y="2262267"/>
                </a:moveTo>
                <a:cubicBezTo>
                  <a:pt x="5209165" y="2055926"/>
                  <a:pt x="4912304" y="1707105"/>
                  <a:pt x="4366723" y="1631817"/>
                </a:cubicBezTo>
                <a:moveTo>
                  <a:pt x="5658194" y="2262267"/>
                </a:moveTo>
                <a:cubicBezTo>
                  <a:pt x="5740618" y="2281333"/>
                  <a:pt x="5827447" y="2289821"/>
                  <a:pt x="5911822" y="2295353"/>
                </a:cubicBezTo>
                <a:lnTo>
                  <a:pt x="6898297" y="2360015"/>
                </a:lnTo>
                <a:lnTo>
                  <a:pt x="6930156" y="1875126"/>
                </a:lnTo>
                <a:moveTo>
                  <a:pt x="5455005" y="4698958"/>
                </a:moveTo>
                <a:lnTo>
                  <a:pt x="5486817" y="4214524"/>
                </a:lnTo>
                <a:lnTo>
                  <a:pt x="6771003" y="4298708"/>
                </a:lnTo>
                <a:moveTo>
                  <a:pt x="5455005" y="4698958"/>
                </a:moveTo>
                <a:lnTo>
                  <a:pt x="6739176" y="4783142"/>
                </a:lnTo>
                <a:moveTo>
                  <a:pt x="5455005" y="4698958"/>
                </a:moveTo>
                <a:lnTo>
                  <a:pt x="5254428" y="4685802"/>
                </a:lnTo>
                <a:cubicBezTo>
                  <a:pt x="4865467" y="4660308"/>
                  <a:pt x="4587831" y="4887224"/>
                  <a:pt x="4154818" y="4858838"/>
                </a:cubicBezTo>
                <a:moveTo>
                  <a:pt x="5455005" y="4698958"/>
                </a:moveTo>
                <a:lnTo>
                  <a:pt x="5391335" y="5668281"/>
                </a:lnTo>
                <a:lnTo>
                  <a:pt x="4107179" y="5584097"/>
                </a:lnTo>
                <a:moveTo>
                  <a:pt x="5200355" y="8576736"/>
                </a:moveTo>
                <a:lnTo>
                  <a:pt x="5168543" y="9061169"/>
                </a:lnTo>
                <a:lnTo>
                  <a:pt x="3884356" y="8976986"/>
                </a:lnTo>
                <a:moveTo>
                  <a:pt x="5200355" y="8576736"/>
                </a:moveTo>
                <a:lnTo>
                  <a:pt x="5232197" y="8091847"/>
                </a:lnTo>
                <a:moveTo>
                  <a:pt x="5200355" y="8576736"/>
                </a:moveTo>
                <a:lnTo>
                  <a:pt x="3916184" y="8492568"/>
                </a:lnTo>
                <a:moveTo>
                  <a:pt x="5658225" y="2262283"/>
                </a:moveTo>
                <a:cubicBezTo>
                  <a:pt x="5658194" y="2449087"/>
                  <a:pt x="5652908" y="2602602"/>
                  <a:pt x="5637521" y="2763912"/>
                </a:cubicBezTo>
                <a:lnTo>
                  <a:pt x="6866517" y="2844465"/>
                </a:lnTo>
                <a:moveTo>
                  <a:pt x="5592415" y="3263937"/>
                </a:moveTo>
                <a:cubicBezTo>
                  <a:pt x="5613214" y="3060614"/>
                  <a:pt x="5631338" y="2930534"/>
                  <a:pt x="5637489" y="2763896"/>
                </a:cubicBezTo>
                <a:lnTo>
                  <a:pt x="4298128" y="2676113"/>
                </a:lnTo>
                <a:moveTo>
                  <a:pt x="5592415" y="3263937"/>
                </a:moveTo>
                <a:cubicBezTo>
                  <a:pt x="5579797" y="3456022"/>
                  <a:pt x="5550314" y="3580648"/>
                  <a:pt x="5533291" y="3742335"/>
                </a:cubicBezTo>
                <a:moveTo>
                  <a:pt x="5592415" y="3263937"/>
                </a:moveTo>
                <a:cubicBezTo>
                  <a:pt x="5662882" y="3261957"/>
                  <a:pt x="5679433" y="3253171"/>
                  <a:pt x="5848183" y="3264220"/>
                </a:cubicBezTo>
                <a:lnTo>
                  <a:pt x="6834674" y="3328898"/>
                </a:lnTo>
                <a:moveTo>
                  <a:pt x="5709640" y="821626"/>
                </a:moveTo>
                <a:lnTo>
                  <a:pt x="5677828" y="1306056"/>
                </a:lnTo>
                <a:lnTo>
                  <a:pt x="5622638" y="1302440"/>
                </a:lnTo>
                <a:cubicBezTo>
                  <a:pt x="5587616" y="1300143"/>
                  <a:pt x="5549244" y="1283984"/>
                  <a:pt x="5501527" y="1263917"/>
                </a:cubicBezTo>
                <a:cubicBezTo>
                  <a:pt x="5167678" y="1064647"/>
                  <a:pt x="4864665" y="809525"/>
                  <a:pt x="4424446" y="752908"/>
                </a:cubicBezTo>
                <a:moveTo>
                  <a:pt x="5709640" y="821626"/>
                </a:moveTo>
                <a:lnTo>
                  <a:pt x="5741483" y="336712"/>
                </a:lnTo>
                <a:moveTo>
                  <a:pt x="5709640" y="821626"/>
                </a:moveTo>
                <a:lnTo>
                  <a:pt x="5509063" y="808462"/>
                </a:lnTo>
                <a:cubicBezTo>
                  <a:pt x="5146092" y="784671"/>
                  <a:pt x="4841081" y="519528"/>
                  <a:pt x="4441500" y="493335"/>
                </a:cubicBezTo>
                <a:moveTo>
                  <a:pt x="5136715" y="9546074"/>
                </a:moveTo>
                <a:lnTo>
                  <a:pt x="5168575" y="9061169"/>
                </a:lnTo>
                <a:moveTo>
                  <a:pt x="5136715" y="9546074"/>
                </a:moveTo>
                <a:lnTo>
                  <a:pt x="6420871" y="9630242"/>
                </a:lnTo>
                <a:lnTo>
                  <a:pt x="6452730" y="9145353"/>
                </a:lnTo>
                <a:lnTo>
                  <a:pt x="7736885" y="9229521"/>
                </a:lnTo>
                <a:moveTo>
                  <a:pt x="5136715" y="9546074"/>
                </a:moveTo>
                <a:lnTo>
                  <a:pt x="3852544" y="9461890"/>
                </a:lnTo>
                <a:moveTo>
                  <a:pt x="5486801" y="4214981"/>
                </a:moveTo>
                <a:lnTo>
                  <a:pt x="5491773" y="4139080"/>
                </a:lnTo>
                <a:cubicBezTo>
                  <a:pt x="5493283" y="4116132"/>
                  <a:pt x="5495548" y="4089931"/>
                  <a:pt x="5497892" y="4062315"/>
                </a:cubicBezTo>
                <a:cubicBezTo>
                  <a:pt x="5510605" y="3957761"/>
                  <a:pt x="5519840" y="3817198"/>
                  <a:pt x="5533276" y="3742335"/>
                </a:cubicBezTo>
                <a:cubicBezTo>
                  <a:pt x="5084168" y="3869569"/>
                  <a:pt x="4743051" y="4283855"/>
                  <a:pt x="4193442" y="4269945"/>
                </a:cubicBezTo>
                <a:moveTo>
                  <a:pt x="5327633" y="6638091"/>
                </a:moveTo>
                <a:lnTo>
                  <a:pt x="5359476" y="6153186"/>
                </a:lnTo>
                <a:lnTo>
                  <a:pt x="6643678" y="6237369"/>
                </a:lnTo>
                <a:moveTo>
                  <a:pt x="5327633" y="6638091"/>
                </a:moveTo>
                <a:lnTo>
                  <a:pt x="5295821" y="7122508"/>
                </a:lnTo>
                <a:moveTo>
                  <a:pt x="5327633" y="6638091"/>
                </a:moveTo>
                <a:lnTo>
                  <a:pt x="6611819" y="6722259"/>
                </a:lnTo>
                <a:moveTo>
                  <a:pt x="5327633" y="6638091"/>
                </a:moveTo>
                <a:lnTo>
                  <a:pt x="4043446" y="6553891"/>
                </a:lnTo>
                <a:moveTo>
                  <a:pt x="5295821" y="7122508"/>
                </a:moveTo>
                <a:lnTo>
                  <a:pt x="4011634" y="7038325"/>
                </a:lnTo>
                <a:moveTo>
                  <a:pt x="5295821" y="7122508"/>
                </a:moveTo>
                <a:lnTo>
                  <a:pt x="6579992" y="7206692"/>
                </a:lnTo>
                <a:moveTo>
                  <a:pt x="5391303" y="5668281"/>
                </a:moveTo>
                <a:lnTo>
                  <a:pt x="5359460" y="6153186"/>
                </a:lnTo>
                <a:lnTo>
                  <a:pt x="4075304" y="6069002"/>
                </a:lnTo>
                <a:moveTo>
                  <a:pt x="5676774" y="1305997"/>
                </a:moveTo>
                <a:cubicBezTo>
                  <a:pt x="5669647" y="1463154"/>
                  <a:pt x="5653285" y="1622999"/>
                  <a:pt x="5661592" y="1780223"/>
                </a:cubicBezTo>
                <a:moveTo>
                  <a:pt x="5295774" y="7122508"/>
                </a:moveTo>
                <a:lnTo>
                  <a:pt x="5263931" y="7607414"/>
                </a:lnTo>
                <a:lnTo>
                  <a:pt x="3979775" y="7523230"/>
                </a:lnTo>
                <a:moveTo>
                  <a:pt x="1666131" y="3477068"/>
                </a:moveTo>
                <a:lnTo>
                  <a:pt x="1697943" y="2992651"/>
                </a:lnTo>
                <a:moveTo>
                  <a:pt x="1666131" y="3477068"/>
                </a:moveTo>
                <a:lnTo>
                  <a:pt x="1634272" y="3961989"/>
                </a:lnTo>
                <a:moveTo>
                  <a:pt x="1666131" y="3477068"/>
                </a:moveTo>
                <a:lnTo>
                  <a:pt x="381954" y="3392900"/>
                </a:lnTo>
                <a:moveTo>
                  <a:pt x="1666131" y="3477068"/>
                </a:moveTo>
                <a:lnTo>
                  <a:pt x="2652607" y="3541731"/>
                </a:lnTo>
                <a:cubicBezTo>
                  <a:pt x="2687093" y="3543994"/>
                  <a:pt x="2872724" y="3549574"/>
                  <a:pt x="2934679" y="3571987"/>
                </a:cubicBezTo>
                <a:moveTo>
                  <a:pt x="1697943" y="2992651"/>
                </a:moveTo>
                <a:lnTo>
                  <a:pt x="1729801" y="2507730"/>
                </a:lnTo>
                <a:moveTo>
                  <a:pt x="1697943" y="2992651"/>
                </a:moveTo>
                <a:lnTo>
                  <a:pt x="403160" y="2907760"/>
                </a:lnTo>
                <a:moveTo>
                  <a:pt x="1602492" y="4446422"/>
                </a:moveTo>
                <a:lnTo>
                  <a:pt x="1634304" y="3961989"/>
                </a:lnTo>
                <a:moveTo>
                  <a:pt x="1602492" y="4446422"/>
                </a:moveTo>
                <a:lnTo>
                  <a:pt x="2886663" y="4530606"/>
                </a:lnTo>
                <a:moveTo>
                  <a:pt x="1602492" y="4446422"/>
                </a:moveTo>
                <a:lnTo>
                  <a:pt x="318315" y="4362239"/>
                </a:lnTo>
                <a:moveTo>
                  <a:pt x="1347818" y="8324201"/>
                </a:moveTo>
                <a:lnTo>
                  <a:pt x="1379664" y="7839312"/>
                </a:lnTo>
                <a:moveTo>
                  <a:pt x="1347818" y="8324201"/>
                </a:moveTo>
                <a:lnTo>
                  <a:pt x="2631997" y="8408384"/>
                </a:lnTo>
                <a:lnTo>
                  <a:pt x="2663840" y="7923495"/>
                </a:lnTo>
                <a:moveTo>
                  <a:pt x="1347818" y="8324201"/>
                </a:moveTo>
                <a:lnTo>
                  <a:pt x="63640" y="8240033"/>
                </a:lnTo>
                <a:moveTo>
                  <a:pt x="1411411" y="7354878"/>
                </a:moveTo>
                <a:lnTo>
                  <a:pt x="1443258" y="6869973"/>
                </a:lnTo>
                <a:lnTo>
                  <a:pt x="2727447" y="6954157"/>
                </a:lnTo>
                <a:moveTo>
                  <a:pt x="1411411" y="7354878"/>
                </a:moveTo>
                <a:lnTo>
                  <a:pt x="1379615" y="7839312"/>
                </a:lnTo>
                <a:moveTo>
                  <a:pt x="1411411" y="7354878"/>
                </a:moveTo>
                <a:lnTo>
                  <a:pt x="127234" y="7270695"/>
                </a:lnTo>
                <a:moveTo>
                  <a:pt x="1793456" y="1538423"/>
                </a:moveTo>
                <a:lnTo>
                  <a:pt x="1825315" y="1053519"/>
                </a:lnTo>
                <a:moveTo>
                  <a:pt x="1793456" y="1538423"/>
                </a:moveTo>
                <a:lnTo>
                  <a:pt x="509285" y="1454241"/>
                </a:lnTo>
                <a:moveTo>
                  <a:pt x="1793456" y="1538423"/>
                </a:moveTo>
                <a:lnTo>
                  <a:pt x="2244530" y="1567988"/>
                </a:lnTo>
                <a:cubicBezTo>
                  <a:pt x="2787908" y="1603604"/>
                  <a:pt x="2932571" y="1632399"/>
                  <a:pt x="3063877" y="1613223"/>
                </a:cubicBezTo>
                <a:moveTo>
                  <a:pt x="1825315" y="1053519"/>
                </a:moveTo>
                <a:lnTo>
                  <a:pt x="1857095" y="569070"/>
                </a:lnTo>
                <a:moveTo>
                  <a:pt x="1825315" y="1053519"/>
                </a:moveTo>
                <a:lnTo>
                  <a:pt x="541117" y="969340"/>
                </a:lnTo>
                <a:moveTo>
                  <a:pt x="1315958" y="8808634"/>
                </a:moveTo>
                <a:lnTo>
                  <a:pt x="1284111" y="9293539"/>
                </a:lnTo>
                <a:lnTo>
                  <a:pt x="2568295" y="9377707"/>
                </a:lnTo>
                <a:moveTo>
                  <a:pt x="1538806" y="5415746"/>
                </a:moveTo>
                <a:lnTo>
                  <a:pt x="1570617" y="4931312"/>
                </a:lnTo>
                <a:moveTo>
                  <a:pt x="1538806" y="5415746"/>
                </a:moveTo>
                <a:lnTo>
                  <a:pt x="1506961" y="5900650"/>
                </a:lnTo>
                <a:moveTo>
                  <a:pt x="1538806" y="5415746"/>
                </a:moveTo>
                <a:lnTo>
                  <a:pt x="254622" y="5331577"/>
                </a:lnTo>
                <a:moveTo>
                  <a:pt x="1570617" y="4931312"/>
                </a:moveTo>
                <a:lnTo>
                  <a:pt x="1602461" y="4446407"/>
                </a:lnTo>
                <a:moveTo>
                  <a:pt x="1570617" y="4931312"/>
                </a:moveTo>
                <a:lnTo>
                  <a:pt x="286431" y="4847128"/>
                </a:lnTo>
                <a:moveTo>
                  <a:pt x="1729786" y="2507761"/>
                </a:moveTo>
                <a:lnTo>
                  <a:pt x="1761597" y="2023328"/>
                </a:lnTo>
                <a:cubicBezTo>
                  <a:pt x="1979166" y="2037584"/>
                  <a:pt x="2196718" y="2051840"/>
                  <a:pt x="2414287" y="2066111"/>
                </a:cubicBezTo>
                <a:cubicBezTo>
                  <a:pt x="2523063" y="2073247"/>
                  <a:pt x="2631855" y="2080367"/>
                  <a:pt x="2740663" y="2087031"/>
                </a:cubicBezTo>
                <a:cubicBezTo>
                  <a:pt x="2822914" y="2092423"/>
                  <a:pt x="2923603" y="2109382"/>
                  <a:pt x="3004360" y="2088776"/>
                </a:cubicBezTo>
                <a:moveTo>
                  <a:pt x="1729786" y="2507761"/>
                </a:moveTo>
                <a:lnTo>
                  <a:pt x="2958782" y="2588330"/>
                </a:lnTo>
                <a:moveTo>
                  <a:pt x="1729786" y="2507761"/>
                </a:moveTo>
                <a:lnTo>
                  <a:pt x="434989" y="2422886"/>
                </a:lnTo>
                <a:moveTo>
                  <a:pt x="1475135" y="6385540"/>
                </a:moveTo>
                <a:lnTo>
                  <a:pt x="1443319" y="6869973"/>
                </a:lnTo>
                <a:lnTo>
                  <a:pt x="159142" y="6785789"/>
                </a:lnTo>
                <a:moveTo>
                  <a:pt x="1475135" y="6385540"/>
                </a:moveTo>
                <a:lnTo>
                  <a:pt x="1506961" y="5900650"/>
                </a:lnTo>
                <a:moveTo>
                  <a:pt x="1475135" y="6385540"/>
                </a:moveTo>
                <a:lnTo>
                  <a:pt x="190938" y="6301372"/>
                </a:lnTo>
                <a:moveTo>
                  <a:pt x="1857095" y="569070"/>
                </a:moveTo>
                <a:lnTo>
                  <a:pt x="1888954" y="84169"/>
                </a:lnTo>
                <a:moveTo>
                  <a:pt x="1857095" y="569070"/>
                </a:moveTo>
                <a:lnTo>
                  <a:pt x="3141266" y="653251"/>
                </a:lnTo>
                <a:lnTo>
                  <a:pt x="3173109" y="168350"/>
                </a:lnTo>
                <a:moveTo>
                  <a:pt x="1857095" y="569070"/>
                </a:moveTo>
                <a:lnTo>
                  <a:pt x="572924" y="484891"/>
                </a:lnTo>
                <a:moveTo>
                  <a:pt x="1379615" y="7839312"/>
                </a:moveTo>
                <a:lnTo>
                  <a:pt x="95437" y="7755128"/>
                </a:lnTo>
                <a:moveTo>
                  <a:pt x="1379615" y="7839312"/>
                </a:moveTo>
                <a:lnTo>
                  <a:pt x="2663793" y="7923495"/>
                </a:lnTo>
                <a:moveTo>
                  <a:pt x="1634272" y="3961989"/>
                </a:moveTo>
                <a:lnTo>
                  <a:pt x="2918475" y="4046173"/>
                </a:lnTo>
                <a:moveTo>
                  <a:pt x="1634272" y="3961989"/>
                </a:moveTo>
                <a:lnTo>
                  <a:pt x="350101" y="3877805"/>
                </a:lnTo>
                <a:moveTo>
                  <a:pt x="1506961" y="5900650"/>
                </a:moveTo>
                <a:lnTo>
                  <a:pt x="222779" y="5816467"/>
                </a:lnTo>
                <a:moveTo>
                  <a:pt x="1506961" y="5900650"/>
                </a:moveTo>
                <a:lnTo>
                  <a:pt x="2791118" y="5984834"/>
                </a:lnTo>
                <a:moveTo>
                  <a:pt x="1793441" y="1538407"/>
                </a:moveTo>
                <a:lnTo>
                  <a:pt x="1761597" y="2023296"/>
                </a:lnTo>
                <a:lnTo>
                  <a:pt x="477423" y="1939128"/>
                </a:lnTo>
                <a:moveTo>
                  <a:pt x="1347747" y="8324185"/>
                </a:moveTo>
                <a:lnTo>
                  <a:pt x="1315932" y="8808618"/>
                </a:lnTo>
                <a:lnTo>
                  <a:pt x="31754" y="8724434"/>
                </a:lnTo>
                <a:moveTo>
                  <a:pt x="2918475" y="4046173"/>
                </a:moveTo>
                <a:lnTo>
                  <a:pt x="2886663" y="4530606"/>
                </a:lnTo>
                <a:moveTo>
                  <a:pt x="2918475" y="4046173"/>
                </a:moveTo>
                <a:lnTo>
                  <a:pt x="2923446" y="3970272"/>
                </a:lnTo>
                <a:cubicBezTo>
                  <a:pt x="2936268" y="3774918"/>
                  <a:pt x="2932414" y="3696062"/>
                  <a:pt x="2934176" y="3571956"/>
                </a:cubicBezTo>
                <a:moveTo>
                  <a:pt x="2886663" y="4530606"/>
                </a:moveTo>
                <a:lnTo>
                  <a:pt x="3087240" y="4543731"/>
                </a:lnTo>
                <a:cubicBezTo>
                  <a:pt x="3444909" y="4575182"/>
                  <a:pt x="3702171" y="4829179"/>
                  <a:pt x="4154818" y="4858838"/>
                </a:cubicBezTo>
                <a:moveTo>
                  <a:pt x="2958782" y="2588330"/>
                </a:moveTo>
                <a:cubicBezTo>
                  <a:pt x="2969276" y="2428560"/>
                  <a:pt x="2978479" y="2288484"/>
                  <a:pt x="3003841" y="2088289"/>
                </a:cubicBezTo>
                <a:cubicBezTo>
                  <a:pt x="3030382" y="1960174"/>
                  <a:pt x="3042701" y="1772757"/>
                  <a:pt x="3062980" y="1609875"/>
                </a:cubicBezTo>
                <a:moveTo>
                  <a:pt x="2958782" y="2588330"/>
                </a:moveTo>
                <a:cubicBezTo>
                  <a:pt x="2949578" y="2728406"/>
                  <a:pt x="2947659" y="2895295"/>
                  <a:pt x="2938062" y="3089943"/>
                </a:cubicBezTo>
                <a:cubicBezTo>
                  <a:pt x="3368746" y="3299789"/>
                  <a:pt x="3715591" y="3698954"/>
                  <a:pt x="4229533" y="3720409"/>
                </a:cubicBezTo>
                <a:lnTo>
                  <a:pt x="4298128" y="2676113"/>
                </a:lnTo>
                <a:moveTo>
                  <a:pt x="2958782" y="2588330"/>
                </a:moveTo>
                <a:lnTo>
                  <a:pt x="4298128" y="2676113"/>
                </a:lnTo>
                <a:moveTo>
                  <a:pt x="3141329" y="653273"/>
                </a:moveTo>
                <a:lnTo>
                  <a:pt x="3109502" y="1137705"/>
                </a:lnTo>
                <a:moveTo>
                  <a:pt x="3109502" y="1137705"/>
                </a:moveTo>
                <a:cubicBezTo>
                  <a:pt x="3109502" y="1137705"/>
                  <a:pt x="3091236" y="1415528"/>
                  <a:pt x="3063043" y="1609891"/>
                </a:cubicBezTo>
                <a:cubicBezTo>
                  <a:pt x="3310976" y="1583784"/>
                  <a:pt x="3894456" y="1048938"/>
                  <a:pt x="4402830" y="1082261"/>
                </a:cubicBezTo>
                <a:moveTo>
                  <a:pt x="3109502" y="1137705"/>
                </a:moveTo>
                <a:lnTo>
                  <a:pt x="1825331" y="1053526"/>
                </a:lnTo>
                <a:moveTo>
                  <a:pt x="2938125" y="3089943"/>
                </a:moveTo>
                <a:cubicBezTo>
                  <a:pt x="2947360" y="3225115"/>
                  <a:pt x="2935057" y="3412516"/>
                  <a:pt x="2934176" y="3571956"/>
                </a:cubicBezTo>
                <a:moveTo>
                  <a:pt x="2934176" y="3571956"/>
                </a:moveTo>
                <a:cubicBezTo>
                  <a:pt x="3410281" y="3796089"/>
                  <a:pt x="3681781" y="4214289"/>
                  <a:pt x="4193489" y="4269945"/>
                </a:cubicBezTo>
                <a:lnTo>
                  <a:pt x="4229580" y="3720393"/>
                </a:lnTo>
                <a:moveTo>
                  <a:pt x="2854836" y="5015496"/>
                </a:moveTo>
                <a:lnTo>
                  <a:pt x="2823024" y="5499929"/>
                </a:lnTo>
                <a:moveTo>
                  <a:pt x="2854836" y="5015496"/>
                </a:moveTo>
                <a:lnTo>
                  <a:pt x="2886695" y="4530606"/>
                </a:lnTo>
                <a:moveTo>
                  <a:pt x="2854836" y="5015496"/>
                </a:moveTo>
                <a:lnTo>
                  <a:pt x="1570665" y="4931328"/>
                </a:lnTo>
                <a:moveTo>
                  <a:pt x="2823024" y="5499929"/>
                </a:moveTo>
                <a:lnTo>
                  <a:pt x="4107179" y="5584097"/>
                </a:lnTo>
                <a:moveTo>
                  <a:pt x="2823024" y="5499929"/>
                </a:moveTo>
                <a:lnTo>
                  <a:pt x="1538853" y="5415746"/>
                </a:lnTo>
                <a:moveTo>
                  <a:pt x="2663793" y="7923495"/>
                </a:moveTo>
                <a:lnTo>
                  <a:pt x="2695604" y="7439062"/>
                </a:lnTo>
                <a:lnTo>
                  <a:pt x="3979775" y="7523230"/>
                </a:lnTo>
                <a:moveTo>
                  <a:pt x="2663793" y="7923495"/>
                </a:moveTo>
                <a:lnTo>
                  <a:pt x="3947948" y="8007663"/>
                </a:lnTo>
                <a:lnTo>
                  <a:pt x="3979775" y="7523230"/>
                </a:lnTo>
                <a:moveTo>
                  <a:pt x="2568295" y="9377707"/>
                </a:moveTo>
                <a:lnTo>
                  <a:pt x="2600138" y="8892802"/>
                </a:lnTo>
                <a:lnTo>
                  <a:pt x="3884340" y="8976986"/>
                </a:lnTo>
                <a:lnTo>
                  <a:pt x="3916152" y="8492552"/>
                </a:lnTo>
                <a:moveTo>
                  <a:pt x="2568295" y="9377707"/>
                </a:moveTo>
                <a:lnTo>
                  <a:pt x="3852450" y="9461875"/>
                </a:lnTo>
                <a:lnTo>
                  <a:pt x="3884293" y="8976986"/>
                </a:lnTo>
                <a:moveTo>
                  <a:pt x="2822961" y="5499929"/>
                </a:moveTo>
                <a:lnTo>
                  <a:pt x="2791118" y="5984834"/>
                </a:lnTo>
                <a:moveTo>
                  <a:pt x="2791118" y="5984834"/>
                </a:moveTo>
                <a:lnTo>
                  <a:pt x="2759275" y="6469723"/>
                </a:lnTo>
                <a:moveTo>
                  <a:pt x="2791118" y="5984834"/>
                </a:moveTo>
                <a:lnTo>
                  <a:pt x="4075304" y="6069002"/>
                </a:lnTo>
                <a:moveTo>
                  <a:pt x="2759275" y="6469723"/>
                </a:moveTo>
                <a:lnTo>
                  <a:pt x="2727447" y="6954157"/>
                </a:lnTo>
                <a:moveTo>
                  <a:pt x="2759275" y="6469723"/>
                </a:moveTo>
                <a:lnTo>
                  <a:pt x="1475099" y="6385555"/>
                </a:lnTo>
                <a:moveTo>
                  <a:pt x="2759275" y="6469723"/>
                </a:moveTo>
                <a:lnTo>
                  <a:pt x="4043446" y="6553891"/>
                </a:lnTo>
                <a:moveTo>
                  <a:pt x="2727479" y="6954157"/>
                </a:moveTo>
                <a:lnTo>
                  <a:pt x="2695636" y="7439062"/>
                </a:lnTo>
                <a:lnTo>
                  <a:pt x="1411460" y="7354878"/>
                </a:lnTo>
                <a:moveTo>
                  <a:pt x="2727447" y="6954157"/>
                </a:moveTo>
                <a:lnTo>
                  <a:pt x="4011634" y="7038325"/>
                </a:lnTo>
                <a:moveTo>
                  <a:pt x="4298128" y="2676113"/>
                </a:moveTo>
                <a:lnTo>
                  <a:pt x="4366723" y="1631817"/>
                </a:lnTo>
                <a:moveTo>
                  <a:pt x="4043446" y="6553891"/>
                </a:moveTo>
                <a:lnTo>
                  <a:pt x="4011634" y="7038325"/>
                </a:lnTo>
                <a:moveTo>
                  <a:pt x="4043446" y="6553891"/>
                </a:moveTo>
                <a:lnTo>
                  <a:pt x="4075304" y="6069002"/>
                </a:lnTo>
                <a:moveTo>
                  <a:pt x="4011634" y="7038325"/>
                </a:moveTo>
                <a:lnTo>
                  <a:pt x="3979775" y="7523230"/>
                </a:lnTo>
                <a:moveTo>
                  <a:pt x="4457312" y="252523"/>
                </a:moveTo>
                <a:lnTo>
                  <a:pt x="4441500" y="493335"/>
                </a:lnTo>
                <a:moveTo>
                  <a:pt x="4441500" y="493335"/>
                </a:moveTo>
                <a:cubicBezTo>
                  <a:pt x="3970288" y="462446"/>
                  <a:pt x="3762176" y="693947"/>
                  <a:pt x="3341890" y="666397"/>
                </a:cubicBezTo>
                <a:lnTo>
                  <a:pt x="3141314" y="653248"/>
                </a:lnTo>
                <a:moveTo>
                  <a:pt x="4193505" y="4269945"/>
                </a:moveTo>
                <a:lnTo>
                  <a:pt x="4171904" y="4598837"/>
                </a:lnTo>
                <a:moveTo>
                  <a:pt x="4402830" y="1082261"/>
                </a:moveTo>
                <a:lnTo>
                  <a:pt x="4424415" y="753372"/>
                </a:lnTo>
                <a:cubicBezTo>
                  <a:pt x="4004680" y="725857"/>
                  <a:pt x="3684204" y="972102"/>
                  <a:pt x="3289752" y="1119395"/>
                </a:cubicBezTo>
                <a:cubicBezTo>
                  <a:pt x="3220355" y="1145431"/>
                  <a:pt x="3109439" y="1138162"/>
                  <a:pt x="3109439" y="1138162"/>
                </a:cubicBezTo>
                <a:moveTo>
                  <a:pt x="4366723" y="1631817"/>
                </a:moveTo>
                <a:cubicBezTo>
                  <a:pt x="3854086" y="1590684"/>
                  <a:pt x="3461082" y="1894286"/>
                  <a:pt x="3003872" y="2088273"/>
                </a:cubicBezTo>
                <a:moveTo>
                  <a:pt x="4402766" y="1082272"/>
                </a:moveTo>
                <a:lnTo>
                  <a:pt x="4366676" y="1631817"/>
                </a:lnTo>
                <a:moveTo>
                  <a:pt x="4107148" y="5584097"/>
                </a:moveTo>
                <a:lnTo>
                  <a:pt x="4075304" y="6069002"/>
                </a:lnTo>
                <a:moveTo>
                  <a:pt x="4136254" y="5141363"/>
                </a:moveTo>
                <a:lnTo>
                  <a:pt x="4107179" y="5584097"/>
                </a:lnTo>
                <a:moveTo>
                  <a:pt x="4136254" y="5141363"/>
                </a:moveTo>
                <a:lnTo>
                  <a:pt x="4154818" y="4858838"/>
                </a:lnTo>
                <a:moveTo>
                  <a:pt x="4136254" y="5141363"/>
                </a:moveTo>
                <a:cubicBezTo>
                  <a:pt x="4432360" y="5160774"/>
                  <a:pt x="4743963" y="5139303"/>
                  <a:pt x="4901023" y="5149598"/>
                </a:cubicBezTo>
                <a:lnTo>
                  <a:pt x="5423193" y="5183816"/>
                </a:lnTo>
                <a:moveTo>
                  <a:pt x="4136254" y="5141363"/>
                </a:moveTo>
                <a:cubicBezTo>
                  <a:pt x="3793987" y="5118934"/>
                  <a:pt x="3618063" y="5071136"/>
                  <a:pt x="3509586" y="5059317"/>
                </a:cubicBezTo>
                <a:cubicBezTo>
                  <a:pt x="3292143" y="5035174"/>
                  <a:pt x="3072923" y="5029751"/>
                  <a:pt x="2854836" y="5015464"/>
                </a:cubicBezTo>
                <a:moveTo>
                  <a:pt x="3948026" y="8007663"/>
                </a:moveTo>
                <a:lnTo>
                  <a:pt x="3916184" y="8492568"/>
                </a:lnTo>
                <a:moveTo>
                  <a:pt x="3916184" y="8492568"/>
                </a:moveTo>
                <a:lnTo>
                  <a:pt x="2632012" y="8408369"/>
                </a:lnTo>
                <a:lnTo>
                  <a:pt x="2600201" y="8892802"/>
                </a:lnTo>
                <a:lnTo>
                  <a:pt x="1316024" y="8808634"/>
                </a:lnTo>
                <a:moveTo>
                  <a:pt x="4154818" y="4858838"/>
                </a:moveTo>
                <a:lnTo>
                  <a:pt x="4171888" y="4598837"/>
                </a:lnTo>
                <a:moveTo>
                  <a:pt x="4441469" y="493350"/>
                </a:moveTo>
                <a:lnTo>
                  <a:pt x="4424383" y="753369"/>
                </a:lnTo>
                <a:moveTo>
                  <a:pt x="4171888" y="4598837"/>
                </a:moveTo>
                <a:cubicBezTo>
                  <a:pt x="4665409" y="4655184"/>
                  <a:pt x="5160991" y="4193149"/>
                  <a:pt x="5486817" y="4214493"/>
                </a:cubicBezTo>
                <a:moveTo>
                  <a:pt x="4171888" y="4598837"/>
                </a:moveTo>
                <a:cubicBezTo>
                  <a:pt x="3763308" y="4596055"/>
                  <a:pt x="3251726" y="4067989"/>
                  <a:pt x="2918475" y="4046141"/>
                </a:cubicBezTo>
                <a:moveTo>
                  <a:pt x="6516337" y="8176030"/>
                </a:moveTo>
                <a:lnTo>
                  <a:pt x="6484494" y="8660920"/>
                </a:lnTo>
                <a:lnTo>
                  <a:pt x="5200323" y="8576751"/>
                </a:lnTo>
                <a:moveTo>
                  <a:pt x="6516337" y="8176030"/>
                </a:moveTo>
                <a:lnTo>
                  <a:pt x="6548180" y="7691597"/>
                </a:lnTo>
                <a:lnTo>
                  <a:pt x="7832335" y="7775781"/>
                </a:lnTo>
                <a:moveTo>
                  <a:pt x="6516337" y="8176030"/>
                </a:moveTo>
                <a:lnTo>
                  <a:pt x="5232182" y="8091847"/>
                </a:lnTo>
                <a:moveTo>
                  <a:pt x="6516337" y="8176030"/>
                </a:moveTo>
                <a:lnTo>
                  <a:pt x="7800540" y="8260199"/>
                </a:lnTo>
                <a:moveTo>
                  <a:pt x="6484447" y="8660904"/>
                </a:moveTo>
                <a:lnTo>
                  <a:pt x="6452635" y="9145338"/>
                </a:lnTo>
                <a:lnTo>
                  <a:pt x="5168449" y="9061154"/>
                </a:lnTo>
                <a:moveTo>
                  <a:pt x="6707364" y="5268031"/>
                </a:moveTo>
                <a:lnTo>
                  <a:pt x="6675537" y="5752465"/>
                </a:lnTo>
                <a:moveTo>
                  <a:pt x="6675537" y="5752465"/>
                </a:moveTo>
                <a:lnTo>
                  <a:pt x="6643678" y="6237369"/>
                </a:lnTo>
                <a:moveTo>
                  <a:pt x="6675537" y="5752465"/>
                </a:moveTo>
                <a:lnTo>
                  <a:pt x="7959724" y="5836648"/>
                </a:lnTo>
                <a:moveTo>
                  <a:pt x="6675537" y="5752465"/>
                </a:moveTo>
                <a:lnTo>
                  <a:pt x="5391366" y="5668297"/>
                </a:lnTo>
                <a:moveTo>
                  <a:pt x="6739145" y="4783126"/>
                </a:moveTo>
                <a:lnTo>
                  <a:pt x="6707301" y="5268031"/>
                </a:lnTo>
                <a:lnTo>
                  <a:pt x="5423115" y="5183847"/>
                </a:lnTo>
                <a:moveTo>
                  <a:pt x="6771003" y="4298708"/>
                </a:moveTo>
                <a:lnTo>
                  <a:pt x="6802846" y="3813819"/>
                </a:lnTo>
                <a:lnTo>
                  <a:pt x="8087017" y="3897971"/>
                </a:lnTo>
                <a:lnTo>
                  <a:pt x="8118845" y="3413538"/>
                </a:lnTo>
                <a:moveTo>
                  <a:pt x="6771003" y="4298708"/>
                </a:moveTo>
                <a:lnTo>
                  <a:pt x="6739176" y="4783142"/>
                </a:lnTo>
                <a:moveTo>
                  <a:pt x="6962031" y="1390234"/>
                </a:moveTo>
                <a:lnTo>
                  <a:pt x="6930187" y="1875142"/>
                </a:lnTo>
                <a:moveTo>
                  <a:pt x="6962031" y="1390234"/>
                </a:moveTo>
                <a:lnTo>
                  <a:pt x="6993842" y="905794"/>
                </a:lnTo>
                <a:moveTo>
                  <a:pt x="6962031" y="1390234"/>
                </a:moveTo>
                <a:lnTo>
                  <a:pt x="5677875" y="1306052"/>
                </a:lnTo>
                <a:moveTo>
                  <a:pt x="6962031" y="1390234"/>
                </a:moveTo>
                <a:lnTo>
                  <a:pt x="8246217" y="1474414"/>
                </a:lnTo>
                <a:moveTo>
                  <a:pt x="6930187" y="1875142"/>
                </a:moveTo>
                <a:lnTo>
                  <a:pt x="8214374" y="1959310"/>
                </a:lnTo>
                <a:lnTo>
                  <a:pt x="8246217" y="1474414"/>
                </a:lnTo>
                <a:moveTo>
                  <a:pt x="7025685" y="420894"/>
                </a:moveTo>
                <a:lnTo>
                  <a:pt x="6993842" y="905794"/>
                </a:lnTo>
                <a:moveTo>
                  <a:pt x="6993842" y="905794"/>
                </a:moveTo>
                <a:lnTo>
                  <a:pt x="5709671" y="821615"/>
                </a:lnTo>
                <a:moveTo>
                  <a:pt x="6993842" y="905794"/>
                </a:moveTo>
                <a:lnTo>
                  <a:pt x="8278013" y="989967"/>
                </a:lnTo>
                <a:lnTo>
                  <a:pt x="8309856" y="505066"/>
                </a:lnTo>
                <a:moveTo>
                  <a:pt x="6739176" y="4783142"/>
                </a:moveTo>
                <a:lnTo>
                  <a:pt x="8023347" y="4867310"/>
                </a:lnTo>
                <a:moveTo>
                  <a:pt x="6611819" y="6722259"/>
                </a:moveTo>
                <a:lnTo>
                  <a:pt x="6579992" y="7206692"/>
                </a:lnTo>
                <a:moveTo>
                  <a:pt x="6611819" y="6722259"/>
                </a:moveTo>
                <a:lnTo>
                  <a:pt x="6643647" y="6237369"/>
                </a:lnTo>
                <a:moveTo>
                  <a:pt x="6611819" y="6722259"/>
                </a:moveTo>
                <a:lnTo>
                  <a:pt x="7895990" y="6806442"/>
                </a:lnTo>
                <a:moveTo>
                  <a:pt x="6579992" y="7206692"/>
                </a:moveTo>
                <a:lnTo>
                  <a:pt x="6548133" y="7691613"/>
                </a:lnTo>
                <a:lnTo>
                  <a:pt x="5263978" y="7607414"/>
                </a:lnTo>
                <a:lnTo>
                  <a:pt x="5232150" y="8091847"/>
                </a:lnTo>
                <a:lnTo>
                  <a:pt x="3947979" y="8007663"/>
                </a:lnTo>
                <a:moveTo>
                  <a:pt x="6643678" y="6237369"/>
                </a:moveTo>
                <a:lnTo>
                  <a:pt x="7927849" y="6321553"/>
                </a:lnTo>
                <a:moveTo>
                  <a:pt x="6898344" y="2360031"/>
                </a:moveTo>
                <a:lnTo>
                  <a:pt x="6866517" y="2844465"/>
                </a:lnTo>
                <a:moveTo>
                  <a:pt x="6866517" y="2844465"/>
                </a:moveTo>
                <a:lnTo>
                  <a:pt x="8150688" y="2928648"/>
                </a:lnTo>
                <a:moveTo>
                  <a:pt x="6866517" y="2844465"/>
                </a:moveTo>
                <a:lnTo>
                  <a:pt x="6802862" y="3813787"/>
                </a:lnTo>
                <a:moveTo>
                  <a:pt x="7832335" y="7775781"/>
                </a:moveTo>
                <a:lnTo>
                  <a:pt x="7864178" y="7290876"/>
                </a:lnTo>
                <a:moveTo>
                  <a:pt x="7832335" y="7775781"/>
                </a:moveTo>
                <a:lnTo>
                  <a:pt x="7800540" y="8260199"/>
                </a:lnTo>
                <a:moveTo>
                  <a:pt x="7832335" y="7775781"/>
                </a:moveTo>
                <a:lnTo>
                  <a:pt x="9116522" y="7859965"/>
                </a:lnTo>
                <a:moveTo>
                  <a:pt x="7864178" y="7290876"/>
                </a:moveTo>
                <a:lnTo>
                  <a:pt x="7895990" y="6806442"/>
                </a:lnTo>
                <a:moveTo>
                  <a:pt x="7864178" y="7290876"/>
                </a:moveTo>
                <a:lnTo>
                  <a:pt x="6580023" y="7206692"/>
                </a:lnTo>
                <a:moveTo>
                  <a:pt x="7864178" y="7290876"/>
                </a:moveTo>
                <a:lnTo>
                  <a:pt x="9148365" y="7375028"/>
                </a:lnTo>
                <a:lnTo>
                  <a:pt x="9180177" y="6890626"/>
                </a:lnTo>
                <a:moveTo>
                  <a:pt x="8023347" y="4867310"/>
                </a:moveTo>
                <a:lnTo>
                  <a:pt x="7991504" y="5352199"/>
                </a:lnTo>
                <a:lnTo>
                  <a:pt x="6707317" y="5268031"/>
                </a:lnTo>
                <a:moveTo>
                  <a:pt x="8023347" y="4867310"/>
                </a:moveTo>
                <a:lnTo>
                  <a:pt x="8055159" y="4382892"/>
                </a:lnTo>
                <a:moveTo>
                  <a:pt x="8023347" y="4867310"/>
                </a:moveTo>
                <a:lnTo>
                  <a:pt x="9307518" y="4951493"/>
                </a:lnTo>
                <a:lnTo>
                  <a:pt x="9339345" y="4467060"/>
                </a:lnTo>
                <a:moveTo>
                  <a:pt x="8150735" y="2928633"/>
                </a:moveTo>
                <a:lnTo>
                  <a:pt x="8118892" y="3413522"/>
                </a:lnTo>
                <a:moveTo>
                  <a:pt x="8118892" y="3413522"/>
                </a:moveTo>
                <a:lnTo>
                  <a:pt x="6834705" y="3329354"/>
                </a:lnTo>
                <a:moveTo>
                  <a:pt x="8118892" y="3413522"/>
                </a:moveTo>
                <a:lnTo>
                  <a:pt x="9403063" y="3497721"/>
                </a:lnTo>
                <a:moveTo>
                  <a:pt x="7927849" y="6321553"/>
                </a:moveTo>
                <a:lnTo>
                  <a:pt x="7895990" y="6806442"/>
                </a:lnTo>
                <a:moveTo>
                  <a:pt x="7927849" y="6321553"/>
                </a:moveTo>
                <a:lnTo>
                  <a:pt x="7959692" y="5836632"/>
                </a:lnTo>
                <a:moveTo>
                  <a:pt x="7895990" y="6806442"/>
                </a:moveTo>
                <a:lnTo>
                  <a:pt x="9180177" y="6890626"/>
                </a:lnTo>
                <a:moveTo>
                  <a:pt x="7736885" y="9229521"/>
                </a:moveTo>
                <a:lnTo>
                  <a:pt x="7705010" y="9714426"/>
                </a:lnTo>
                <a:moveTo>
                  <a:pt x="7736885" y="9229521"/>
                </a:moveTo>
                <a:lnTo>
                  <a:pt x="9021040" y="9313690"/>
                </a:lnTo>
                <a:moveTo>
                  <a:pt x="7736885" y="9229521"/>
                </a:moveTo>
                <a:lnTo>
                  <a:pt x="7800540" y="8260199"/>
                </a:lnTo>
                <a:moveTo>
                  <a:pt x="8087049" y="3897987"/>
                </a:moveTo>
                <a:lnTo>
                  <a:pt x="8055206" y="4382892"/>
                </a:lnTo>
                <a:moveTo>
                  <a:pt x="8055206" y="4382892"/>
                </a:moveTo>
                <a:lnTo>
                  <a:pt x="6771019" y="4298708"/>
                </a:lnTo>
                <a:moveTo>
                  <a:pt x="8055206" y="4382892"/>
                </a:moveTo>
                <a:lnTo>
                  <a:pt x="9339392" y="4467060"/>
                </a:lnTo>
                <a:moveTo>
                  <a:pt x="7959724" y="5836648"/>
                </a:moveTo>
                <a:lnTo>
                  <a:pt x="7991535" y="5352214"/>
                </a:lnTo>
                <a:lnTo>
                  <a:pt x="9275706" y="5436398"/>
                </a:lnTo>
                <a:moveTo>
                  <a:pt x="7959724" y="5836648"/>
                </a:moveTo>
                <a:lnTo>
                  <a:pt x="9243879" y="5920832"/>
                </a:lnTo>
                <a:moveTo>
                  <a:pt x="7705010" y="9714426"/>
                </a:moveTo>
                <a:lnTo>
                  <a:pt x="6420839" y="9630242"/>
                </a:lnTo>
                <a:moveTo>
                  <a:pt x="7705010" y="9714426"/>
                </a:moveTo>
                <a:lnTo>
                  <a:pt x="8989196" y="9798594"/>
                </a:lnTo>
                <a:lnTo>
                  <a:pt x="9021040" y="9313690"/>
                </a:lnTo>
                <a:moveTo>
                  <a:pt x="8246217" y="1474414"/>
                </a:moveTo>
                <a:lnTo>
                  <a:pt x="8278029" y="989981"/>
                </a:lnTo>
                <a:lnTo>
                  <a:pt x="9562184" y="1074155"/>
                </a:lnTo>
                <a:moveTo>
                  <a:pt x="7800540" y="8260199"/>
                </a:moveTo>
                <a:lnTo>
                  <a:pt x="9084726" y="8344382"/>
                </a:lnTo>
                <a:moveTo>
                  <a:pt x="8182500" y="2444199"/>
                </a:moveTo>
                <a:lnTo>
                  <a:pt x="8214343" y="1959294"/>
                </a:lnTo>
                <a:lnTo>
                  <a:pt x="9498529" y="2043493"/>
                </a:lnTo>
                <a:moveTo>
                  <a:pt x="8182500" y="2444199"/>
                </a:moveTo>
                <a:lnTo>
                  <a:pt x="8150688" y="2928648"/>
                </a:lnTo>
                <a:moveTo>
                  <a:pt x="8182500" y="2444199"/>
                </a:moveTo>
                <a:lnTo>
                  <a:pt x="9466686" y="2528399"/>
                </a:lnTo>
                <a:moveTo>
                  <a:pt x="8182500" y="2444199"/>
                </a:moveTo>
                <a:lnTo>
                  <a:pt x="6898329" y="2360015"/>
                </a:lnTo>
                <a:moveTo>
                  <a:pt x="8150688" y="2928648"/>
                </a:moveTo>
                <a:lnTo>
                  <a:pt x="9434859" y="3012832"/>
                </a:lnTo>
                <a:moveTo>
                  <a:pt x="9275706" y="5436398"/>
                </a:moveTo>
                <a:lnTo>
                  <a:pt x="9243879" y="5920832"/>
                </a:lnTo>
                <a:moveTo>
                  <a:pt x="9243879" y="5920832"/>
                </a:moveTo>
                <a:lnTo>
                  <a:pt x="9212035" y="6405721"/>
                </a:lnTo>
                <a:moveTo>
                  <a:pt x="9212035" y="6405721"/>
                </a:moveTo>
                <a:lnTo>
                  <a:pt x="9180177" y="6890626"/>
                </a:lnTo>
                <a:moveTo>
                  <a:pt x="9212035" y="6405721"/>
                </a:moveTo>
                <a:lnTo>
                  <a:pt x="7927865" y="6321538"/>
                </a:lnTo>
                <a:moveTo>
                  <a:pt x="9371235" y="3982171"/>
                </a:moveTo>
                <a:lnTo>
                  <a:pt x="9339392" y="4467060"/>
                </a:lnTo>
                <a:moveTo>
                  <a:pt x="9562184" y="1074155"/>
                </a:moveTo>
                <a:lnTo>
                  <a:pt x="9530372" y="1558589"/>
                </a:lnTo>
                <a:moveTo>
                  <a:pt x="9562184" y="1074155"/>
                </a:moveTo>
                <a:lnTo>
                  <a:pt x="9594027" y="589247"/>
                </a:lnTo>
                <a:moveTo>
                  <a:pt x="9530372" y="1558589"/>
                </a:moveTo>
                <a:lnTo>
                  <a:pt x="9498529" y="2043493"/>
                </a:lnTo>
                <a:moveTo>
                  <a:pt x="9530372" y="1558589"/>
                </a:moveTo>
                <a:lnTo>
                  <a:pt x="8246186" y="1474408"/>
                </a:lnTo>
                <a:moveTo>
                  <a:pt x="9116522" y="7859965"/>
                </a:moveTo>
                <a:lnTo>
                  <a:pt x="9084726" y="8344382"/>
                </a:lnTo>
                <a:moveTo>
                  <a:pt x="9403063" y="3497721"/>
                </a:moveTo>
                <a:lnTo>
                  <a:pt x="9371251" y="3982155"/>
                </a:lnTo>
                <a:moveTo>
                  <a:pt x="9403063" y="3497721"/>
                </a:moveTo>
                <a:lnTo>
                  <a:pt x="9434921" y="3012801"/>
                </a:lnTo>
                <a:moveTo>
                  <a:pt x="9371251" y="3982155"/>
                </a:moveTo>
                <a:lnTo>
                  <a:pt x="8087081" y="3897971"/>
                </a:lnTo>
                <a:moveTo>
                  <a:pt x="9498529" y="2043493"/>
                </a:moveTo>
                <a:lnTo>
                  <a:pt x="9466686" y="2528399"/>
                </a:lnTo>
                <a:moveTo>
                  <a:pt x="9466686" y="2528399"/>
                </a:moveTo>
                <a:lnTo>
                  <a:pt x="9434859" y="3012832"/>
                </a:lnTo>
                <a:moveTo>
                  <a:pt x="9021040" y="9313690"/>
                </a:moveTo>
                <a:lnTo>
                  <a:pt x="9052851" y="8829272"/>
                </a:lnTo>
                <a:moveTo>
                  <a:pt x="9084726" y="8344382"/>
                </a:moveTo>
                <a:lnTo>
                  <a:pt x="9052883" y="8829287"/>
                </a:lnTo>
                <a:moveTo>
                  <a:pt x="9052883" y="8829287"/>
                </a:moveTo>
                <a:lnTo>
                  <a:pt x="6484525" y="8660920"/>
                </a:lnTo>
                <a:moveTo>
                  <a:pt x="11589397" y="9482057"/>
                </a:moveTo>
                <a:lnTo>
                  <a:pt x="11621209" y="8997623"/>
                </a:lnTo>
                <a:moveTo>
                  <a:pt x="11589397" y="9482057"/>
                </a:moveTo>
                <a:lnTo>
                  <a:pt x="11557539" y="9966962"/>
                </a:lnTo>
                <a:lnTo>
                  <a:pt x="10273352" y="9882778"/>
                </a:lnTo>
                <a:moveTo>
                  <a:pt x="11589397" y="9482057"/>
                </a:moveTo>
                <a:lnTo>
                  <a:pt x="12873584" y="9566240"/>
                </a:lnTo>
                <a:moveTo>
                  <a:pt x="11589397" y="9482057"/>
                </a:moveTo>
                <a:lnTo>
                  <a:pt x="10305227" y="9397873"/>
                </a:lnTo>
                <a:moveTo>
                  <a:pt x="11621209" y="8997623"/>
                </a:moveTo>
                <a:lnTo>
                  <a:pt x="11653068" y="8512733"/>
                </a:lnTo>
                <a:moveTo>
                  <a:pt x="11621209" y="8997623"/>
                </a:moveTo>
                <a:lnTo>
                  <a:pt x="10337038" y="8913455"/>
                </a:lnTo>
                <a:moveTo>
                  <a:pt x="12098730" y="1726956"/>
                </a:moveTo>
                <a:lnTo>
                  <a:pt x="12066887" y="2211845"/>
                </a:lnTo>
                <a:moveTo>
                  <a:pt x="12098730" y="1726956"/>
                </a:moveTo>
                <a:lnTo>
                  <a:pt x="12130541" y="1242500"/>
                </a:lnTo>
                <a:moveTo>
                  <a:pt x="12098730" y="1726956"/>
                </a:moveTo>
                <a:lnTo>
                  <a:pt x="13382917" y="1811140"/>
                </a:lnTo>
                <a:moveTo>
                  <a:pt x="12066887" y="2211845"/>
                </a:moveTo>
                <a:lnTo>
                  <a:pt x="12035043" y="2696735"/>
                </a:lnTo>
                <a:moveTo>
                  <a:pt x="12066887" y="2211845"/>
                </a:moveTo>
                <a:lnTo>
                  <a:pt x="13351074" y="2296029"/>
                </a:lnTo>
                <a:lnTo>
                  <a:pt x="13382917" y="1811140"/>
                </a:lnTo>
                <a:moveTo>
                  <a:pt x="11684864" y="8028316"/>
                </a:moveTo>
                <a:lnTo>
                  <a:pt x="11700769" y="7786092"/>
                </a:lnTo>
                <a:cubicBezTo>
                  <a:pt x="11708731" y="7664751"/>
                  <a:pt x="11645721" y="7561345"/>
                  <a:pt x="11645721" y="7561345"/>
                </a:cubicBezTo>
                <a:moveTo>
                  <a:pt x="11684864" y="8028316"/>
                </a:moveTo>
                <a:lnTo>
                  <a:pt x="11653068" y="8512733"/>
                </a:lnTo>
                <a:moveTo>
                  <a:pt x="12162401" y="757600"/>
                </a:moveTo>
                <a:lnTo>
                  <a:pt x="12130541" y="1242500"/>
                </a:lnTo>
                <a:moveTo>
                  <a:pt x="12130541" y="1242500"/>
                </a:moveTo>
                <a:lnTo>
                  <a:pt x="13414713" y="1326681"/>
                </a:lnTo>
                <a:moveTo>
                  <a:pt x="11971389" y="3666073"/>
                </a:moveTo>
                <a:lnTo>
                  <a:pt x="11939593" y="4150506"/>
                </a:lnTo>
                <a:moveTo>
                  <a:pt x="11971389" y="3666073"/>
                </a:moveTo>
                <a:lnTo>
                  <a:pt x="10687203" y="3581889"/>
                </a:lnTo>
                <a:moveTo>
                  <a:pt x="11971389" y="3666073"/>
                </a:moveTo>
                <a:lnTo>
                  <a:pt x="12035043" y="2696750"/>
                </a:lnTo>
                <a:moveTo>
                  <a:pt x="11939562" y="4150506"/>
                </a:moveTo>
                <a:lnTo>
                  <a:pt x="11923656" y="4392731"/>
                </a:lnTo>
                <a:cubicBezTo>
                  <a:pt x="11915679" y="4514071"/>
                  <a:pt x="11839674" y="4608362"/>
                  <a:pt x="11839674" y="4608362"/>
                </a:cubicBezTo>
                <a:moveTo>
                  <a:pt x="11939593" y="4150506"/>
                </a:moveTo>
                <a:lnTo>
                  <a:pt x="12272294" y="4172322"/>
                </a:lnTo>
                <a:cubicBezTo>
                  <a:pt x="12530610" y="4182665"/>
                  <a:pt x="12814744" y="4213990"/>
                  <a:pt x="13140632" y="4177462"/>
                </a:cubicBezTo>
                <a:moveTo>
                  <a:pt x="11123456" y="6044043"/>
                </a:moveTo>
                <a:cubicBezTo>
                  <a:pt x="11111908" y="6219734"/>
                  <a:pt x="11124101" y="6399324"/>
                  <a:pt x="11191500" y="6598074"/>
                </a:cubicBezTo>
                <a:cubicBezTo>
                  <a:pt x="10929801" y="6549836"/>
                  <a:pt x="10727667" y="6511642"/>
                  <a:pt x="10491927" y="6490078"/>
                </a:cubicBezTo>
                <a:moveTo>
                  <a:pt x="11123456" y="6044043"/>
                </a:moveTo>
                <a:lnTo>
                  <a:pt x="11503937" y="6068971"/>
                </a:lnTo>
                <a:moveTo>
                  <a:pt x="11646287" y="7561361"/>
                </a:moveTo>
                <a:cubicBezTo>
                  <a:pt x="11572296" y="7413945"/>
                  <a:pt x="11506029" y="7278805"/>
                  <a:pt x="11412797" y="7108001"/>
                </a:cubicBezTo>
                <a:cubicBezTo>
                  <a:pt x="11288272" y="7064542"/>
                  <a:pt x="11223674" y="7057956"/>
                  <a:pt x="11130048" y="7039111"/>
                </a:cubicBezTo>
                <a:cubicBezTo>
                  <a:pt x="11036422" y="7020281"/>
                  <a:pt x="10940909" y="7014009"/>
                  <a:pt x="10846071" y="7005444"/>
                </a:cubicBezTo>
                <a:cubicBezTo>
                  <a:pt x="10718935" y="6993813"/>
                  <a:pt x="10591736" y="6983124"/>
                  <a:pt x="10464379" y="6974779"/>
                </a:cubicBezTo>
                <a:moveTo>
                  <a:pt x="11191531" y="6598058"/>
                </a:moveTo>
                <a:cubicBezTo>
                  <a:pt x="11264594" y="6808470"/>
                  <a:pt x="11334700" y="6974448"/>
                  <a:pt x="11412813" y="7107545"/>
                </a:cubicBezTo>
                <a:cubicBezTo>
                  <a:pt x="11640780" y="7182723"/>
                  <a:pt x="11842978" y="7251959"/>
                  <a:pt x="12088126" y="7357425"/>
                </a:cubicBezTo>
                <a:moveTo>
                  <a:pt x="12035043" y="2696735"/>
                </a:moveTo>
                <a:lnTo>
                  <a:pt x="13319230" y="2780918"/>
                </a:lnTo>
                <a:moveTo>
                  <a:pt x="11840162" y="4608393"/>
                </a:moveTo>
                <a:cubicBezTo>
                  <a:pt x="11747654" y="4742999"/>
                  <a:pt x="11684817" y="4864040"/>
                  <a:pt x="11549389" y="5027378"/>
                </a:cubicBezTo>
                <a:moveTo>
                  <a:pt x="11263368" y="5504110"/>
                </a:moveTo>
                <a:cubicBezTo>
                  <a:pt x="11162599" y="5699826"/>
                  <a:pt x="11137694" y="5827595"/>
                  <a:pt x="11123440" y="6044498"/>
                </a:cubicBezTo>
                <a:moveTo>
                  <a:pt x="11549436" y="5027394"/>
                </a:moveTo>
                <a:cubicBezTo>
                  <a:pt x="11442658" y="5168130"/>
                  <a:pt x="11370523" y="5300802"/>
                  <a:pt x="11263415" y="5503623"/>
                </a:cubicBezTo>
                <a:cubicBezTo>
                  <a:pt x="11433156" y="5475237"/>
                  <a:pt x="11595439" y="5438819"/>
                  <a:pt x="11752593" y="5391241"/>
                </a:cubicBezTo>
                <a:cubicBezTo>
                  <a:pt x="11916859" y="5154046"/>
                  <a:pt x="12064763" y="5019771"/>
                  <a:pt x="12251684" y="4867812"/>
                </a:cubicBezTo>
                <a:cubicBezTo>
                  <a:pt x="12599850" y="4751832"/>
                  <a:pt x="12974384" y="4729325"/>
                  <a:pt x="13275399" y="4617321"/>
                </a:cubicBezTo>
                <a:moveTo>
                  <a:pt x="13140664" y="4177494"/>
                </a:moveTo>
                <a:cubicBezTo>
                  <a:pt x="13039628" y="4287564"/>
                  <a:pt x="12912711" y="4402508"/>
                  <a:pt x="12761818" y="4492837"/>
                </a:cubicBezTo>
                <a:moveTo>
                  <a:pt x="11661721" y="6773813"/>
                </a:moveTo>
                <a:cubicBezTo>
                  <a:pt x="11570550" y="6612094"/>
                  <a:pt x="11483815" y="6325970"/>
                  <a:pt x="11503858" y="6069442"/>
                </a:cubicBezTo>
                <a:moveTo>
                  <a:pt x="12905427" y="9081823"/>
                </a:moveTo>
                <a:lnTo>
                  <a:pt x="12937271" y="8596917"/>
                </a:lnTo>
                <a:moveTo>
                  <a:pt x="12905427" y="9081823"/>
                </a:moveTo>
                <a:lnTo>
                  <a:pt x="14190133" y="9166037"/>
                </a:lnTo>
                <a:moveTo>
                  <a:pt x="12905427" y="9081823"/>
                </a:moveTo>
                <a:lnTo>
                  <a:pt x="11621240" y="8997639"/>
                </a:lnTo>
                <a:moveTo>
                  <a:pt x="12251620" y="4868269"/>
                </a:moveTo>
                <a:cubicBezTo>
                  <a:pt x="12427576" y="4720774"/>
                  <a:pt x="12519944" y="4653424"/>
                  <a:pt x="12762275" y="4493340"/>
                </a:cubicBezTo>
                <a:moveTo>
                  <a:pt x="11503937" y="6068971"/>
                </a:moveTo>
                <a:cubicBezTo>
                  <a:pt x="11514651" y="5857002"/>
                  <a:pt x="11607427" y="5604766"/>
                  <a:pt x="11752562" y="5391257"/>
                </a:cubicBezTo>
                <a:moveTo>
                  <a:pt x="11503937" y="6068971"/>
                </a:moveTo>
                <a:lnTo>
                  <a:pt x="11995302" y="6101176"/>
                </a:lnTo>
                <a:moveTo>
                  <a:pt x="13319215" y="2780934"/>
                </a:moveTo>
                <a:lnTo>
                  <a:pt x="13287403" y="3265368"/>
                </a:lnTo>
                <a:lnTo>
                  <a:pt x="10719045" y="3097000"/>
                </a:lnTo>
                <a:moveTo>
                  <a:pt x="12879185" y="8157877"/>
                </a:moveTo>
                <a:cubicBezTo>
                  <a:pt x="12879185" y="8157877"/>
                  <a:pt x="12961074" y="8233353"/>
                  <a:pt x="12953113" y="8354693"/>
                </a:cubicBezTo>
                <a:lnTo>
                  <a:pt x="12937192" y="8596917"/>
                </a:lnTo>
                <a:lnTo>
                  <a:pt x="11653021" y="8512733"/>
                </a:lnTo>
                <a:moveTo>
                  <a:pt x="13351074" y="2296013"/>
                </a:moveTo>
                <a:lnTo>
                  <a:pt x="13319230" y="2780918"/>
                </a:lnTo>
                <a:moveTo>
                  <a:pt x="13319230" y="2780918"/>
                </a:moveTo>
                <a:lnTo>
                  <a:pt x="14603952" y="2865118"/>
                </a:lnTo>
                <a:lnTo>
                  <a:pt x="14635795" y="2380244"/>
                </a:lnTo>
                <a:moveTo>
                  <a:pt x="13382917" y="1811140"/>
                </a:moveTo>
                <a:lnTo>
                  <a:pt x="13414713" y="1326681"/>
                </a:lnTo>
                <a:moveTo>
                  <a:pt x="13382917" y="1811140"/>
                </a:moveTo>
                <a:lnTo>
                  <a:pt x="14667607" y="1895339"/>
                </a:lnTo>
                <a:moveTo>
                  <a:pt x="13287451" y="3265336"/>
                </a:moveTo>
                <a:lnTo>
                  <a:pt x="13255607" y="3750241"/>
                </a:lnTo>
                <a:lnTo>
                  <a:pt x="11971436" y="3666057"/>
                </a:lnTo>
                <a:moveTo>
                  <a:pt x="13140585" y="4177934"/>
                </a:moveTo>
                <a:cubicBezTo>
                  <a:pt x="13140585" y="4177934"/>
                  <a:pt x="13231646" y="4113806"/>
                  <a:pt x="13239622" y="3992450"/>
                </a:cubicBezTo>
                <a:lnTo>
                  <a:pt x="13255529" y="3750241"/>
                </a:lnTo>
                <a:cubicBezTo>
                  <a:pt x="13572324" y="3771004"/>
                  <a:pt x="13888977" y="3794140"/>
                  <a:pt x="14206023" y="3811147"/>
                </a:cubicBezTo>
                <a:cubicBezTo>
                  <a:pt x="14394565" y="3821143"/>
                  <a:pt x="14533910" y="3825576"/>
                  <a:pt x="14533910" y="3825576"/>
                </a:cubicBezTo>
                <a:cubicBezTo>
                  <a:pt x="14515550" y="3983412"/>
                  <a:pt x="14406348" y="4023304"/>
                  <a:pt x="14311810" y="4099440"/>
                </a:cubicBezTo>
                <a:moveTo>
                  <a:pt x="12544864" y="7795774"/>
                </a:moveTo>
                <a:cubicBezTo>
                  <a:pt x="12713283" y="7957854"/>
                  <a:pt x="12784505" y="8017566"/>
                  <a:pt x="12879217" y="8157877"/>
                </a:cubicBezTo>
                <a:cubicBezTo>
                  <a:pt x="13224252" y="8227538"/>
                  <a:pt x="13645685" y="8302212"/>
                  <a:pt x="14029580" y="8388549"/>
                </a:cubicBezTo>
                <a:moveTo>
                  <a:pt x="12545383" y="7795805"/>
                </a:moveTo>
                <a:cubicBezTo>
                  <a:pt x="12356071" y="7635187"/>
                  <a:pt x="12267920" y="7549416"/>
                  <a:pt x="12088126" y="7357425"/>
                </a:cubicBezTo>
                <a:moveTo>
                  <a:pt x="12088126" y="7357425"/>
                </a:moveTo>
                <a:cubicBezTo>
                  <a:pt x="11960581" y="7246489"/>
                  <a:pt x="11789393" y="7005192"/>
                  <a:pt x="11661799" y="6773325"/>
                </a:cubicBezTo>
                <a:moveTo>
                  <a:pt x="12088126" y="7357425"/>
                </a:moveTo>
                <a:cubicBezTo>
                  <a:pt x="12418262" y="7515984"/>
                  <a:pt x="12786661" y="7587185"/>
                  <a:pt x="13070307" y="7739410"/>
                </a:cubicBezTo>
                <a:moveTo>
                  <a:pt x="12873584" y="9566240"/>
                </a:moveTo>
                <a:lnTo>
                  <a:pt x="12905396" y="9081806"/>
                </a:lnTo>
                <a:moveTo>
                  <a:pt x="12873584" y="9566240"/>
                </a:moveTo>
                <a:lnTo>
                  <a:pt x="14158290" y="9650455"/>
                </a:lnTo>
                <a:moveTo>
                  <a:pt x="12873631" y="9566240"/>
                </a:moveTo>
                <a:lnTo>
                  <a:pt x="12841773" y="10051145"/>
                </a:lnTo>
                <a:lnTo>
                  <a:pt x="11557601" y="9966962"/>
                </a:lnTo>
                <a:moveTo>
                  <a:pt x="13446556" y="841781"/>
                </a:moveTo>
                <a:lnTo>
                  <a:pt x="13414713" y="1326681"/>
                </a:lnTo>
                <a:moveTo>
                  <a:pt x="14190133" y="9166037"/>
                </a:moveTo>
                <a:lnTo>
                  <a:pt x="14206039" y="8923813"/>
                </a:lnTo>
                <a:cubicBezTo>
                  <a:pt x="14214000" y="8802473"/>
                  <a:pt x="14214503" y="8689589"/>
                  <a:pt x="14214503" y="8689589"/>
                </a:cubicBezTo>
                <a:moveTo>
                  <a:pt x="14190133" y="9166037"/>
                </a:moveTo>
                <a:lnTo>
                  <a:pt x="14158290" y="9650455"/>
                </a:lnTo>
                <a:moveTo>
                  <a:pt x="14190133" y="9166037"/>
                </a:moveTo>
                <a:lnTo>
                  <a:pt x="15474273" y="9250206"/>
                </a:lnTo>
                <a:moveTo>
                  <a:pt x="14603889" y="2865133"/>
                </a:moveTo>
                <a:lnTo>
                  <a:pt x="14572062" y="3349567"/>
                </a:lnTo>
                <a:moveTo>
                  <a:pt x="14572062" y="3349567"/>
                </a:moveTo>
                <a:lnTo>
                  <a:pt x="13287355" y="3265352"/>
                </a:lnTo>
                <a:moveTo>
                  <a:pt x="14572062" y="3349567"/>
                </a:moveTo>
                <a:lnTo>
                  <a:pt x="15856264" y="3433766"/>
                </a:lnTo>
                <a:moveTo>
                  <a:pt x="14731277" y="925990"/>
                </a:moveTo>
                <a:lnTo>
                  <a:pt x="14699434" y="1410890"/>
                </a:lnTo>
                <a:moveTo>
                  <a:pt x="14699434" y="1410890"/>
                </a:moveTo>
                <a:lnTo>
                  <a:pt x="14667607" y="1895339"/>
                </a:lnTo>
                <a:moveTo>
                  <a:pt x="14699434" y="1410890"/>
                </a:moveTo>
                <a:lnTo>
                  <a:pt x="15983542" y="1495075"/>
                </a:lnTo>
                <a:moveTo>
                  <a:pt x="14699434" y="1410890"/>
                </a:moveTo>
                <a:lnTo>
                  <a:pt x="13414728" y="1326676"/>
                </a:lnTo>
                <a:moveTo>
                  <a:pt x="14029580" y="8388549"/>
                </a:moveTo>
                <a:cubicBezTo>
                  <a:pt x="13853232" y="8290408"/>
                  <a:pt x="13815819" y="8235255"/>
                  <a:pt x="13647070" y="8118803"/>
                </a:cubicBezTo>
                <a:moveTo>
                  <a:pt x="14029580" y="8388549"/>
                </a:moveTo>
                <a:cubicBezTo>
                  <a:pt x="14485484" y="8498415"/>
                  <a:pt x="14918922" y="8536719"/>
                  <a:pt x="15397386" y="8603361"/>
                </a:cubicBezTo>
                <a:moveTo>
                  <a:pt x="14126447" y="10135345"/>
                </a:moveTo>
                <a:lnTo>
                  <a:pt x="14158290" y="9650455"/>
                </a:lnTo>
                <a:moveTo>
                  <a:pt x="14126447" y="10135345"/>
                </a:moveTo>
                <a:lnTo>
                  <a:pt x="15410602" y="10219528"/>
                </a:lnTo>
                <a:moveTo>
                  <a:pt x="14126447" y="10135345"/>
                </a:moveTo>
                <a:lnTo>
                  <a:pt x="12841741" y="10051145"/>
                </a:lnTo>
                <a:moveTo>
                  <a:pt x="14158290" y="9650455"/>
                </a:moveTo>
                <a:lnTo>
                  <a:pt x="15442445" y="9734623"/>
                </a:lnTo>
                <a:moveTo>
                  <a:pt x="14667607" y="1895339"/>
                </a:moveTo>
                <a:lnTo>
                  <a:pt x="15951762" y="1979523"/>
                </a:lnTo>
                <a:moveTo>
                  <a:pt x="14667638" y="1895339"/>
                </a:moveTo>
                <a:lnTo>
                  <a:pt x="14635795" y="2380244"/>
                </a:lnTo>
                <a:moveTo>
                  <a:pt x="14635795" y="2380244"/>
                </a:moveTo>
                <a:lnTo>
                  <a:pt x="13351089" y="2296029"/>
                </a:lnTo>
                <a:moveTo>
                  <a:pt x="14030052" y="8388596"/>
                </a:moveTo>
                <a:cubicBezTo>
                  <a:pt x="14113971" y="8474084"/>
                  <a:pt x="14217020" y="8527885"/>
                  <a:pt x="14214425" y="8689101"/>
                </a:cubicBezTo>
                <a:lnTo>
                  <a:pt x="12937176" y="8596886"/>
                </a:lnTo>
                <a:moveTo>
                  <a:pt x="14572109" y="3349551"/>
                </a:moveTo>
                <a:lnTo>
                  <a:pt x="14556188" y="3591776"/>
                </a:lnTo>
                <a:cubicBezTo>
                  <a:pt x="14548226" y="3713116"/>
                  <a:pt x="14533957" y="3825104"/>
                  <a:pt x="14533957" y="3825104"/>
                </a:cubicBezTo>
                <a:cubicBezTo>
                  <a:pt x="14972806" y="3853867"/>
                  <a:pt x="15465950" y="3842896"/>
                  <a:pt x="15812999" y="3865656"/>
                </a:cubicBezTo>
                <a:cubicBezTo>
                  <a:pt x="15778701" y="3966909"/>
                  <a:pt x="15751169" y="4019217"/>
                  <a:pt x="15695947" y="4065002"/>
                </a:cubicBezTo>
                <a:cubicBezTo>
                  <a:pt x="15202331" y="4075471"/>
                  <a:pt x="14777830" y="4047650"/>
                  <a:pt x="14311842" y="4099440"/>
                </a:cubicBezTo>
                <a:moveTo>
                  <a:pt x="11994799" y="6101616"/>
                </a:moveTo>
                <a:cubicBezTo>
                  <a:pt x="11996514" y="6505434"/>
                  <a:pt x="12175899" y="6898312"/>
                  <a:pt x="12359705" y="7093871"/>
                </a:cubicBezTo>
                <a:cubicBezTo>
                  <a:pt x="12590882" y="7371570"/>
                  <a:pt x="12830634" y="7583491"/>
                  <a:pt x="13070307" y="7739882"/>
                </a:cubicBezTo>
                <a:moveTo>
                  <a:pt x="12486354" y="5165033"/>
                </a:moveTo>
                <a:cubicBezTo>
                  <a:pt x="12743631" y="4996509"/>
                  <a:pt x="12974353" y="4729325"/>
                  <a:pt x="13275368" y="4617305"/>
                </a:cubicBezTo>
                <a:moveTo>
                  <a:pt x="12486354" y="5165033"/>
                </a:moveTo>
                <a:cubicBezTo>
                  <a:pt x="12200427" y="5250270"/>
                  <a:pt x="12017722" y="5305581"/>
                  <a:pt x="11752027" y="5391210"/>
                </a:cubicBezTo>
                <a:moveTo>
                  <a:pt x="13275368" y="4617305"/>
                </a:moveTo>
                <a:cubicBezTo>
                  <a:pt x="13537900" y="4498542"/>
                  <a:pt x="13688809" y="4399741"/>
                  <a:pt x="13897330" y="4316485"/>
                </a:cubicBezTo>
                <a:moveTo>
                  <a:pt x="13275368" y="4617305"/>
                </a:moveTo>
                <a:cubicBezTo>
                  <a:pt x="13894924" y="4507360"/>
                  <a:pt x="14487875" y="4405070"/>
                  <a:pt x="15121623" y="4395796"/>
                </a:cubicBezTo>
                <a:moveTo>
                  <a:pt x="11995302" y="6101176"/>
                </a:moveTo>
                <a:cubicBezTo>
                  <a:pt x="12001470" y="5747749"/>
                  <a:pt x="12143206" y="5463904"/>
                  <a:pt x="12486872" y="5165065"/>
                </a:cubicBezTo>
                <a:moveTo>
                  <a:pt x="11995302" y="6101176"/>
                </a:moveTo>
                <a:lnTo>
                  <a:pt x="13443441" y="6196111"/>
                </a:lnTo>
                <a:cubicBezTo>
                  <a:pt x="13446524" y="5654276"/>
                  <a:pt x="13907966" y="5119892"/>
                  <a:pt x="14385691" y="4808195"/>
                </a:cubicBezTo>
                <a:cubicBezTo>
                  <a:pt x="14631658" y="4649762"/>
                  <a:pt x="14853191" y="4523109"/>
                  <a:pt x="15121623" y="4395796"/>
                </a:cubicBezTo>
                <a:moveTo>
                  <a:pt x="13897330" y="4316485"/>
                </a:moveTo>
                <a:cubicBezTo>
                  <a:pt x="14036660" y="4247972"/>
                  <a:pt x="14196395" y="4169053"/>
                  <a:pt x="14311857" y="4098984"/>
                </a:cubicBezTo>
                <a:moveTo>
                  <a:pt x="13897330" y="4316485"/>
                </a:moveTo>
                <a:cubicBezTo>
                  <a:pt x="13516346" y="4372440"/>
                  <a:pt x="13124175" y="4436143"/>
                  <a:pt x="12762306" y="4492884"/>
                </a:cubicBezTo>
                <a:cubicBezTo>
                  <a:pt x="12452922" y="4553994"/>
                  <a:pt x="12164493" y="4596259"/>
                  <a:pt x="11840209" y="4608409"/>
                </a:cubicBezTo>
                <a:moveTo>
                  <a:pt x="13647557" y="8119305"/>
                </a:moveTo>
                <a:cubicBezTo>
                  <a:pt x="13451842" y="8007663"/>
                  <a:pt x="13301877" y="7856679"/>
                  <a:pt x="13070260" y="7739866"/>
                </a:cubicBezTo>
                <a:moveTo>
                  <a:pt x="15121623" y="4395796"/>
                </a:moveTo>
                <a:cubicBezTo>
                  <a:pt x="15226041" y="4347590"/>
                  <a:pt x="15383117" y="4260483"/>
                  <a:pt x="15490320" y="4210579"/>
                </a:cubicBezTo>
                <a:moveTo>
                  <a:pt x="15121623" y="4395796"/>
                </a:moveTo>
                <a:cubicBezTo>
                  <a:pt x="15831092" y="4353814"/>
                  <a:pt x="16956456" y="4396063"/>
                  <a:pt x="17654676" y="4542536"/>
                </a:cubicBezTo>
                <a:moveTo>
                  <a:pt x="15489786" y="4210564"/>
                </a:moveTo>
                <a:cubicBezTo>
                  <a:pt x="15577951" y="4166460"/>
                  <a:pt x="15633000" y="4123488"/>
                  <a:pt x="15695475" y="4065002"/>
                </a:cubicBezTo>
                <a:moveTo>
                  <a:pt x="14871157" y="8200471"/>
                </a:moveTo>
                <a:cubicBezTo>
                  <a:pt x="15024268" y="8279201"/>
                  <a:pt x="15115456" y="8359518"/>
                  <a:pt x="15212479" y="8432228"/>
                </a:cubicBezTo>
                <a:cubicBezTo>
                  <a:pt x="15913846" y="8512090"/>
                  <a:pt x="16415407" y="8544954"/>
                  <a:pt x="17080274" y="8565010"/>
                </a:cubicBezTo>
                <a:moveTo>
                  <a:pt x="14196065" y="7695574"/>
                </a:moveTo>
                <a:cubicBezTo>
                  <a:pt x="13763350" y="7321840"/>
                  <a:pt x="13372675" y="6778653"/>
                  <a:pt x="13443425" y="6196566"/>
                </a:cubicBezTo>
                <a:moveTo>
                  <a:pt x="14196065" y="7695574"/>
                </a:moveTo>
                <a:cubicBezTo>
                  <a:pt x="13503084" y="7535804"/>
                  <a:pt x="12931371" y="7371759"/>
                  <a:pt x="12359657" y="7093855"/>
                </a:cubicBezTo>
                <a:moveTo>
                  <a:pt x="14196065" y="7695574"/>
                </a:moveTo>
                <a:cubicBezTo>
                  <a:pt x="15477577" y="7998830"/>
                  <a:pt x="16804162" y="8085796"/>
                  <a:pt x="18066716" y="7989289"/>
                </a:cubicBezTo>
                <a:moveTo>
                  <a:pt x="14196048" y="7695558"/>
                </a:moveTo>
                <a:cubicBezTo>
                  <a:pt x="14419296" y="7882865"/>
                  <a:pt x="14622328" y="8037338"/>
                  <a:pt x="14871692" y="8200488"/>
                </a:cubicBezTo>
                <a:cubicBezTo>
                  <a:pt x="14049246" y="8088704"/>
                  <a:pt x="13586499" y="7944966"/>
                  <a:pt x="13070244" y="7739850"/>
                </a:cubicBezTo>
                <a:moveTo>
                  <a:pt x="15397921" y="8603409"/>
                </a:moveTo>
                <a:cubicBezTo>
                  <a:pt x="15328839" y="8519351"/>
                  <a:pt x="15293676" y="8494942"/>
                  <a:pt x="15213046" y="8432244"/>
                </a:cubicBezTo>
                <a:moveTo>
                  <a:pt x="15397921" y="8603409"/>
                </a:moveTo>
                <a:cubicBezTo>
                  <a:pt x="15397921" y="8603409"/>
                  <a:pt x="15483130" y="8693220"/>
                  <a:pt x="15487834" y="8816336"/>
                </a:cubicBezTo>
                <a:lnTo>
                  <a:pt x="14214487" y="8689086"/>
                </a:lnTo>
                <a:moveTo>
                  <a:pt x="15397921" y="8603409"/>
                </a:moveTo>
                <a:cubicBezTo>
                  <a:pt x="15872626" y="8661831"/>
                  <a:pt x="16402820" y="8688582"/>
                  <a:pt x="16902492" y="8707695"/>
                </a:cubicBezTo>
                <a:moveTo>
                  <a:pt x="15410602" y="10219528"/>
                </a:moveTo>
                <a:lnTo>
                  <a:pt x="15442445" y="9734623"/>
                </a:lnTo>
                <a:moveTo>
                  <a:pt x="15442445" y="9734623"/>
                </a:moveTo>
                <a:lnTo>
                  <a:pt x="15474273" y="9250206"/>
                </a:lnTo>
                <a:moveTo>
                  <a:pt x="15474273" y="9250206"/>
                </a:moveTo>
                <a:cubicBezTo>
                  <a:pt x="15483759" y="9105917"/>
                  <a:pt x="15498060" y="8960986"/>
                  <a:pt x="15487866" y="8816336"/>
                </a:cubicBezTo>
                <a:moveTo>
                  <a:pt x="15888044" y="2949333"/>
                </a:moveTo>
                <a:lnTo>
                  <a:pt x="15856264" y="3433766"/>
                </a:lnTo>
                <a:moveTo>
                  <a:pt x="15856264" y="3433766"/>
                </a:moveTo>
                <a:cubicBezTo>
                  <a:pt x="15846824" y="3578054"/>
                  <a:pt x="15842576" y="3723631"/>
                  <a:pt x="15812999" y="3865671"/>
                </a:cubicBezTo>
                <a:lnTo>
                  <a:pt x="17124954" y="3949352"/>
                </a:lnTo>
                <a:moveTo>
                  <a:pt x="15919982" y="2464396"/>
                </a:moveTo>
                <a:lnTo>
                  <a:pt x="15888044" y="2949301"/>
                </a:lnTo>
                <a:lnTo>
                  <a:pt x="14603921" y="2865118"/>
                </a:lnTo>
                <a:moveTo>
                  <a:pt x="15919982" y="2464396"/>
                </a:moveTo>
                <a:lnTo>
                  <a:pt x="15951762" y="1979523"/>
                </a:lnTo>
                <a:moveTo>
                  <a:pt x="15919982" y="2464396"/>
                </a:moveTo>
                <a:lnTo>
                  <a:pt x="14635747" y="2380244"/>
                </a:lnTo>
                <a:moveTo>
                  <a:pt x="16015479" y="1010175"/>
                </a:moveTo>
                <a:lnTo>
                  <a:pt x="15983542" y="1495075"/>
                </a:lnTo>
                <a:moveTo>
                  <a:pt x="15951762" y="1979523"/>
                </a:moveTo>
                <a:lnTo>
                  <a:pt x="15983542" y="1495086"/>
                </a:lnTo>
                <a:moveTo>
                  <a:pt x="24431722" y="10323878"/>
                </a:moveTo>
                <a:lnTo>
                  <a:pt x="24442890" y="10324617"/>
                </a:lnTo>
                <a:moveTo>
                  <a:pt x="24474672" y="9840199"/>
                </a:moveTo>
                <a:lnTo>
                  <a:pt x="24463658" y="9839460"/>
                </a:lnTo>
                <a:moveTo>
                  <a:pt x="11684880" y="8028300"/>
                </a:moveTo>
                <a:cubicBezTo>
                  <a:pt x="11895022" y="8042069"/>
                  <a:pt x="12369051" y="8070785"/>
                  <a:pt x="12879185" y="8158364"/>
                </a:cubicBezTo>
                <a:moveTo>
                  <a:pt x="20674580" y="8617586"/>
                </a:moveTo>
                <a:lnTo>
                  <a:pt x="20341988" y="8595770"/>
                </a:lnTo>
                <a:cubicBezTo>
                  <a:pt x="20054866" y="8576956"/>
                  <a:pt x="19729040" y="8587141"/>
                  <a:pt x="19488328" y="8602418"/>
                </a:cubicBezTo>
                <a:moveTo>
                  <a:pt x="11646271" y="7561376"/>
                </a:moveTo>
                <a:cubicBezTo>
                  <a:pt x="12028640" y="7638676"/>
                  <a:pt x="12246743" y="7693436"/>
                  <a:pt x="12545352" y="7796293"/>
                </a:cubicBezTo>
                <a:moveTo>
                  <a:pt x="10432568" y="7459228"/>
                </a:moveTo>
                <a:cubicBezTo>
                  <a:pt x="10833737" y="7485523"/>
                  <a:pt x="11250341" y="7487881"/>
                  <a:pt x="11645783" y="7560874"/>
                </a:cubicBezTo>
                <a:moveTo>
                  <a:pt x="19877714" y="8295736"/>
                </a:moveTo>
                <a:cubicBezTo>
                  <a:pt x="19360108" y="8388361"/>
                  <a:pt x="19115936" y="8411890"/>
                  <a:pt x="18710818" y="8471900"/>
                </a:cubicBezTo>
                <a:moveTo>
                  <a:pt x="12545414" y="7795821"/>
                </a:moveTo>
                <a:cubicBezTo>
                  <a:pt x="12938812" y="7916187"/>
                  <a:pt x="13113634" y="7980818"/>
                  <a:pt x="13647621" y="8118850"/>
                </a:cubicBezTo>
                <a:moveTo>
                  <a:pt x="18710188" y="8471883"/>
                </a:moveTo>
                <a:cubicBezTo>
                  <a:pt x="18160170" y="8553914"/>
                  <a:pt x="17625572" y="8563109"/>
                  <a:pt x="17080274" y="8564539"/>
                </a:cubicBezTo>
                <a:moveTo>
                  <a:pt x="20800442" y="8170357"/>
                </a:moveTo>
                <a:cubicBezTo>
                  <a:pt x="20474932" y="8185257"/>
                  <a:pt x="20238310" y="8226201"/>
                  <a:pt x="19877714" y="8295264"/>
                </a:cubicBezTo>
                <a:moveTo>
                  <a:pt x="13647557" y="8119337"/>
                </a:moveTo>
                <a:cubicBezTo>
                  <a:pt x="14179372" y="8290643"/>
                  <a:pt x="14704311" y="8355636"/>
                  <a:pt x="15213031" y="8432275"/>
                </a:cubicBezTo>
                <a:moveTo>
                  <a:pt x="24570168" y="8385956"/>
                </a:moveTo>
                <a:lnTo>
                  <a:pt x="24558998" y="8385217"/>
                </a:lnTo>
                <a:moveTo>
                  <a:pt x="11191453" y="6598058"/>
                </a:moveTo>
                <a:cubicBezTo>
                  <a:pt x="11397914" y="6659577"/>
                  <a:pt x="11512259" y="6703775"/>
                  <a:pt x="11661705" y="6773325"/>
                </a:cubicBezTo>
                <a:moveTo>
                  <a:pt x="11661752" y="6773797"/>
                </a:moveTo>
                <a:cubicBezTo>
                  <a:pt x="11943148" y="6895279"/>
                  <a:pt x="12096276" y="6957552"/>
                  <a:pt x="12360192" y="7093886"/>
                </a:cubicBezTo>
                <a:moveTo>
                  <a:pt x="21415434" y="7277170"/>
                </a:moveTo>
                <a:cubicBezTo>
                  <a:pt x="21278718" y="7298782"/>
                  <a:pt x="21106444" y="7333125"/>
                  <a:pt x="20922056" y="7397268"/>
                </a:cubicBezTo>
                <a:moveTo>
                  <a:pt x="20922686" y="7397316"/>
                </a:moveTo>
                <a:cubicBezTo>
                  <a:pt x="20627224" y="7489940"/>
                  <a:pt x="20428046" y="7537108"/>
                  <a:pt x="20142814" y="7635564"/>
                </a:cubicBezTo>
                <a:moveTo>
                  <a:pt x="24622718" y="7415894"/>
                </a:moveTo>
                <a:lnTo>
                  <a:pt x="24633886" y="7416633"/>
                </a:lnTo>
                <a:moveTo>
                  <a:pt x="20142814" y="7635108"/>
                </a:moveTo>
                <a:cubicBezTo>
                  <a:pt x="19805030" y="7748008"/>
                  <a:pt x="18872548" y="7914615"/>
                  <a:pt x="18066244" y="7988802"/>
                </a:cubicBezTo>
                <a:moveTo>
                  <a:pt x="24665668" y="6931728"/>
                </a:moveTo>
                <a:lnTo>
                  <a:pt x="24654654" y="6931005"/>
                </a:lnTo>
                <a:moveTo>
                  <a:pt x="18998254" y="6560194"/>
                </a:moveTo>
                <a:cubicBezTo>
                  <a:pt x="17124166" y="6459947"/>
                  <a:pt x="15319918" y="6341672"/>
                  <a:pt x="13443409" y="6196079"/>
                </a:cubicBezTo>
                <a:moveTo>
                  <a:pt x="9275737" y="5436398"/>
                </a:moveTo>
                <a:lnTo>
                  <a:pt x="10227192" y="5498766"/>
                </a:lnTo>
                <a:cubicBezTo>
                  <a:pt x="10417700" y="5511246"/>
                  <a:pt x="10555661" y="5520299"/>
                  <a:pt x="10555661" y="5520299"/>
                </a:cubicBezTo>
                <a:moveTo>
                  <a:pt x="10555676" y="5519796"/>
                </a:moveTo>
                <a:cubicBezTo>
                  <a:pt x="10790220" y="5527168"/>
                  <a:pt x="11036438" y="5551310"/>
                  <a:pt x="11263383" y="5504063"/>
                </a:cubicBezTo>
                <a:moveTo>
                  <a:pt x="24761164" y="5477971"/>
                </a:moveTo>
                <a:lnTo>
                  <a:pt x="24749994" y="5477249"/>
                </a:lnTo>
                <a:moveTo>
                  <a:pt x="15489769" y="4210548"/>
                </a:moveTo>
                <a:cubicBezTo>
                  <a:pt x="14977762" y="4248978"/>
                  <a:pt x="14447096" y="4214194"/>
                  <a:pt x="13896795" y="4316454"/>
                </a:cubicBezTo>
                <a:moveTo>
                  <a:pt x="11840225" y="4608393"/>
                </a:moveTo>
                <a:cubicBezTo>
                  <a:pt x="11840225" y="4608393"/>
                  <a:pt x="11736420" y="4614774"/>
                  <a:pt x="11564650" y="4609163"/>
                </a:cubicBezTo>
                <a:cubicBezTo>
                  <a:pt x="11479032" y="4606365"/>
                  <a:pt x="10623579" y="4550772"/>
                  <a:pt x="10623579" y="4550772"/>
                </a:cubicBezTo>
                <a:moveTo>
                  <a:pt x="17200786" y="4157957"/>
                </a:moveTo>
                <a:cubicBezTo>
                  <a:pt x="16699226" y="4126505"/>
                  <a:pt x="16197666" y="4094112"/>
                  <a:pt x="15695475" y="4064971"/>
                </a:cubicBezTo>
                <a:moveTo>
                  <a:pt x="24792944" y="4993051"/>
                </a:moveTo>
                <a:lnTo>
                  <a:pt x="24781932" y="4992328"/>
                </a:lnTo>
                <a:moveTo>
                  <a:pt x="14311291" y="4099408"/>
                </a:moveTo>
                <a:cubicBezTo>
                  <a:pt x="13919514" y="4133013"/>
                  <a:pt x="13491913" y="4152031"/>
                  <a:pt x="13140600" y="4177934"/>
                </a:cubicBezTo>
                <a:moveTo>
                  <a:pt x="5533323" y="3742335"/>
                </a:moveTo>
                <a:cubicBezTo>
                  <a:pt x="5601697" y="3723757"/>
                  <a:pt x="5708680" y="3742068"/>
                  <a:pt x="5816937" y="3749157"/>
                </a:cubicBezTo>
                <a:lnTo>
                  <a:pt x="6803413" y="3813819"/>
                </a:lnTo>
                <a:moveTo>
                  <a:pt x="17402166" y="8385657"/>
                </a:moveTo>
                <a:cubicBezTo>
                  <a:pt x="16570374" y="8400321"/>
                  <a:pt x="15721277" y="8344665"/>
                  <a:pt x="14871708" y="8200471"/>
                </a:cubicBezTo>
                <a:moveTo>
                  <a:pt x="21113996" y="7756165"/>
                </a:moveTo>
                <a:cubicBezTo>
                  <a:pt x="20895784" y="7806320"/>
                  <a:pt x="20741758" y="7839045"/>
                  <a:pt x="20402560" y="7924564"/>
                </a:cubicBezTo>
                <a:moveTo>
                  <a:pt x="24729384" y="5962405"/>
                </a:moveTo>
                <a:lnTo>
                  <a:pt x="24718214" y="5961666"/>
                </a:lnTo>
                <a:moveTo>
                  <a:pt x="12251605" y="4868284"/>
                </a:moveTo>
                <a:cubicBezTo>
                  <a:pt x="12003735" y="4901448"/>
                  <a:pt x="11785333" y="4981231"/>
                  <a:pt x="11549373" y="5027865"/>
                </a:cubicBezTo>
                <a:moveTo>
                  <a:pt x="4229596" y="3720409"/>
                </a:moveTo>
                <a:cubicBezTo>
                  <a:pt x="4780038" y="3721666"/>
                  <a:pt x="5123044" y="3367736"/>
                  <a:pt x="5592446" y="3263937"/>
                </a:cubicBezTo>
                <a:moveTo>
                  <a:pt x="1697927" y="2992635"/>
                </a:moveTo>
                <a:lnTo>
                  <a:pt x="2684403" y="3057297"/>
                </a:lnTo>
                <a:cubicBezTo>
                  <a:pt x="2848904" y="3068080"/>
                  <a:pt x="2903450" y="3081534"/>
                  <a:pt x="2938046" y="3090399"/>
                </a:cubicBezTo>
                <a:moveTo>
                  <a:pt x="24824882" y="4508602"/>
                </a:moveTo>
                <a:lnTo>
                  <a:pt x="24813712" y="4507879"/>
                </a:lnTo>
                <a:moveTo>
                  <a:pt x="24888442" y="3539279"/>
                </a:moveTo>
                <a:lnTo>
                  <a:pt x="24877430" y="3538556"/>
                </a:lnTo>
                <a:moveTo>
                  <a:pt x="24920380" y="3054405"/>
                </a:moveTo>
                <a:lnTo>
                  <a:pt x="24909210" y="3053682"/>
                </a:lnTo>
                <a:moveTo>
                  <a:pt x="24984098" y="2085067"/>
                </a:moveTo>
                <a:lnTo>
                  <a:pt x="24972926" y="2084328"/>
                </a:lnTo>
              </a:path>
            </a:pathLst>
          </a:custGeom>
          <a:noFill/>
          <a:ln w="50800" cap="flat">
            <a:solidFill>
              <a:schemeClr val="bg1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" name="Текст 11">
            <a:extLst>
              <a:ext uri="{FF2B5EF4-FFF2-40B4-BE49-F238E27FC236}">
                <a16:creationId xmlns:a16="http://schemas.microsoft.com/office/drawing/2014/main" id="{7383184D-C523-AA74-47DA-77258BF79F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2338" y="3562982"/>
            <a:ext cx="17280756" cy="572002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1300" b="1" i="0" kern="1200" dirty="0">
                <a:solidFill>
                  <a:schemeClr val="tx1"/>
                </a:solidFill>
                <a:latin typeface="YS Text Wide" pitchFamily="2" charset="0"/>
                <a:ea typeface="YS Text Wide" pitchFamily="2" charset="0"/>
                <a:cs typeface="YS Text Wide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ХХХ</a:t>
            </a:r>
          </a:p>
        </p:txBody>
      </p:sp>
      <p:sp>
        <p:nvSpPr>
          <p:cNvPr id="5" name="Текст 11">
            <a:extLst>
              <a:ext uri="{FF2B5EF4-FFF2-40B4-BE49-F238E27FC236}">
                <a16:creationId xmlns:a16="http://schemas.microsoft.com/office/drawing/2014/main" id="{D3905870-B0EC-91AD-3240-9A09149898C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2338" y="8729011"/>
            <a:ext cx="6855189" cy="110799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Почему она такая важная?</a:t>
            </a:r>
            <a:br>
              <a:rPr lang="ru-RU" dirty="0"/>
            </a:br>
            <a:r>
              <a:rPr lang="ru-RU" dirty="0"/>
              <a:t>И что это за цифра вообще?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9E38838-5B0E-AA61-51AC-91223B18B81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9885"/>
                    </a14:imgEffect>
                    <a14:imgEffect>
                      <a14:brightnessContrast contrast="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93763" y="1509402"/>
            <a:ext cx="2231450" cy="205358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71CCAA7-C322-2C09-E2F7-839B5A9E7A2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9885"/>
                    </a14:imgEffect>
                    <a14:imgEffect>
                      <a14:brightnessContrast contrast="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7206" y="11655038"/>
            <a:ext cx="2794000" cy="279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53329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буллитами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">
            <a:extLst>
              <a:ext uri="{FF2B5EF4-FFF2-40B4-BE49-F238E27FC236}">
                <a16:creationId xmlns:a16="http://schemas.microsoft.com/office/drawing/2014/main" id="{9C3AE1D4-CB79-A20E-0E5B-B52A872E6127}"/>
              </a:ext>
            </a:extLst>
          </p:cNvPr>
          <p:cNvSpPr/>
          <p:nvPr userDrawn="1"/>
        </p:nvSpPr>
        <p:spPr>
          <a:xfrm rot="14782214" flipH="1">
            <a:off x="-186758" y="15267391"/>
            <a:ext cx="37651226" cy="16275492"/>
          </a:xfrm>
          <a:custGeom>
            <a:avLst/>
            <a:gdLst>
              <a:gd name="connsiteX0" fmla="*/ 24781932 w 25004707"/>
              <a:gd name="connsiteY0" fmla="*/ 4992328 h 10808782"/>
              <a:gd name="connsiteX1" fmla="*/ 24813712 w 25004707"/>
              <a:gd name="connsiteY1" fmla="*/ 4507894 h 10808782"/>
              <a:gd name="connsiteX2" fmla="*/ 24781932 w 25004707"/>
              <a:gd name="connsiteY2" fmla="*/ 4992328 h 10808782"/>
              <a:gd name="connsiteX3" fmla="*/ 24749994 w 25004707"/>
              <a:gd name="connsiteY3" fmla="*/ 5477249 h 10808782"/>
              <a:gd name="connsiteX4" fmla="*/ 24781932 w 25004707"/>
              <a:gd name="connsiteY4" fmla="*/ 4992328 h 10808782"/>
              <a:gd name="connsiteX5" fmla="*/ 23497668 w 25004707"/>
              <a:gd name="connsiteY5" fmla="*/ 4908160 h 10808782"/>
              <a:gd name="connsiteX6" fmla="*/ 23465886 w 25004707"/>
              <a:gd name="connsiteY6" fmla="*/ 5393065 h 10808782"/>
              <a:gd name="connsiteX7" fmla="*/ 24813712 w 25004707"/>
              <a:gd name="connsiteY7" fmla="*/ 4507894 h 10808782"/>
              <a:gd name="connsiteX8" fmla="*/ 24845492 w 25004707"/>
              <a:gd name="connsiteY8" fmla="*/ 4022989 h 10808782"/>
              <a:gd name="connsiteX9" fmla="*/ 24813712 w 25004707"/>
              <a:gd name="connsiteY9" fmla="*/ 4507894 h 10808782"/>
              <a:gd name="connsiteX10" fmla="*/ 23529446 w 25004707"/>
              <a:gd name="connsiteY10" fmla="*/ 4423711 h 10808782"/>
              <a:gd name="connsiteX11" fmla="*/ 24718214 w 25004707"/>
              <a:gd name="connsiteY11" fmla="*/ 5961666 h 10808782"/>
              <a:gd name="connsiteX12" fmla="*/ 24686276 w 25004707"/>
              <a:gd name="connsiteY12" fmla="*/ 6446571 h 10808782"/>
              <a:gd name="connsiteX13" fmla="*/ 23402168 w 25004707"/>
              <a:gd name="connsiteY13" fmla="*/ 6362388 h 10808782"/>
              <a:gd name="connsiteX14" fmla="*/ 24718214 w 25004707"/>
              <a:gd name="connsiteY14" fmla="*/ 5961666 h 10808782"/>
              <a:gd name="connsiteX15" fmla="*/ 24749994 w 25004707"/>
              <a:gd name="connsiteY15" fmla="*/ 5477249 h 10808782"/>
              <a:gd name="connsiteX16" fmla="*/ 24718214 w 25004707"/>
              <a:gd name="connsiteY16" fmla="*/ 5961666 h 10808782"/>
              <a:gd name="connsiteX17" fmla="*/ 23433948 w 25004707"/>
              <a:gd name="connsiteY17" fmla="*/ 5877498 h 10808782"/>
              <a:gd name="connsiteX18" fmla="*/ 24749994 w 25004707"/>
              <a:gd name="connsiteY18" fmla="*/ 5477249 h 10808782"/>
              <a:gd name="connsiteX19" fmla="*/ 23465886 w 25004707"/>
              <a:gd name="connsiteY19" fmla="*/ 5393065 h 10808782"/>
              <a:gd name="connsiteX20" fmla="*/ 24940990 w 25004707"/>
              <a:gd name="connsiteY20" fmla="*/ 2568777 h 10808782"/>
              <a:gd name="connsiteX21" fmla="*/ 24909210 w 25004707"/>
              <a:gd name="connsiteY21" fmla="*/ 3053682 h 10808782"/>
              <a:gd name="connsiteX22" fmla="*/ 23624944 w 25004707"/>
              <a:gd name="connsiteY22" fmla="*/ 2969499 h 10808782"/>
              <a:gd name="connsiteX23" fmla="*/ 24877430 w 25004707"/>
              <a:gd name="connsiteY23" fmla="*/ 3538571 h 10808782"/>
              <a:gd name="connsiteX24" fmla="*/ 24845492 w 25004707"/>
              <a:gd name="connsiteY24" fmla="*/ 4023005 h 10808782"/>
              <a:gd name="connsiteX25" fmla="*/ 24845492 w 25004707"/>
              <a:gd name="connsiteY25" fmla="*/ 4023005 h 10808782"/>
              <a:gd name="connsiteX26" fmla="*/ 24856664 w 25004707"/>
              <a:gd name="connsiteY26" fmla="*/ 4023744 h 10808782"/>
              <a:gd name="connsiteX27" fmla="*/ 24845492 w 25004707"/>
              <a:gd name="connsiteY27" fmla="*/ 4023005 h 10808782"/>
              <a:gd name="connsiteX28" fmla="*/ 23561384 w 25004707"/>
              <a:gd name="connsiteY28" fmla="*/ 3938837 h 10808782"/>
              <a:gd name="connsiteX29" fmla="*/ 24940990 w 25004707"/>
              <a:gd name="connsiteY29" fmla="*/ 2568777 h 10808782"/>
              <a:gd name="connsiteX30" fmla="*/ 23656882 w 25004707"/>
              <a:gd name="connsiteY30" fmla="*/ 2484594 h 10808782"/>
              <a:gd name="connsiteX31" fmla="*/ 23624944 w 25004707"/>
              <a:gd name="connsiteY31" fmla="*/ 2969499 h 10808782"/>
              <a:gd name="connsiteX32" fmla="*/ 24940990 w 25004707"/>
              <a:gd name="connsiteY32" fmla="*/ 2568777 h 10808782"/>
              <a:gd name="connsiteX33" fmla="*/ 24952160 w 25004707"/>
              <a:gd name="connsiteY33" fmla="*/ 2569500 h 10808782"/>
              <a:gd name="connsiteX34" fmla="*/ 24940990 w 25004707"/>
              <a:gd name="connsiteY34" fmla="*/ 2568777 h 10808782"/>
              <a:gd name="connsiteX35" fmla="*/ 25004708 w 25004707"/>
              <a:gd name="connsiteY35" fmla="*/ 1599423 h 10808782"/>
              <a:gd name="connsiteX36" fmla="*/ 5763304 w 25004707"/>
              <a:gd name="connsiteY36" fmla="*/ 338142 h 10808782"/>
              <a:gd name="connsiteX37" fmla="*/ 631905 w 25004707"/>
              <a:gd name="connsiteY37" fmla="*/ 1774 h 10808782"/>
              <a:gd name="connsiteX38" fmla="*/ 604841 w 25004707"/>
              <a:gd name="connsiteY38" fmla="*/ 0 h 10808782"/>
              <a:gd name="connsiteX39" fmla="*/ 0 w 25004707"/>
              <a:gd name="connsiteY39" fmla="*/ 9209356 h 10808782"/>
              <a:gd name="connsiteX40" fmla="*/ 1284177 w 25004707"/>
              <a:gd name="connsiteY40" fmla="*/ 9293539 h 10808782"/>
              <a:gd name="connsiteX41" fmla="*/ 24909210 w 25004707"/>
              <a:gd name="connsiteY41" fmla="*/ 3053651 h 10808782"/>
              <a:gd name="connsiteX42" fmla="*/ 24877430 w 25004707"/>
              <a:gd name="connsiteY42" fmla="*/ 3538556 h 10808782"/>
              <a:gd name="connsiteX43" fmla="*/ 23593164 w 25004707"/>
              <a:gd name="connsiteY43" fmla="*/ 3454388 h 10808782"/>
              <a:gd name="connsiteX44" fmla="*/ 24590780 w 25004707"/>
              <a:gd name="connsiteY44" fmla="*/ 7900799 h 10808782"/>
              <a:gd name="connsiteX45" fmla="*/ 24622718 w 25004707"/>
              <a:gd name="connsiteY45" fmla="*/ 7415910 h 10808782"/>
              <a:gd name="connsiteX46" fmla="*/ 24590780 w 25004707"/>
              <a:gd name="connsiteY46" fmla="*/ 7900799 h 10808782"/>
              <a:gd name="connsiteX47" fmla="*/ 23306672 w 25004707"/>
              <a:gd name="connsiteY47" fmla="*/ 7816615 h 10808782"/>
              <a:gd name="connsiteX48" fmla="*/ 23274890 w 25004707"/>
              <a:gd name="connsiteY48" fmla="*/ 8301049 h 10808782"/>
              <a:gd name="connsiteX49" fmla="*/ 21990782 w 25004707"/>
              <a:gd name="connsiteY49" fmla="*/ 8216849 h 10808782"/>
              <a:gd name="connsiteX50" fmla="*/ 21466882 w 25004707"/>
              <a:gd name="connsiteY50" fmla="*/ 8182522 h 10808782"/>
              <a:gd name="connsiteX51" fmla="*/ 20799970 w 25004707"/>
              <a:gd name="connsiteY51" fmla="*/ 8169870 h 10808782"/>
              <a:gd name="connsiteX52" fmla="*/ 24590780 w 25004707"/>
              <a:gd name="connsiteY52" fmla="*/ 7900799 h 10808782"/>
              <a:gd name="connsiteX53" fmla="*/ 24601948 w 25004707"/>
              <a:gd name="connsiteY53" fmla="*/ 7901538 h 10808782"/>
              <a:gd name="connsiteX54" fmla="*/ 24622718 w 25004707"/>
              <a:gd name="connsiteY54" fmla="*/ 7415910 h 10808782"/>
              <a:gd name="connsiteX55" fmla="*/ 24654496 w 25004707"/>
              <a:gd name="connsiteY55" fmla="*/ 6931005 h 10808782"/>
              <a:gd name="connsiteX56" fmla="*/ 24622718 w 25004707"/>
              <a:gd name="connsiteY56" fmla="*/ 7415910 h 10808782"/>
              <a:gd name="connsiteX57" fmla="*/ 23338452 w 25004707"/>
              <a:gd name="connsiteY57" fmla="*/ 7331710 h 10808782"/>
              <a:gd name="connsiteX58" fmla="*/ 24558998 w 25004707"/>
              <a:gd name="connsiteY58" fmla="*/ 8385232 h 10808782"/>
              <a:gd name="connsiteX59" fmla="*/ 24527218 w 25004707"/>
              <a:gd name="connsiteY59" fmla="*/ 8870137 h 10808782"/>
              <a:gd name="connsiteX60" fmla="*/ 23242952 w 25004707"/>
              <a:gd name="connsiteY60" fmla="*/ 8785953 h 10808782"/>
              <a:gd name="connsiteX61" fmla="*/ 24558998 w 25004707"/>
              <a:gd name="connsiteY61" fmla="*/ 8385232 h 10808782"/>
              <a:gd name="connsiteX62" fmla="*/ 24590780 w 25004707"/>
              <a:gd name="connsiteY62" fmla="*/ 7900799 h 10808782"/>
              <a:gd name="connsiteX63" fmla="*/ 24558998 w 25004707"/>
              <a:gd name="connsiteY63" fmla="*/ 8385232 h 10808782"/>
              <a:gd name="connsiteX64" fmla="*/ 23274890 w 25004707"/>
              <a:gd name="connsiteY64" fmla="*/ 8301049 h 10808782"/>
              <a:gd name="connsiteX65" fmla="*/ 23242952 w 25004707"/>
              <a:gd name="connsiteY65" fmla="*/ 8785953 h 10808782"/>
              <a:gd name="connsiteX66" fmla="*/ 24654496 w 25004707"/>
              <a:gd name="connsiteY66" fmla="*/ 6931005 h 10808782"/>
              <a:gd name="connsiteX67" fmla="*/ 24686434 w 25004707"/>
              <a:gd name="connsiteY67" fmla="*/ 6446571 h 10808782"/>
              <a:gd name="connsiteX68" fmla="*/ 24697448 w 25004707"/>
              <a:gd name="connsiteY68" fmla="*/ 6447294 h 10808782"/>
              <a:gd name="connsiteX69" fmla="*/ 24654496 w 25004707"/>
              <a:gd name="connsiteY69" fmla="*/ 6931005 h 10808782"/>
              <a:gd name="connsiteX70" fmla="*/ 23370388 w 25004707"/>
              <a:gd name="connsiteY70" fmla="*/ 6846837 h 10808782"/>
              <a:gd name="connsiteX71" fmla="*/ 24463500 w 25004707"/>
              <a:gd name="connsiteY71" fmla="*/ 9839444 h 10808782"/>
              <a:gd name="connsiteX72" fmla="*/ 24431722 w 25004707"/>
              <a:gd name="connsiteY72" fmla="*/ 10323878 h 10808782"/>
              <a:gd name="connsiteX73" fmla="*/ 23147614 w 25004707"/>
              <a:gd name="connsiteY73" fmla="*/ 10239694 h 10808782"/>
              <a:gd name="connsiteX74" fmla="*/ 23338608 w 25004707"/>
              <a:gd name="connsiteY74" fmla="*/ 7331726 h 10808782"/>
              <a:gd name="connsiteX75" fmla="*/ 23306672 w 25004707"/>
              <a:gd name="connsiteY75" fmla="*/ 7816631 h 10808782"/>
              <a:gd name="connsiteX76" fmla="*/ 22022564 w 25004707"/>
              <a:gd name="connsiteY76" fmla="*/ 7732447 h 10808782"/>
              <a:gd name="connsiteX77" fmla="*/ 23242952 w 25004707"/>
              <a:gd name="connsiteY77" fmla="*/ 8785953 h 10808782"/>
              <a:gd name="connsiteX78" fmla="*/ 23211172 w 25004707"/>
              <a:gd name="connsiteY78" fmla="*/ 9270371 h 10808782"/>
              <a:gd name="connsiteX79" fmla="*/ 23242952 w 25004707"/>
              <a:gd name="connsiteY79" fmla="*/ 8785953 h 10808782"/>
              <a:gd name="connsiteX80" fmla="*/ 21958844 w 25004707"/>
              <a:gd name="connsiteY80" fmla="*/ 8701770 h 10808782"/>
              <a:gd name="connsiteX81" fmla="*/ 23433948 w 25004707"/>
              <a:gd name="connsiteY81" fmla="*/ 5877498 h 10808782"/>
              <a:gd name="connsiteX82" fmla="*/ 23465886 w 25004707"/>
              <a:gd name="connsiteY82" fmla="*/ 5393065 h 10808782"/>
              <a:gd name="connsiteX83" fmla="*/ 23433948 w 25004707"/>
              <a:gd name="connsiteY83" fmla="*/ 5877498 h 10808782"/>
              <a:gd name="connsiteX84" fmla="*/ 22149840 w 25004707"/>
              <a:gd name="connsiteY84" fmla="*/ 5793299 h 10808782"/>
              <a:gd name="connsiteX85" fmla="*/ 22138828 w 25004707"/>
              <a:gd name="connsiteY85" fmla="*/ 6277685 h 10808782"/>
              <a:gd name="connsiteX86" fmla="*/ 23465886 w 25004707"/>
              <a:gd name="connsiteY86" fmla="*/ 5393065 h 10808782"/>
              <a:gd name="connsiteX87" fmla="*/ 22181622 w 25004707"/>
              <a:gd name="connsiteY87" fmla="*/ 5308881 h 10808782"/>
              <a:gd name="connsiteX88" fmla="*/ 23115676 w 25004707"/>
              <a:gd name="connsiteY88" fmla="*/ 10724599 h 10808782"/>
              <a:gd name="connsiteX89" fmla="*/ 23147614 w 25004707"/>
              <a:gd name="connsiteY89" fmla="*/ 10239709 h 10808782"/>
              <a:gd name="connsiteX90" fmla="*/ 23115676 w 25004707"/>
              <a:gd name="connsiteY90" fmla="*/ 10724599 h 10808782"/>
              <a:gd name="connsiteX91" fmla="*/ 24399940 w 25004707"/>
              <a:gd name="connsiteY91" fmla="*/ 10808782 h 10808782"/>
              <a:gd name="connsiteX92" fmla="*/ 24431722 w 25004707"/>
              <a:gd name="connsiteY92" fmla="*/ 10323878 h 10808782"/>
              <a:gd name="connsiteX93" fmla="*/ 23115676 w 25004707"/>
              <a:gd name="connsiteY93" fmla="*/ 10724599 h 10808782"/>
              <a:gd name="connsiteX94" fmla="*/ 21831568 w 25004707"/>
              <a:gd name="connsiteY94" fmla="*/ 10640431 h 10808782"/>
              <a:gd name="connsiteX95" fmla="*/ 23147614 w 25004707"/>
              <a:gd name="connsiteY95" fmla="*/ 10239709 h 10808782"/>
              <a:gd name="connsiteX96" fmla="*/ 23179392 w 25004707"/>
              <a:gd name="connsiteY96" fmla="*/ 9755261 h 10808782"/>
              <a:gd name="connsiteX97" fmla="*/ 23147614 w 25004707"/>
              <a:gd name="connsiteY97" fmla="*/ 10239709 h 10808782"/>
              <a:gd name="connsiteX98" fmla="*/ 21863348 w 25004707"/>
              <a:gd name="connsiteY98" fmla="*/ 10155526 h 10808782"/>
              <a:gd name="connsiteX99" fmla="*/ 23720600 w 25004707"/>
              <a:gd name="connsiteY99" fmla="*/ 1515244 h 10808782"/>
              <a:gd name="connsiteX100" fmla="*/ 23688662 w 25004707"/>
              <a:gd name="connsiteY100" fmla="*/ 2000144 h 10808782"/>
              <a:gd name="connsiteX101" fmla="*/ 23688662 w 25004707"/>
              <a:gd name="connsiteY101" fmla="*/ 2000144 h 10808782"/>
              <a:gd name="connsiteX102" fmla="*/ 24972772 w 25004707"/>
              <a:gd name="connsiteY102" fmla="*/ 2084312 h 10808782"/>
              <a:gd name="connsiteX103" fmla="*/ 23688662 w 25004707"/>
              <a:gd name="connsiteY103" fmla="*/ 2000144 h 10808782"/>
              <a:gd name="connsiteX104" fmla="*/ 22404554 w 25004707"/>
              <a:gd name="connsiteY104" fmla="*/ 1915976 h 10808782"/>
              <a:gd name="connsiteX105" fmla="*/ 23179392 w 25004707"/>
              <a:gd name="connsiteY105" fmla="*/ 9755261 h 10808782"/>
              <a:gd name="connsiteX106" fmla="*/ 23211172 w 25004707"/>
              <a:gd name="connsiteY106" fmla="*/ 9270387 h 10808782"/>
              <a:gd name="connsiteX107" fmla="*/ 23179392 w 25004707"/>
              <a:gd name="connsiteY107" fmla="*/ 9755261 h 10808782"/>
              <a:gd name="connsiteX108" fmla="*/ 21895126 w 25004707"/>
              <a:gd name="connsiteY108" fmla="*/ 9671092 h 10808782"/>
              <a:gd name="connsiteX109" fmla="*/ 21863348 w 25004707"/>
              <a:gd name="connsiteY109" fmla="*/ 10155526 h 10808782"/>
              <a:gd name="connsiteX110" fmla="*/ 23179392 w 25004707"/>
              <a:gd name="connsiteY110" fmla="*/ 9755261 h 10808782"/>
              <a:gd name="connsiteX111" fmla="*/ 24463500 w 25004707"/>
              <a:gd name="connsiteY111" fmla="*/ 9839460 h 10808782"/>
              <a:gd name="connsiteX112" fmla="*/ 24495438 w 25004707"/>
              <a:gd name="connsiteY112" fmla="*/ 9354555 h 10808782"/>
              <a:gd name="connsiteX113" fmla="*/ 24506452 w 25004707"/>
              <a:gd name="connsiteY113" fmla="*/ 9355294 h 10808782"/>
              <a:gd name="connsiteX114" fmla="*/ 23593164 w 25004707"/>
              <a:gd name="connsiteY114" fmla="*/ 3454388 h 10808782"/>
              <a:gd name="connsiteX115" fmla="*/ 23625102 w 25004707"/>
              <a:gd name="connsiteY115" fmla="*/ 2969483 h 10808782"/>
              <a:gd name="connsiteX116" fmla="*/ 23593164 w 25004707"/>
              <a:gd name="connsiteY116" fmla="*/ 3454388 h 10808782"/>
              <a:gd name="connsiteX117" fmla="*/ 22309056 w 25004707"/>
              <a:gd name="connsiteY117" fmla="*/ 3370204 h 10808782"/>
              <a:gd name="connsiteX118" fmla="*/ 23624944 w 25004707"/>
              <a:gd name="connsiteY118" fmla="*/ 2969499 h 10808782"/>
              <a:gd name="connsiteX119" fmla="*/ 22340836 w 25004707"/>
              <a:gd name="connsiteY119" fmla="*/ 2885315 h 10808782"/>
              <a:gd name="connsiteX120" fmla="*/ 23593164 w 25004707"/>
              <a:gd name="connsiteY120" fmla="*/ 3454388 h 10808782"/>
              <a:gd name="connsiteX121" fmla="*/ 23561384 w 25004707"/>
              <a:gd name="connsiteY121" fmla="*/ 3938821 h 10808782"/>
              <a:gd name="connsiteX122" fmla="*/ 22277118 w 25004707"/>
              <a:gd name="connsiteY122" fmla="*/ 3854653 h 10808782"/>
              <a:gd name="connsiteX123" fmla="*/ 23434106 w 25004707"/>
              <a:gd name="connsiteY123" fmla="*/ 5877482 h 10808782"/>
              <a:gd name="connsiteX124" fmla="*/ 23402168 w 25004707"/>
              <a:gd name="connsiteY124" fmla="*/ 6362388 h 10808782"/>
              <a:gd name="connsiteX125" fmla="*/ 22450808 w 25004707"/>
              <a:gd name="connsiteY125" fmla="*/ 6300020 h 10808782"/>
              <a:gd name="connsiteX126" fmla="*/ 22138828 w 25004707"/>
              <a:gd name="connsiteY126" fmla="*/ 6277685 h 10808782"/>
              <a:gd name="connsiteX127" fmla="*/ 23370388 w 25004707"/>
              <a:gd name="connsiteY127" fmla="*/ 6846837 h 10808782"/>
              <a:gd name="connsiteX128" fmla="*/ 23402168 w 25004707"/>
              <a:gd name="connsiteY128" fmla="*/ 6362404 h 10808782"/>
              <a:gd name="connsiteX129" fmla="*/ 23370388 w 25004707"/>
              <a:gd name="connsiteY129" fmla="*/ 6846837 h 10808782"/>
              <a:gd name="connsiteX130" fmla="*/ 23338452 w 25004707"/>
              <a:gd name="connsiteY130" fmla="*/ 7331710 h 10808782"/>
              <a:gd name="connsiteX131" fmla="*/ 23370388 w 25004707"/>
              <a:gd name="connsiteY131" fmla="*/ 6846837 h 10808782"/>
              <a:gd name="connsiteX132" fmla="*/ 22133950 w 25004707"/>
              <a:gd name="connsiteY132" fmla="*/ 6765781 h 10808782"/>
              <a:gd name="connsiteX133" fmla="*/ 23529604 w 25004707"/>
              <a:gd name="connsiteY133" fmla="*/ 4423711 h 10808782"/>
              <a:gd name="connsiteX134" fmla="*/ 23561384 w 25004707"/>
              <a:gd name="connsiteY134" fmla="*/ 3938806 h 10808782"/>
              <a:gd name="connsiteX135" fmla="*/ 23529604 w 25004707"/>
              <a:gd name="connsiteY135" fmla="*/ 4423711 h 10808782"/>
              <a:gd name="connsiteX136" fmla="*/ 23497668 w 25004707"/>
              <a:gd name="connsiteY136" fmla="*/ 4908160 h 10808782"/>
              <a:gd name="connsiteX137" fmla="*/ 22213560 w 25004707"/>
              <a:gd name="connsiteY137" fmla="*/ 4823976 h 10808782"/>
              <a:gd name="connsiteX138" fmla="*/ 23529604 w 25004707"/>
              <a:gd name="connsiteY138" fmla="*/ 4423711 h 10808782"/>
              <a:gd name="connsiteX139" fmla="*/ 22245338 w 25004707"/>
              <a:gd name="connsiteY139" fmla="*/ 4339527 h 10808782"/>
              <a:gd name="connsiteX140" fmla="*/ 23338452 w 25004707"/>
              <a:gd name="connsiteY140" fmla="*/ 7331710 h 10808782"/>
              <a:gd name="connsiteX141" fmla="*/ 22387090 w 25004707"/>
              <a:gd name="connsiteY141" fmla="*/ 7269358 h 10808782"/>
              <a:gd name="connsiteX142" fmla="*/ 22074952 w 25004707"/>
              <a:gd name="connsiteY142" fmla="*/ 7250780 h 10808782"/>
              <a:gd name="connsiteX143" fmla="*/ 23688662 w 25004707"/>
              <a:gd name="connsiteY143" fmla="*/ 2000160 h 10808782"/>
              <a:gd name="connsiteX144" fmla="*/ 23656882 w 25004707"/>
              <a:gd name="connsiteY144" fmla="*/ 2484594 h 10808782"/>
              <a:gd name="connsiteX145" fmla="*/ 22372618 w 25004707"/>
              <a:gd name="connsiteY145" fmla="*/ 2400410 h 10808782"/>
              <a:gd name="connsiteX146" fmla="*/ 23211172 w 25004707"/>
              <a:gd name="connsiteY146" fmla="*/ 9270371 h 10808782"/>
              <a:gd name="connsiteX147" fmla="*/ 24495438 w 25004707"/>
              <a:gd name="connsiteY147" fmla="*/ 9354555 h 10808782"/>
              <a:gd name="connsiteX148" fmla="*/ 24527218 w 25004707"/>
              <a:gd name="connsiteY148" fmla="*/ 8870122 h 10808782"/>
              <a:gd name="connsiteX149" fmla="*/ 24538388 w 25004707"/>
              <a:gd name="connsiteY149" fmla="*/ 8870860 h 10808782"/>
              <a:gd name="connsiteX150" fmla="*/ 23211172 w 25004707"/>
              <a:gd name="connsiteY150" fmla="*/ 9270371 h 10808782"/>
              <a:gd name="connsiteX151" fmla="*/ 21927064 w 25004707"/>
              <a:gd name="connsiteY151" fmla="*/ 9186203 h 10808782"/>
              <a:gd name="connsiteX152" fmla="*/ 21831568 w 25004707"/>
              <a:gd name="connsiteY152" fmla="*/ 10640431 h 10808782"/>
              <a:gd name="connsiteX153" fmla="*/ 21863348 w 25004707"/>
              <a:gd name="connsiteY153" fmla="*/ 10155526 h 10808782"/>
              <a:gd name="connsiteX154" fmla="*/ 21831568 w 25004707"/>
              <a:gd name="connsiteY154" fmla="*/ 10640431 h 10808782"/>
              <a:gd name="connsiteX155" fmla="*/ 20547302 w 25004707"/>
              <a:gd name="connsiteY155" fmla="*/ 10556248 h 10808782"/>
              <a:gd name="connsiteX156" fmla="*/ 21863348 w 25004707"/>
              <a:gd name="connsiteY156" fmla="*/ 10155526 h 10808782"/>
              <a:gd name="connsiteX157" fmla="*/ 20579240 w 25004707"/>
              <a:gd name="connsiteY157" fmla="*/ 10071342 h 10808782"/>
              <a:gd name="connsiteX158" fmla="*/ 22340836 w 25004707"/>
              <a:gd name="connsiteY158" fmla="*/ 2885299 h 10808782"/>
              <a:gd name="connsiteX159" fmla="*/ 22308898 w 25004707"/>
              <a:gd name="connsiteY159" fmla="*/ 3370204 h 10808782"/>
              <a:gd name="connsiteX160" fmla="*/ 21024790 w 25004707"/>
              <a:gd name="connsiteY160" fmla="*/ 3286020 h 10808782"/>
              <a:gd name="connsiteX161" fmla="*/ 22277118 w 25004707"/>
              <a:gd name="connsiteY161" fmla="*/ 3854653 h 10808782"/>
              <a:gd name="connsiteX162" fmla="*/ 22308898 w 25004707"/>
              <a:gd name="connsiteY162" fmla="*/ 3370220 h 10808782"/>
              <a:gd name="connsiteX163" fmla="*/ 22277118 w 25004707"/>
              <a:gd name="connsiteY163" fmla="*/ 3854653 h 10808782"/>
              <a:gd name="connsiteX164" fmla="*/ 20993010 w 25004707"/>
              <a:gd name="connsiteY164" fmla="*/ 3770469 h 10808782"/>
              <a:gd name="connsiteX165" fmla="*/ 21927064 w 25004707"/>
              <a:gd name="connsiteY165" fmla="*/ 9186203 h 10808782"/>
              <a:gd name="connsiteX166" fmla="*/ 21895126 w 25004707"/>
              <a:gd name="connsiteY166" fmla="*/ 9671109 h 10808782"/>
              <a:gd name="connsiteX167" fmla="*/ 20611018 w 25004707"/>
              <a:gd name="connsiteY167" fmla="*/ 9586925 h 10808782"/>
              <a:gd name="connsiteX168" fmla="*/ 21927064 w 25004707"/>
              <a:gd name="connsiteY168" fmla="*/ 9186203 h 10808782"/>
              <a:gd name="connsiteX169" fmla="*/ 21958844 w 25004707"/>
              <a:gd name="connsiteY169" fmla="*/ 8701770 h 10808782"/>
              <a:gd name="connsiteX170" fmla="*/ 21927064 w 25004707"/>
              <a:gd name="connsiteY170" fmla="*/ 9186203 h 10808782"/>
              <a:gd name="connsiteX171" fmla="*/ 20642800 w 25004707"/>
              <a:gd name="connsiteY171" fmla="*/ 9102019 h 10808782"/>
              <a:gd name="connsiteX172" fmla="*/ 22436334 w 25004707"/>
              <a:gd name="connsiteY172" fmla="*/ 1431070 h 10808782"/>
              <a:gd name="connsiteX173" fmla="*/ 22404554 w 25004707"/>
              <a:gd name="connsiteY173" fmla="*/ 1915976 h 10808782"/>
              <a:gd name="connsiteX174" fmla="*/ 22404554 w 25004707"/>
              <a:gd name="connsiteY174" fmla="*/ 1915976 h 10808782"/>
              <a:gd name="connsiteX175" fmla="*/ 21120288 w 25004707"/>
              <a:gd name="connsiteY175" fmla="*/ 1831793 h 10808782"/>
              <a:gd name="connsiteX176" fmla="*/ 22022564 w 25004707"/>
              <a:gd name="connsiteY176" fmla="*/ 7732431 h 10808782"/>
              <a:gd name="connsiteX177" fmla="*/ 22074952 w 25004707"/>
              <a:gd name="connsiteY177" fmla="*/ 7250780 h 10808782"/>
              <a:gd name="connsiteX178" fmla="*/ 22022564 w 25004707"/>
              <a:gd name="connsiteY178" fmla="*/ 7732431 h 10808782"/>
              <a:gd name="connsiteX179" fmla="*/ 21113838 w 25004707"/>
              <a:gd name="connsiteY179" fmla="*/ 7756637 h 10808782"/>
              <a:gd name="connsiteX180" fmla="*/ 22022564 w 25004707"/>
              <a:gd name="connsiteY180" fmla="*/ 7732431 h 10808782"/>
              <a:gd name="connsiteX181" fmla="*/ 21958844 w 25004707"/>
              <a:gd name="connsiteY181" fmla="*/ 8701770 h 10808782"/>
              <a:gd name="connsiteX182" fmla="*/ 22181622 w 25004707"/>
              <a:gd name="connsiteY182" fmla="*/ 5308897 h 10808782"/>
              <a:gd name="connsiteX183" fmla="*/ 22149840 w 25004707"/>
              <a:gd name="connsiteY183" fmla="*/ 5793330 h 10808782"/>
              <a:gd name="connsiteX184" fmla="*/ 21252128 w 25004707"/>
              <a:gd name="connsiteY184" fmla="*/ 5650708 h 10808782"/>
              <a:gd name="connsiteX185" fmla="*/ 21488592 w 25004707"/>
              <a:gd name="connsiteY185" fmla="*/ 6165430 h 10808782"/>
              <a:gd name="connsiteX186" fmla="*/ 21015036 w 25004707"/>
              <a:gd name="connsiteY186" fmla="*/ 5981942 h 10808782"/>
              <a:gd name="connsiteX187" fmla="*/ 22074952 w 25004707"/>
              <a:gd name="connsiteY187" fmla="*/ 7250780 h 10808782"/>
              <a:gd name="connsiteX188" fmla="*/ 22133950 w 25004707"/>
              <a:gd name="connsiteY188" fmla="*/ 6766253 h 10808782"/>
              <a:gd name="connsiteX189" fmla="*/ 22138828 w 25004707"/>
              <a:gd name="connsiteY189" fmla="*/ 6277685 h 10808782"/>
              <a:gd name="connsiteX190" fmla="*/ 22133950 w 25004707"/>
              <a:gd name="connsiteY190" fmla="*/ 6765781 h 10808782"/>
              <a:gd name="connsiteX191" fmla="*/ 21562380 w 25004707"/>
              <a:gd name="connsiteY191" fmla="*/ 6728310 h 10808782"/>
              <a:gd name="connsiteX192" fmla="*/ 22138828 w 25004707"/>
              <a:gd name="connsiteY192" fmla="*/ 6277685 h 10808782"/>
              <a:gd name="connsiteX193" fmla="*/ 21488592 w 25004707"/>
              <a:gd name="connsiteY193" fmla="*/ 6165414 h 10808782"/>
              <a:gd name="connsiteX194" fmla="*/ 22245338 w 25004707"/>
              <a:gd name="connsiteY194" fmla="*/ 4339527 h 10808782"/>
              <a:gd name="connsiteX195" fmla="*/ 22277276 w 25004707"/>
              <a:gd name="connsiteY195" fmla="*/ 3854622 h 10808782"/>
              <a:gd name="connsiteX196" fmla="*/ 22245338 w 25004707"/>
              <a:gd name="connsiteY196" fmla="*/ 4339527 h 10808782"/>
              <a:gd name="connsiteX197" fmla="*/ 20961230 w 25004707"/>
              <a:gd name="connsiteY197" fmla="*/ 4255359 h 10808782"/>
              <a:gd name="connsiteX198" fmla="*/ 21958844 w 25004707"/>
              <a:gd name="connsiteY198" fmla="*/ 8701770 h 10808782"/>
              <a:gd name="connsiteX199" fmla="*/ 20674580 w 25004707"/>
              <a:gd name="connsiteY199" fmla="*/ 8617586 h 10808782"/>
              <a:gd name="connsiteX200" fmla="*/ 20642800 w 25004707"/>
              <a:gd name="connsiteY200" fmla="*/ 9102019 h 10808782"/>
              <a:gd name="connsiteX201" fmla="*/ 22181622 w 25004707"/>
              <a:gd name="connsiteY201" fmla="*/ 5308881 h 10808782"/>
              <a:gd name="connsiteX202" fmla="*/ 22213560 w 25004707"/>
              <a:gd name="connsiteY202" fmla="*/ 4823992 h 10808782"/>
              <a:gd name="connsiteX203" fmla="*/ 22181622 w 25004707"/>
              <a:gd name="connsiteY203" fmla="*/ 5308881 h 10808782"/>
              <a:gd name="connsiteX204" fmla="*/ 21849030 w 25004707"/>
              <a:gd name="connsiteY204" fmla="*/ 5287081 h 10808782"/>
              <a:gd name="connsiteX205" fmla="*/ 20995686 w 25004707"/>
              <a:gd name="connsiteY205" fmla="*/ 5199596 h 10808782"/>
              <a:gd name="connsiteX206" fmla="*/ 21252128 w 25004707"/>
              <a:gd name="connsiteY206" fmla="*/ 5651180 h 10808782"/>
              <a:gd name="connsiteX207" fmla="*/ 20568856 w 25004707"/>
              <a:gd name="connsiteY207" fmla="*/ 5391367 h 10808782"/>
              <a:gd name="connsiteX208" fmla="*/ 21015666 w 25004707"/>
              <a:gd name="connsiteY208" fmla="*/ 5981974 h 10808782"/>
              <a:gd name="connsiteX209" fmla="*/ 22245338 w 25004707"/>
              <a:gd name="connsiteY209" fmla="*/ 4339543 h 10808782"/>
              <a:gd name="connsiteX210" fmla="*/ 22213560 w 25004707"/>
              <a:gd name="connsiteY210" fmla="*/ 4823976 h 10808782"/>
              <a:gd name="connsiteX211" fmla="*/ 20929452 w 25004707"/>
              <a:gd name="connsiteY211" fmla="*/ 4739792 h 10808782"/>
              <a:gd name="connsiteX212" fmla="*/ 22372774 w 25004707"/>
              <a:gd name="connsiteY212" fmla="*/ 2400425 h 10808782"/>
              <a:gd name="connsiteX213" fmla="*/ 22340836 w 25004707"/>
              <a:gd name="connsiteY213" fmla="*/ 2885315 h 10808782"/>
              <a:gd name="connsiteX214" fmla="*/ 22340836 w 25004707"/>
              <a:gd name="connsiteY214" fmla="*/ 2885315 h 10808782"/>
              <a:gd name="connsiteX215" fmla="*/ 21056728 w 25004707"/>
              <a:gd name="connsiteY215" fmla="*/ 2801147 h 10808782"/>
              <a:gd name="connsiteX216" fmla="*/ 22404398 w 25004707"/>
              <a:gd name="connsiteY216" fmla="*/ 1915976 h 10808782"/>
              <a:gd name="connsiteX217" fmla="*/ 22372618 w 25004707"/>
              <a:gd name="connsiteY217" fmla="*/ 2400410 h 10808782"/>
              <a:gd name="connsiteX218" fmla="*/ 22372618 w 25004707"/>
              <a:gd name="connsiteY218" fmla="*/ 2400410 h 10808782"/>
              <a:gd name="connsiteX219" fmla="*/ 21088510 w 25004707"/>
              <a:gd name="connsiteY219" fmla="*/ 2316226 h 10808782"/>
              <a:gd name="connsiteX220" fmla="*/ 20579240 w 25004707"/>
              <a:gd name="connsiteY220" fmla="*/ 10071342 h 10808782"/>
              <a:gd name="connsiteX221" fmla="*/ 20611018 w 25004707"/>
              <a:gd name="connsiteY221" fmla="*/ 9586909 h 10808782"/>
              <a:gd name="connsiteX222" fmla="*/ 20579240 w 25004707"/>
              <a:gd name="connsiteY222" fmla="*/ 10071342 h 10808782"/>
              <a:gd name="connsiteX223" fmla="*/ 19294974 w 25004707"/>
              <a:gd name="connsiteY223" fmla="*/ 9987158 h 10808782"/>
              <a:gd name="connsiteX224" fmla="*/ 21562380 w 25004707"/>
              <a:gd name="connsiteY224" fmla="*/ 6728766 h 10808782"/>
              <a:gd name="connsiteX225" fmla="*/ 21415592 w 25004707"/>
              <a:gd name="connsiteY225" fmla="*/ 7277186 h 10808782"/>
              <a:gd name="connsiteX226" fmla="*/ 22074952 w 25004707"/>
              <a:gd name="connsiteY226" fmla="*/ 7250749 h 10808782"/>
              <a:gd name="connsiteX227" fmla="*/ 20993010 w 25004707"/>
              <a:gd name="connsiteY227" fmla="*/ 3770469 h 10808782"/>
              <a:gd name="connsiteX228" fmla="*/ 21024790 w 25004707"/>
              <a:gd name="connsiteY228" fmla="*/ 3286052 h 10808782"/>
              <a:gd name="connsiteX229" fmla="*/ 20993010 w 25004707"/>
              <a:gd name="connsiteY229" fmla="*/ 3770469 h 10808782"/>
              <a:gd name="connsiteX230" fmla="*/ 19708746 w 25004707"/>
              <a:gd name="connsiteY230" fmla="*/ 3686286 h 10808782"/>
              <a:gd name="connsiteX231" fmla="*/ 20929294 w 25004707"/>
              <a:gd name="connsiteY231" fmla="*/ 4739792 h 10808782"/>
              <a:gd name="connsiteX232" fmla="*/ 20995528 w 25004707"/>
              <a:gd name="connsiteY232" fmla="*/ 5199596 h 10808782"/>
              <a:gd name="connsiteX233" fmla="*/ 20097030 w 25004707"/>
              <a:gd name="connsiteY233" fmla="*/ 4955313 h 10808782"/>
              <a:gd name="connsiteX234" fmla="*/ 20642800 w 25004707"/>
              <a:gd name="connsiteY234" fmla="*/ 9102019 h 10808782"/>
              <a:gd name="connsiteX235" fmla="*/ 20611018 w 25004707"/>
              <a:gd name="connsiteY235" fmla="*/ 9586925 h 10808782"/>
              <a:gd name="connsiteX236" fmla="*/ 19326754 w 25004707"/>
              <a:gd name="connsiteY236" fmla="*/ 9502741 h 10808782"/>
              <a:gd name="connsiteX237" fmla="*/ 20642800 w 25004707"/>
              <a:gd name="connsiteY237" fmla="*/ 9102019 h 10808782"/>
              <a:gd name="connsiteX238" fmla="*/ 19358692 w 25004707"/>
              <a:gd name="connsiteY238" fmla="*/ 9017836 h 10808782"/>
              <a:gd name="connsiteX239" fmla="*/ 20961230 w 25004707"/>
              <a:gd name="connsiteY239" fmla="*/ 4255359 h 10808782"/>
              <a:gd name="connsiteX240" fmla="*/ 20929294 w 25004707"/>
              <a:gd name="connsiteY240" fmla="*/ 4739792 h 10808782"/>
              <a:gd name="connsiteX241" fmla="*/ 19750594 w 25004707"/>
              <a:gd name="connsiteY241" fmla="*/ 4599921 h 10808782"/>
              <a:gd name="connsiteX242" fmla="*/ 20961230 w 25004707"/>
              <a:gd name="connsiteY242" fmla="*/ 4255359 h 10808782"/>
              <a:gd name="connsiteX243" fmla="*/ 20993010 w 25004707"/>
              <a:gd name="connsiteY243" fmla="*/ 3770454 h 10808782"/>
              <a:gd name="connsiteX244" fmla="*/ 20961230 w 25004707"/>
              <a:gd name="connsiteY244" fmla="*/ 4255359 h 10808782"/>
              <a:gd name="connsiteX245" fmla="*/ 19676964 w 25004707"/>
              <a:gd name="connsiteY245" fmla="*/ 4171175 h 10808782"/>
              <a:gd name="connsiteX246" fmla="*/ 21120288 w 25004707"/>
              <a:gd name="connsiteY246" fmla="*/ 1831808 h 10808782"/>
              <a:gd name="connsiteX247" fmla="*/ 21088510 w 25004707"/>
              <a:gd name="connsiteY247" fmla="*/ 2316226 h 10808782"/>
              <a:gd name="connsiteX248" fmla="*/ 21088510 w 25004707"/>
              <a:gd name="connsiteY248" fmla="*/ 2316226 h 10808782"/>
              <a:gd name="connsiteX249" fmla="*/ 21056728 w 25004707"/>
              <a:gd name="connsiteY249" fmla="*/ 2801131 h 10808782"/>
              <a:gd name="connsiteX250" fmla="*/ 21088510 w 25004707"/>
              <a:gd name="connsiteY250" fmla="*/ 2316226 h 10808782"/>
              <a:gd name="connsiteX251" fmla="*/ 19804244 w 25004707"/>
              <a:gd name="connsiteY251" fmla="*/ 2232058 h 10808782"/>
              <a:gd name="connsiteX252" fmla="*/ 21152226 w 25004707"/>
              <a:gd name="connsiteY252" fmla="*/ 1346888 h 10808782"/>
              <a:gd name="connsiteX253" fmla="*/ 21120288 w 25004707"/>
              <a:gd name="connsiteY253" fmla="*/ 1831793 h 10808782"/>
              <a:gd name="connsiteX254" fmla="*/ 21120288 w 25004707"/>
              <a:gd name="connsiteY254" fmla="*/ 1831793 h 10808782"/>
              <a:gd name="connsiteX255" fmla="*/ 19836180 w 25004707"/>
              <a:gd name="connsiteY255" fmla="*/ 1747609 h 10808782"/>
              <a:gd name="connsiteX256" fmla="*/ 21056728 w 25004707"/>
              <a:gd name="connsiteY256" fmla="*/ 2801131 h 10808782"/>
              <a:gd name="connsiteX257" fmla="*/ 21024790 w 25004707"/>
              <a:gd name="connsiteY257" fmla="*/ 3286020 h 10808782"/>
              <a:gd name="connsiteX258" fmla="*/ 21056728 w 25004707"/>
              <a:gd name="connsiteY258" fmla="*/ 2801131 h 10808782"/>
              <a:gd name="connsiteX259" fmla="*/ 19772464 w 25004707"/>
              <a:gd name="connsiteY259" fmla="*/ 2716963 h 10808782"/>
              <a:gd name="connsiteX260" fmla="*/ 21024790 w 25004707"/>
              <a:gd name="connsiteY260" fmla="*/ 3286020 h 10808782"/>
              <a:gd name="connsiteX261" fmla="*/ 19740684 w 25004707"/>
              <a:gd name="connsiteY261" fmla="*/ 3201853 h 10808782"/>
              <a:gd name="connsiteX262" fmla="*/ 21488592 w 25004707"/>
              <a:gd name="connsiteY262" fmla="*/ 6165430 h 10808782"/>
              <a:gd name="connsiteX263" fmla="*/ 21562380 w 25004707"/>
              <a:gd name="connsiteY263" fmla="*/ 6728310 h 10808782"/>
              <a:gd name="connsiteX264" fmla="*/ 21184006 w 25004707"/>
              <a:gd name="connsiteY264" fmla="*/ 6703508 h 10808782"/>
              <a:gd name="connsiteX265" fmla="*/ 20674736 w 25004707"/>
              <a:gd name="connsiteY265" fmla="*/ 8617602 h 10808782"/>
              <a:gd name="connsiteX266" fmla="*/ 20690628 w 25004707"/>
              <a:gd name="connsiteY266" fmla="*/ 8375378 h 10808782"/>
              <a:gd name="connsiteX267" fmla="*/ 20800442 w 25004707"/>
              <a:gd name="connsiteY267" fmla="*/ 8170860 h 10808782"/>
              <a:gd name="connsiteX268" fmla="*/ 21113838 w 25004707"/>
              <a:gd name="connsiteY268" fmla="*/ 7756165 h 10808782"/>
              <a:gd name="connsiteX269" fmla="*/ 21415434 w 25004707"/>
              <a:gd name="connsiteY269" fmla="*/ 7276714 h 10808782"/>
              <a:gd name="connsiteX270" fmla="*/ 20579240 w 25004707"/>
              <a:gd name="connsiteY270" fmla="*/ 10071342 h 10808782"/>
              <a:gd name="connsiteX271" fmla="*/ 20547302 w 25004707"/>
              <a:gd name="connsiteY271" fmla="*/ 10556248 h 10808782"/>
              <a:gd name="connsiteX272" fmla="*/ 19263194 w 25004707"/>
              <a:gd name="connsiteY272" fmla="*/ 10472064 h 10808782"/>
              <a:gd name="connsiteX273" fmla="*/ 20800442 w 25004707"/>
              <a:gd name="connsiteY273" fmla="*/ 8170372 h 10808782"/>
              <a:gd name="connsiteX274" fmla="*/ 21113838 w 25004707"/>
              <a:gd name="connsiteY274" fmla="*/ 7756149 h 10808782"/>
              <a:gd name="connsiteX275" fmla="*/ 20096558 w 25004707"/>
              <a:gd name="connsiteY275" fmla="*/ 4954825 h 10808782"/>
              <a:gd name="connsiteX276" fmla="*/ 20568856 w 25004707"/>
              <a:gd name="connsiteY276" fmla="*/ 5391367 h 10808782"/>
              <a:gd name="connsiteX277" fmla="*/ 19539460 w 25004707"/>
              <a:gd name="connsiteY277" fmla="*/ 4997829 h 10808782"/>
              <a:gd name="connsiteX278" fmla="*/ 19676964 w 25004707"/>
              <a:gd name="connsiteY278" fmla="*/ 4170719 h 10808782"/>
              <a:gd name="connsiteX279" fmla="*/ 19750594 w 25004707"/>
              <a:gd name="connsiteY279" fmla="*/ 4599953 h 10808782"/>
              <a:gd name="connsiteX280" fmla="*/ 18586528 w 25004707"/>
              <a:gd name="connsiteY280" fmla="*/ 4366498 h 10808782"/>
              <a:gd name="connsiteX281" fmla="*/ 20097188 w 25004707"/>
              <a:gd name="connsiteY281" fmla="*/ 4954857 h 10808782"/>
              <a:gd name="connsiteX282" fmla="*/ 19751068 w 25004707"/>
              <a:gd name="connsiteY282" fmla="*/ 4599984 h 10808782"/>
              <a:gd name="connsiteX283" fmla="*/ 19772464 w 25004707"/>
              <a:gd name="connsiteY283" fmla="*/ 2716947 h 10808782"/>
              <a:gd name="connsiteX284" fmla="*/ 19740684 w 25004707"/>
              <a:gd name="connsiteY284" fmla="*/ 3201853 h 10808782"/>
              <a:gd name="connsiteX285" fmla="*/ 18456576 w 25004707"/>
              <a:gd name="connsiteY285" fmla="*/ 3117669 h 10808782"/>
              <a:gd name="connsiteX286" fmla="*/ 20922686 w 25004707"/>
              <a:gd name="connsiteY286" fmla="*/ 7397316 h 10808782"/>
              <a:gd name="connsiteX287" fmla="*/ 21184006 w 25004707"/>
              <a:gd name="connsiteY287" fmla="*/ 6703963 h 10808782"/>
              <a:gd name="connsiteX288" fmla="*/ 19877714 w 25004707"/>
              <a:gd name="connsiteY288" fmla="*/ 8295752 h 10808782"/>
              <a:gd name="connsiteX289" fmla="*/ 20403032 w 25004707"/>
              <a:gd name="connsiteY289" fmla="*/ 7924611 h 10808782"/>
              <a:gd name="connsiteX290" fmla="*/ 19740684 w 25004707"/>
              <a:gd name="connsiteY290" fmla="*/ 3201853 h 10808782"/>
              <a:gd name="connsiteX291" fmla="*/ 19708746 w 25004707"/>
              <a:gd name="connsiteY291" fmla="*/ 3686286 h 10808782"/>
              <a:gd name="connsiteX292" fmla="*/ 19708746 w 25004707"/>
              <a:gd name="connsiteY292" fmla="*/ 3686286 h 10808782"/>
              <a:gd name="connsiteX293" fmla="*/ 18424638 w 25004707"/>
              <a:gd name="connsiteY293" fmla="*/ 3602118 h 10808782"/>
              <a:gd name="connsiteX294" fmla="*/ 19804244 w 25004707"/>
              <a:gd name="connsiteY294" fmla="*/ 2232042 h 10808782"/>
              <a:gd name="connsiteX295" fmla="*/ 19772464 w 25004707"/>
              <a:gd name="connsiteY295" fmla="*/ 2716947 h 10808782"/>
              <a:gd name="connsiteX296" fmla="*/ 18488356 w 25004707"/>
              <a:gd name="connsiteY296" fmla="*/ 2632764 h 10808782"/>
              <a:gd name="connsiteX297" fmla="*/ 19804244 w 25004707"/>
              <a:gd name="connsiteY297" fmla="*/ 2232042 h 10808782"/>
              <a:gd name="connsiteX298" fmla="*/ 19836180 w 25004707"/>
              <a:gd name="connsiteY298" fmla="*/ 1747625 h 10808782"/>
              <a:gd name="connsiteX299" fmla="*/ 19804244 w 25004707"/>
              <a:gd name="connsiteY299" fmla="*/ 2232042 h 10808782"/>
              <a:gd name="connsiteX300" fmla="*/ 18520136 w 25004707"/>
              <a:gd name="connsiteY300" fmla="*/ 2147874 h 10808782"/>
              <a:gd name="connsiteX301" fmla="*/ 19676964 w 25004707"/>
              <a:gd name="connsiteY301" fmla="*/ 4171175 h 10808782"/>
              <a:gd name="connsiteX302" fmla="*/ 19708902 w 25004707"/>
              <a:gd name="connsiteY302" fmla="*/ 3686270 h 10808782"/>
              <a:gd name="connsiteX303" fmla="*/ 19676964 w 25004707"/>
              <a:gd name="connsiteY303" fmla="*/ 4171175 h 10808782"/>
              <a:gd name="connsiteX304" fmla="*/ 19344218 w 25004707"/>
              <a:gd name="connsiteY304" fmla="*/ 4149359 h 10808782"/>
              <a:gd name="connsiteX305" fmla="*/ 18402454 w 25004707"/>
              <a:gd name="connsiteY305" fmla="*/ 4077278 h 10808782"/>
              <a:gd name="connsiteX306" fmla="*/ 19326754 w 25004707"/>
              <a:gd name="connsiteY306" fmla="*/ 9502725 h 10808782"/>
              <a:gd name="connsiteX307" fmla="*/ 19294974 w 25004707"/>
              <a:gd name="connsiteY307" fmla="*/ 9987158 h 10808782"/>
              <a:gd name="connsiteX308" fmla="*/ 18010866 w 25004707"/>
              <a:gd name="connsiteY308" fmla="*/ 9902991 h 10808782"/>
              <a:gd name="connsiteX309" fmla="*/ 19263194 w 25004707"/>
              <a:gd name="connsiteY309" fmla="*/ 10472064 h 10808782"/>
              <a:gd name="connsiteX310" fmla="*/ 19294974 w 25004707"/>
              <a:gd name="connsiteY310" fmla="*/ 9987175 h 10808782"/>
              <a:gd name="connsiteX311" fmla="*/ 19263194 w 25004707"/>
              <a:gd name="connsiteY311" fmla="*/ 10472064 h 10808782"/>
              <a:gd name="connsiteX312" fmla="*/ 17978928 w 25004707"/>
              <a:gd name="connsiteY312" fmla="*/ 10387896 h 10808782"/>
              <a:gd name="connsiteX313" fmla="*/ 19326754 w 25004707"/>
              <a:gd name="connsiteY313" fmla="*/ 9502741 h 10808782"/>
              <a:gd name="connsiteX314" fmla="*/ 19358692 w 25004707"/>
              <a:gd name="connsiteY314" fmla="*/ 9017852 h 10808782"/>
              <a:gd name="connsiteX315" fmla="*/ 19326754 w 25004707"/>
              <a:gd name="connsiteY315" fmla="*/ 9502741 h 10808782"/>
              <a:gd name="connsiteX316" fmla="*/ 18042646 w 25004707"/>
              <a:gd name="connsiteY316" fmla="*/ 9418573 h 10808782"/>
              <a:gd name="connsiteX317" fmla="*/ 19358692 w 25004707"/>
              <a:gd name="connsiteY317" fmla="*/ 9017852 h 10808782"/>
              <a:gd name="connsiteX318" fmla="*/ 19487700 w 25004707"/>
              <a:gd name="connsiteY318" fmla="*/ 8601900 h 10808782"/>
              <a:gd name="connsiteX319" fmla="*/ 19358692 w 25004707"/>
              <a:gd name="connsiteY319" fmla="*/ 9017852 h 10808782"/>
              <a:gd name="connsiteX320" fmla="*/ 18082764 w 25004707"/>
              <a:gd name="connsiteY320" fmla="*/ 8945975 h 10808782"/>
              <a:gd name="connsiteX321" fmla="*/ 21015666 w 25004707"/>
              <a:gd name="connsiteY321" fmla="*/ 5981974 h 10808782"/>
              <a:gd name="connsiteX322" fmla="*/ 21184006 w 25004707"/>
              <a:gd name="connsiteY322" fmla="*/ 6703508 h 10808782"/>
              <a:gd name="connsiteX323" fmla="*/ 21015666 w 25004707"/>
              <a:gd name="connsiteY323" fmla="*/ 5981974 h 10808782"/>
              <a:gd name="connsiteX324" fmla="*/ 20273552 w 25004707"/>
              <a:gd name="connsiteY324" fmla="*/ 5643966 h 10808782"/>
              <a:gd name="connsiteX325" fmla="*/ 21184006 w 25004707"/>
              <a:gd name="connsiteY325" fmla="*/ 6703508 h 10808782"/>
              <a:gd name="connsiteX326" fmla="*/ 20666240 w 25004707"/>
              <a:gd name="connsiteY326" fmla="*/ 6669558 h 10808782"/>
              <a:gd name="connsiteX327" fmla="*/ 19487700 w 25004707"/>
              <a:gd name="connsiteY327" fmla="*/ 8602388 h 10808782"/>
              <a:gd name="connsiteX328" fmla="*/ 19877244 w 25004707"/>
              <a:gd name="connsiteY328" fmla="*/ 8295720 h 10808782"/>
              <a:gd name="connsiteX329" fmla="*/ 20922686 w 25004707"/>
              <a:gd name="connsiteY329" fmla="*/ 7397331 h 10808782"/>
              <a:gd name="connsiteX330" fmla="*/ 20402560 w 25004707"/>
              <a:gd name="connsiteY330" fmla="*/ 7924564 h 10808782"/>
              <a:gd name="connsiteX331" fmla="*/ 19330530 w 25004707"/>
              <a:gd name="connsiteY331" fmla="*/ 8180368 h 10808782"/>
              <a:gd name="connsiteX332" fmla="*/ 19867960 w 25004707"/>
              <a:gd name="connsiteY332" fmla="*/ 1262715 h 10808782"/>
              <a:gd name="connsiteX333" fmla="*/ 19836024 w 25004707"/>
              <a:gd name="connsiteY333" fmla="*/ 1747609 h 10808782"/>
              <a:gd name="connsiteX334" fmla="*/ 18551914 w 25004707"/>
              <a:gd name="connsiteY334" fmla="*/ 1663441 h 10808782"/>
              <a:gd name="connsiteX335" fmla="*/ 18583852 w 25004707"/>
              <a:gd name="connsiteY335" fmla="*/ 1178533 h 10808782"/>
              <a:gd name="connsiteX336" fmla="*/ 18551914 w 25004707"/>
              <a:gd name="connsiteY336" fmla="*/ 1663425 h 10808782"/>
              <a:gd name="connsiteX337" fmla="*/ 18551914 w 25004707"/>
              <a:gd name="connsiteY337" fmla="*/ 1663425 h 10808782"/>
              <a:gd name="connsiteX338" fmla="*/ 18520136 w 25004707"/>
              <a:gd name="connsiteY338" fmla="*/ 2147874 h 10808782"/>
              <a:gd name="connsiteX339" fmla="*/ 18551914 w 25004707"/>
              <a:gd name="connsiteY339" fmla="*/ 1663425 h 10808782"/>
              <a:gd name="connsiteX340" fmla="*/ 17267806 w 25004707"/>
              <a:gd name="connsiteY340" fmla="*/ 1579257 h 10808782"/>
              <a:gd name="connsiteX341" fmla="*/ 18586528 w 25004707"/>
              <a:gd name="connsiteY341" fmla="*/ 4366498 h 10808782"/>
              <a:gd name="connsiteX342" fmla="*/ 18402610 w 25004707"/>
              <a:gd name="connsiteY342" fmla="*/ 4076822 h 10808782"/>
              <a:gd name="connsiteX343" fmla="*/ 18586528 w 25004707"/>
              <a:gd name="connsiteY343" fmla="*/ 4366498 h 10808782"/>
              <a:gd name="connsiteX344" fmla="*/ 18962698 w 25004707"/>
              <a:gd name="connsiteY344" fmla="*/ 4627804 h 10808782"/>
              <a:gd name="connsiteX345" fmla="*/ 18586528 w 25004707"/>
              <a:gd name="connsiteY345" fmla="*/ 4366498 h 10808782"/>
              <a:gd name="connsiteX346" fmla="*/ 17200786 w 25004707"/>
              <a:gd name="connsiteY346" fmla="*/ 4158019 h 10808782"/>
              <a:gd name="connsiteX347" fmla="*/ 18488356 w 25004707"/>
              <a:gd name="connsiteY347" fmla="*/ 2632764 h 10808782"/>
              <a:gd name="connsiteX348" fmla="*/ 18456418 w 25004707"/>
              <a:gd name="connsiteY348" fmla="*/ 3117653 h 10808782"/>
              <a:gd name="connsiteX349" fmla="*/ 17172310 w 25004707"/>
              <a:gd name="connsiteY349" fmla="*/ 3033485 h 10808782"/>
              <a:gd name="connsiteX350" fmla="*/ 18488356 w 25004707"/>
              <a:gd name="connsiteY350" fmla="*/ 2632764 h 10808782"/>
              <a:gd name="connsiteX351" fmla="*/ 18520136 w 25004707"/>
              <a:gd name="connsiteY351" fmla="*/ 2147874 h 10808782"/>
              <a:gd name="connsiteX352" fmla="*/ 18488356 w 25004707"/>
              <a:gd name="connsiteY352" fmla="*/ 2632764 h 10808782"/>
              <a:gd name="connsiteX353" fmla="*/ 17204090 w 25004707"/>
              <a:gd name="connsiteY353" fmla="*/ 2548596 h 10808782"/>
              <a:gd name="connsiteX354" fmla="*/ 18424638 w 25004707"/>
              <a:gd name="connsiteY354" fmla="*/ 3602118 h 10808782"/>
              <a:gd name="connsiteX355" fmla="*/ 18402454 w 25004707"/>
              <a:gd name="connsiteY355" fmla="*/ 4077310 h 10808782"/>
              <a:gd name="connsiteX356" fmla="*/ 17125426 w 25004707"/>
              <a:gd name="connsiteY356" fmla="*/ 3949824 h 10808782"/>
              <a:gd name="connsiteX357" fmla="*/ 18424638 w 25004707"/>
              <a:gd name="connsiteY357" fmla="*/ 3602118 h 10808782"/>
              <a:gd name="connsiteX358" fmla="*/ 18456418 w 25004707"/>
              <a:gd name="connsiteY358" fmla="*/ 3117684 h 10808782"/>
              <a:gd name="connsiteX359" fmla="*/ 18424638 w 25004707"/>
              <a:gd name="connsiteY359" fmla="*/ 3602118 h 10808782"/>
              <a:gd name="connsiteX360" fmla="*/ 17140372 w 25004707"/>
              <a:gd name="connsiteY360" fmla="*/ 3517934 h 10808782"/>
              <a:gd name="connsiteX361" fmla="*/ 18520136 w 25004707"/>
              <a:gd name="connsiteY361" fmla="*/ 2147874 h 10808782"/>
              <a:gd name="connsiteX362" fmla="*/ 17236028 w 25004707"/>
              <a:gd name="connsiteY362" fmla="*/ 2063691 h 10808782"/>
              <a:gd name="connsiteX363" fmla="*/ 18962698 w 25004707"/>
              <a:gd name="connsiteY363" fmla="*/ 4627804 h 10808782"/>
              <a:gd name="connsiteX364" fmla="*/ 17358900 w 25004707"/>
              <a:gd name="connsiteY364" fmla="*/ 4323180 h 10808782"/>
              <a:gd name="connsiteX365" fmla="*/ 18962698 w 25004707"/>
              <a:gd name="connsiteY365" fmla="*/ 4627804 h 10808782"/>
              <a:gd name="connsiteX366" fmla="*/ 20096558 w 25004707"/>
              <a:gd name="connsiteY366" fmla="*/ 4954825 h 10808782"/>
              <a:gd name="connsiteX367" fmla="*/ 20273552 w 25004707"/>
              <a:gd name="connsiteY367" fmla="*/ 5643966 h 10808782"/>
              <a:gd name="connsiteX368" fmla="*/ 19539618 w 25004707"/>
              <a:gd name="connsiteY368" fmla="*/ 4997813 h 10808782"/>
              <a:gd name="connsiteX369" fmla="*/ 20273552 w 25004707"/>
              <a:gd name="connsiteY369" fmla="*/ 5643966 h 10808782"/>
              <a:gd name="connsiteX370" fmla="*/ 20666240 w 25004707"/>
              <a:gd name="connsiteY370" fmla="*/ 6669558 h 10808782"/>
              <a:gd name="connsiteX371" fmla="*/ 20273552 w 25004707"/>
              <a:gd name="connsiteY371" fmla="*/ 5643966 h 10808782"/>
              <a:gd name="connsiteX372" fmla="*/ 18261016 w 25004707"/>
              <a:gd name="connsiteY372" fmla="*/ 5022238 h 10808782"/>
              <a:gd name="connsiteX373" fmla="*/ 18710344 w 25004707"/>
              <a:gd name="connsiteY373" fmla="*/ 8471883 h 10808782"/>
              <a:gd name="connsiteX374" fmla="*/ 18303180 w 25004707"/>
              <a:gd name="connsiteY374" fmla="*/ 8681872 h 10808782"/>
              <a:gd name="connsiteX375" fmla="*/ 19487858 w 25004707"/>
              <a:gd name="connsiteY375" fmla="*/ 8602371 h 10808782"/>
              <a:gd name="connsiteX376" fmla="*/ 20666084 w 25004707"/>
              <a:gd name="connsiteY376" fmla="*/ 6669542 h 10808782"/>
              <a:gd name="connsiteX377" fmla="*/ 20142814 w 25004707"/>
              <a:gd name="connsiteY377" fmla="*/ 7635092 h 10808782"/>
              <a:gd name="connsiteX378" fmla="*/ 19330530 w 25004707"/>
              <a:gd name="connsiteY378" fmla="*/ 8179866 h 10808782"/>
              <a:gd name="connsiteX379" fmla="*/ 18710188 w 25004707"/>
              <a:gd name="connsiteY379" fmla="*/ 8471868 h 10808782"/>
              <a:gd name="connsiteX380" fmla="*/ 19330530 w 25004707"/>
              <a:gd name="connsiteY380" fmla="*/ 8179881 h 10808782"/>
              <a:gd name="connsiteX381" fmla="*/ 17402166 w 25004707"/>
              <a:gd name="connsiteY381" fmla="*/ 8385201 h 10808782"/>
              <a:gd name="connsiteX382" fmla="*/ 18082764 w 25004707"/>
              <a:gd name="connsiteY382" fmla="*/ 8945975 h 10808782"/>
              <a:gd name="connsiteX383" fmla="*/ 18303180 w 25004707"/>
              <a:gd name="connsiteY383" fmla="*/ 8681400 h 10808782"/>
              <a:gd name="connsiteX384" fmla="*/ 18082764 w 25004707"/>
              <a:gd name="connsiteY384" fmla="*/ 8945975 h 10808782"/>
              <a:gd name="connsiteX385" fmla="*/ 18042646 w 25004707"/>
              <a:gd name="connsiteY385" fmla="*/ 9418573 h 10808782"/>
              <a:gd name="connsiteX386" fmla="*/ 18082764 w 25004707"/>
              <a:gd name="connsiteY386" fmla="*/ 8945975 h 10808782"/>
              <a:gd name="connsiteX387" fmla="*/ 16799444 w 25004707"/>
              <a:gd name="connsiteY387" fmla="*/ 8904669 h 10808782"/>
              <a:gd name="connsiteX388" fmla="*/ 17978928 w 25004707"/>
              <a:gd name="connsiteY388" fmla="*/ 10387896 h 10808782"/>
              <a:gd name="connsiteX389" fmla="*/ 18010866 w 25004707"/>
              <a:gd name="connsiteY389" fmla="*/ 9902991 h 10808782"/>
              <a:gd name="connsiteX390" fmla="*/ 17978928 w 25004707"/>
              <a:gd name="connsiteY390" fmla="*/ 10387896 h 10808782"/>
              <a:gd name="connsiteX391" fmla="*/ 16694821 w 25004707"/>
              <a:gd name="connsiteY391" fmla="*/ 10303712 h 10808782"/>
              <a:gd name="connsiteX392" fmla="*/ 18010866 w 25004707"/>
              <a:gd name="connsiteY392" fmla="*/ 9902991 h 10808782"/>
              <a:gd name="connsiteX393" fmla="*/ 18042646 w 25004707"/>
              <a:gd name="connsiteY393" fmla="*/ 9418558 h 10808782"/>
              <a:gd name="connsiteX394" fmla="*/ 16758537 w 25004707"/>
              <a:gd name="connsiteY394" fmla="*/ 9334389 h 10808782"/>
              <a:gd name="connsiteX395" fmla="*/ 18010866 w 25004707"/>
              <a:gd name="connsiteY395" fmla="*/ 9902991 h 10808782"/>
              <a:gd name="connsiteX396" fmla="*/ 16726601 w 25004707"/>
              <a:gd name="connsiteY396" fmla="*/ 9818807 h 10808782"/>
              <a:gd name="connsiteX397" fmla="*/ 20666240 w 25004707"/>
              <a:gd name="connsiteY397" fmla="*/ 6669558 h 10808782"/>
              <a:gd name="connsiteX398" fmla="*/ 18998410 w 25004707"/>
              <a:gd name="connsiteY398" fmla="*/ 6560226 h 10808782"/>
              <a:gd name="connsiteX399" fmla="*/ 18261646 w 25004707"/>
              <a:gd name="connsiteY399" fmla="*/ 5022270 h 10808782"/>
              <a:gd name="connsiteX400" fmla="*/ 14385738 w 25004707"/>
              <a:gd name="connsiteY400" fmla="*/ 4808195 h 10808782"/>
              <a:gd name="connsiteX401" fmla="*/ 12486354 w 25004707"/>
              <a:gd name="connsiteY401" fmla="*/ 5165033 h 10808782"/>
              <a:gd name="connsiteX402" fmla="*/ 18962698 w 25004707"/>
              <a:gd name="connsiteY402" fmla="*/ 4628276 h 10808782"/>
              <a:gd name="connsiteX403" fmla="*/ 19539460 w 25004707"/>
              <a:gd name="connsiteY403" fmla="*/ 4998269 h 10808782"/>
              <a:gd name="connsiteX404" fmla="*/ 17654520 w 25004707"/>
              <a:gd name="connsiteY404" fmla="*/ 4542992 h 10808782"/>
              <a:gd name="connsiteX405" fmla="*/ 16758537 w 25004707"/>
              <a:gd name="connsiteY405" fmla="*/ 9334389 h 10808782"/>
              <a:gd name="connsiteX406" fmla="*/ 16800072 w 25004707"/>
              <a:gd name="connsiteY406" fmla="*/ 8904700 h 10808782"/>
              <a:gd name="connsiteX407" fmla="*/ 16758537 w 25004707"/>
              <a:gd name="connsiteY407" fmla="*/ 9334389 h 10808782"/>
              <a:gd name="connsiteX408" fmla="*/ 16726601 w 25004707"/>
              <a:gd name="connsiteY408" fmla="*/ 9818807 h 10808782"/>
              <a:gd name="connsiteX409" fmla="*/ 16758537 w 25004707"/>
              <a:gd name="connsiteY409" fmla="*/ 9334389 h 10808782"/>
              <a:gd name="connsiteX410" fmla="*/ 15474273 w 25004707"/>
              <a:gd name="connsiteY410" fmla="*/ 9250206 h 10808782"/>
              <a:gd name="connsiteX411" fmla="*/ 16726601 w 25004707"/>
              <a:gd name="connsiteY411" fmla="*/ 9818807 h 10808782"/>
              <a:gd name="connsiteX412" fmla="*/ 16694821 w 25004707"/>
              <a:gd name="connsiteY412" fmla="*/ 10303712 h 10808782"/>
              <a:gd name="connsiteX413" fmla="*/ 15410602 w 25004707"/>
              <a:gd name="connsiteY413" fmla="*/ 10219528 h 10808782"/>
              <a:gd name="connsiteX414" fmla="*/ 17267806 w 25004707"/>
              <a:gd name="connsiteY414" fmla="*/ 1579257 h 10808782"/>
              <a:gd name="connsiteX415" fmla="*/ 17236028 w 25004707"/>
              <a:gd name="connsiteY415" fmla="*/ 2063691 h 10808782"/>
              <a:gd name="connsiteX416" fmla="*/ 17267806 w 25004707"/>
              <a:gd name="connsiteY416" fmla="*/ 1579257 h 10808782"/>
              <a:gd name="connsiteX417" fmla="*/ 17299588 w 25004707"/>
              <a:gd name="connsiteY417" fmla="*/ 1094351 h 10808782"/>
              <a:gd name="connsiteX418" fmla="*/ 17267806 w 25004707"/>
              <a:gd name="connsiteY418" fmla="*/ 1579257 h 10808782"/>
              <a:gd name="connsiteX419" fmla="*/ 15983542 w 25004707"/>
              <a:gd name="connsiteY419" fmla="*/ 1495075 h 10808782"/>
              <a:gd name="connsiteX420" fmla="*/ 17236028 w 25004707"/>
              <a:gd name="connsiteY420" fmla="*/ 2063691 h 10808782"/>
              <a:gd name="connsiteX421" fmla="*/ 17204090 w 25004707"/>
              <a:gd name="connsiteY421" fmla="*/ 2548596 h 10808782"/>
              <a:gd name="connsiteX422" fmla="*/ 17236028 w 25004707"/>
              <a:gd name="connsiteY422" fmla="*/ 2063691 h 10808782"/>
              <a:gd name="connsiteX423" fmla="*/ 15951762 w 25004707"/>
              <a:gd name="connsiteY423" fmla="*/ 1979523 h 10808782"/>
              <a:gd name="connsiteX424" fmla="*/ 16799444 w 25004707"/>
              <a:gd name="connsiteY424" fmla="*/ 8904669 h 10808782"/>
              <a:gd name="connsiteX425" fmla="*/ 16902020 w 25004707"/>
              <a:gd name="connsiteY425" fmla="*/ 8707648 h 10808782"/>
              <a:gd name="connsiteX426" fmla="*/ 18303180 w 25004707"/>
              <a:gd name="connsiteY426" fmla="*/ 8681872 h 10808782"/>
              <a:gd name="connsiteX427" fmla="*/ 16799444 w 25004707"/>
              <a:gd name="connsiteY427" fmla="*/ 8904669 h 10808782"/>
              <a:gd name="connsiteX428" fmla="*/ 15487866 w 25004707"/>
              <a:gd name="connsiteY428" fmla="*/ 8816367 h 10808782"/>
              <a:gd name="connsiteX429" fmla="*/ 17204090 w 25004707"/>
              <a:gd name="connsiteY429" fmla="*/ 2548596 h 10808782"/>
              <a:gd name="connsiteX430" fmla="*/ 15919982 w 25004707"/>
              <a:gd name="connsiteY430" fmla="*/ 2464396 h 10808782"/>
              <a:gd name="connsiteX431" fmla="*/ 17172310 w 25004707"/>
              <a:gd name="connsiteY431" fmla="*/ 3033501 h 10808782"/>
              <a:gd name="connsiteX432" fmla="*/ 17140372 w 25004707"/>
              <a:gd name="connsiteY432" fmla="*/ 3517934 h 10808782"/>
              <a:gd name="connsiteX433" fmla="*/ 17140372 w 25004707"/>
              <a:gd name="connsiteY433" fmla="*/ 3517934 h 10808782"/>
              <a:gd name="connsiteX434" fmla="*/ 15856264 w 25004707"/>
              <a:gd name="connsiteY434" fmla="*/ 3433766 h 10808782"/>
              <a:gd name="connsiteX435" fmla="*/ 16726601 w 25004707"/>
              <a:gd name="connsiteY435" fmla="*/ 9818807 h 10808782"/>
              <a:gd name="connsiteX436" fmla="*/ 15442492 w 25004707"/>
              <a:gd name="connsiteY436" fmla="*/ 9734623 h 10808782"/>
              <a:gd name="connsiteX437" fmla="*/ 17204090 w 25004707"/>
              <a:gd name="connsiteY437" fmla="*/ 2548580 h 10808782"/>
              <a:gd name="connsiteX438" fmla="*/ 17172310 w 25004707"/>
              <a:gd name="connsiteY438" fmla="*/ 3033485 h 10808782"/>
              <a:gd name="connsiteX439" fmla="*/ 15888202 w 25004707"/>
              <a:gd name="connsiteY439" fmla="*/ 2949301 h 10808782"/>
              <a:gd name="connsiteX440" fmla="*/ 17402166 w 25004707"/>
              <a:gd name="connsiteY440" fmla="*/ 8385673 h 10808782"/>
              <a:gd name="connsiteX441" fmla="*/ 18066716 w 25004707"/>
              <a:gd name="connsiteY441" fmla="*/ 7989305 h 10808782"/>
              <a:gd name="connsiteX442" fmla="*/ 18998254 w 25004707"/>
              <a:gd name="connsiteY442" fmla="*/ 6560697 h 10808782"/>
              <a:gd name="connsiteX443" fmla="*/ 16901864 w 25004707"/>
              <a:gd name="connsiteY443" fmla="*/ 8707648 h 10808782"/>
              <a:gd name="connsiteX444" fmla="*/ 17080274 w 25004707"/>
              <a:gd name="connsiteY444" fmla="*/ 8564539 h 10808782"/>
              <a:gd name="connsiteX445" fmla="*/ 17402166 w 25004707"/>
              <a:gd name="connsiteY445" fmla="*/ 8385201 h 10808782"/>
              <a:gd name="connsiteX446" fmla="*/ 17200630 w 25004707"/>
              <a:gd name="connsiteY446" fmla="*/ 4158019 h 10808782"/>
              <a:gd name="connsiteX447" fmla="*/ 17124954 w 25004707"/>
              <a:gd name="connsiteY447" fmla="*/ 3949321 h 10808782"/>
              <a:gd name="connsiteX448" fmla="*/ 17140530 w 25004707"/>
              <a:gd name="connsiteY448" fmla="*/ 3517934 h 10808782"/>
              <a:gd name="connsiteX449" fmla="*/ 17125426 w 25004707"/>
              <a:gd name="connsiteY449" fmla="*/ 3949352 h 10808782"/>
              <a:gd name="connsiteX450" fmla="*/ 17201730 w 25004707"/>
              <a:gd name="connsiteY450" fmla="*/ 4158098 h 10808782"/>
              <a:gd name="connsiteX451" fmla="*/ 17358742 w 25004707"/>
              <a:gd name="connsiteY451" fmla="*/ 4323196 h 10808782"/>
              <a:gd name="connsiteX452" fmla="*/ 15489707 w 25004707"/>
              <a:gd name="connsiteY452" fmla="*/ 4211020 h 10808782"/>
              <a:gd name="connsiteX453" fmla="*/ 17654676 w 25004707"/>
              <a:gd name="connsiteY453" fmla="*/ 4542552 h 10808782"/>
              <a:gd name="connsiteX454" fmla="*/ 17359372 w 25004707"/>
              <a:gd name="connsiteY454" fmla="*/ 4322756 h 10808782"/>
              <a:gd name="connsiteX455" fmla="*/ 18261488 w 25004707"/>
              <a:gd name="connsiteY455" fmla="*/ 5022254 h 10808782"/>
              <a:gd name="connsiteX456" fmla="*/ 17654520 w 25004707"/>
              <a:gd name="connsiteY456" fmla="*/ 4542536 h 10808782"/>
              <a:gd name="connsiteX457" fmla="*/ 10846386 w 25004707"/>
              <a:gd name="connsiteY457" fmla="*/ 1158336 h 10808782"/>
              <a:gd name="connsiteX458" fmla="*/ 10814575 w 25004707"/>
              <a:gd name="connsiteY458" fmla="*/ 1642772 h 10808782"/>
              <a:gd name="connsiteX459" fmla="*/ 10846386 w 25004707"/>
              <a:gd name="connsiteY459" fmla="*/ 1158336 h 10808782"/>
              <a:gd name="connsiteX460" fmla="*/ 10878229 w 25004707"/>
              <a:gd name="connsiteY460" fmla="*/ 673426 h 10808782"/>
              <a:gd name="connsiteX461" fmla="*/ 10846386 w 25004707"/>
              <a:gd name="connsiteY461" fmla="*/ 1158336 h 10808782"/>
              <a:gd name="connsiteX462" fmla="*/ 9562215 w 25004707"/>
              <a:gd name="connsiteY462" fmla="*/ 1074149 h 10808782"/>
              <a:gd name="connsiteX463" fmla="*/ 10846386 w 25004707"/>
              <a:gd name="connsiteY463" fmla="*/ 1158336 h 10808782"/>
              <a:gd name="connsiteX464" fmla="*/ 12130541 w 25004707"/>
              <a:gd name="connsiteY464" fmla="*/ 1242500 h 10808782"/>
              <a:gd name="connsiteX465" fmla="*/ 10814575 w 25004707"/>
              <a:gd name="connsiteY465" fmla="*/ 1642772 h 10808782"/>
              <a:gd name="connsiteX466" fmla="*/ 10782701 w 25004707"/>
              <a:gd name="connsiteY466" fmla="*/ 2127677 h 10808782"/>
              <a:gd name="connsiteX467" fmla="*/ 10814575 w 25004707"/>
              <a:gd name="connsiteY467" fmla="*/ 1642772 h 10808782"/>
              <a:gd name="connsiteX468" fmla="*/ 12098730 w 25004707"/>
              <a:gd name="connsiteY468" fmla="*/ 1726956 h 10808782"/>
              <a:gd name="connsiteX469" fmla="*/ 10814575 w 25004707"/>
              <a:gd name="connsiteY469" fmla="*/ 1642772 h 10808782"/>
              <a:gd name="connsiteX470" fmla="*/ 9530388 w 25004707"/>
              <a:gd name="connsiteY470" fmla="*/ 1558589 h 10808782"/>
              <a:gd name="connsiteX471" fmla="*/ 10305289 w 25004707"/>
              <a:gd name="connsiteY471" fmla="*/ 9397889 h 10808782"/>
              <a:gd name="connsiteX472" fmla="*/ 10273446 w 25004707"/>
              <a:gd name="connsiteY472" fmla="*/ 9882778 h 10808782"/>
              <a:gd name="connsiteX473" fmla="*/ 8989260 w 25004707"/>
              <a:gd name="connsiteY473" fmla="*/ 9798610 h 10808782"/>
              <a:gd name="connsiteX474" fmla="*/ 10555692 w 25004707"/>
              <a:gd name="connsiteY474" fmla="*/ 5519827 h 10808782"/>
              <a:gd name="connsiteX475" fmla="*/ 10507424 w 25004707"/>
              <a:gd name="connsiteY475" fmla="*/ 6003648 h 10808782"/>
              <a:gd name="connsiteX476" fmla="*/ 10555614 w 25004707"/>
              <a:gd name="connsiteY476" fmla="*/ 5519341 h 10808782"/>
              <a:gd name="connsiteX477" fmla="*/ 10575783 w 25004707"/>
              <a:gd name="connsiteY477" fmla="*/ 5277870 h 10808782"/>
              <a:gd name="connsiteX478" fmla="*/ 10591688 w 25004707"/>
              <a:gd name="connsiteY478" fmla="*/ 5035661 h 10808782"/>
              <a:gd name="connsiteX479" fmla="*/ 11548855 w 25004707"/>
              <a:gd name="connsiteY479" fmla="*/ 5027347 h 10808782"/>
              <a:gd name="connsiteX480" fmla="*/ 10337085 w 25004707"/>
              <a:gd name="connsiteY480" fmla="*/ 8913455 h 10808782"/>
              <a:gd name="connsiteX481" fmla="*/ 10305258 w 25004707"/>
              <a:gd name="connsiteY481" fmla="*/ 9397889 h 10808782"/>
              <a:gd name="connsiteX482" fmla="*/ 9021087 w 25004707"/>
              <a:gd name="connsiteY482" fmla="*/ 9313705 h 10808782"/>
              <a:gd name="connsiteX483" fmla="*/ 10337085 w 25004707"/>
              <a:gd name="connsiteY483" fmla="*/ 8913455 h 10808782"/>
              <a:gd name="connsiteX484" fmla="*/ 10368913 w 25004707"/>
              <a:gd name="connsiteY484" fmla="*/ 8428566 h 10808782"/>
              <a:gd name="connsiteX485" fmla="*/ 10337085 w 25004707"/>
              <a:gd name="connsiteY485" fmla="*/ 8913455 h 10808782"/>
              <a:gd name="connsiteX486" fmla="*/ 9052883 w 25004707"/>
              <a:gd name="connsiteY486" fmla="*/ 8829287 h 10808782"/>
              <a:gd name="connsiteX487" fmla="*/ 10464347 w 25004707"/>
              <a:gd name="connsiteY487" fmla="*/ 6974794 h 10808782"/>
              <a:gd name="connsiteX488" fmla="*/ 10432536 w 25004707"/>
              <a:gd name="connsiteY488" fmla="*/ 7459228 h 10808782"/>
              <a:gd name="connsiteX489" fmla="*/ 9148365 w 25004707"/>
              <a:gd name="connsiteY489" fmla="*/ 7375059 h 10808782"/>
              <a:gd name="connsiteX490" fmla="*/ 9116522 w 25004707"/>
              <a:gd name="connsiteY490" fmla="*/ 7859965 h 10808782"/>
              <a:gd name="connsiteX491" fmla="*/ 10782731 w 25004707"/>
              <a:gd name="connsiteY491" fmla="*/ 2127662 h 10808782"/>
              <a:gd name="connsiteX492" fmla="*/ 10750888 w 25004707"/>
              <a:gd name="connsiteY492" fmla="*/ 2612551 h 10808782"/>
              <a:gd name="connsiteX493" fmla="*/ 10750888 w 25004707"/>
              <a:gd name="connsiteY493" fmla="*/ 2612551 h 10808782"/>
              <a:gd name="connsiteX494" fmla="*/ 12035043 w 25004707"/>
              <a:gd name="connsiteY494" fmla="*/ 2696735 h 10808782"/>
              <a:gd name="connsiteX495" fmla="*/ 10750888 w 25004707"/>
              <a:gd name="connsiteY495" fmla="*/ 2612551 h 10808782"/>
              <a:gd name="connsiteX496" fmla="*/ 9466717 w 25004707"/>
              <a:gd name="connsiteY496" fmla="*/ 2528383 h 10808782"/>
              <a:gd name="connsiteX497" fmla="*/ 10687250 w 25004707"/>
              <a:gd name="connsiteY497" fmla="*/ 3581905 h 10808782"/>
              <a:gd name="connsiteX498" fmla="*/ 10655422 w 25004707"/>
              <a:gd name="connsiteY498" fmla="*/ 4066339 h 10808782"/>
              <a:gd name="connsiteX499" fmla="*/ 10687250 w 25004707"/>
              <a:gd name="connsiteY499" fmla="*/ 3581905 h 10808782"/>
              <a:gd name="connsiteX500" fmla="*/ 10719077 w 25004707"/>
              <a:gd name="connsiteY500" fmla="*/ 3096984 h 10808782"/>
              <a:gd name="connsiteX501" fmla="*/ 10687250 w 25004707"/>
              <a:gd name="connsiteY501" fmla="*/ 3581905 h 10808782"/>
              <a:gd name="connsiteX502" fmla="*/ 9403063 w 25004707"/>
              <a:gd name="connsiteY502" fmla="*/ 3497721 h 10808782"/>
              <a:gd name="connsiteX503" fmla="*/ 10655422 w 25004707"/>
              <a:gd name="connsiteY503" fmla="*/ 4066339 h 10808782"/>
              <a:gd name="connsiteX504" fmla="*/ 9371251 w 25004707"/>
              <a:gd name="connsiteY504" fmla="*/ 3982155 h 10808782"/>
              <a:gd name="connsiteX505" fmla="*/ 10655422 w 25004707"/>
              <a:gd name="connsiteY505" fmla="*/ 4066339 h 10808782"/>
              <a:gd name="connsiteX506" fmla="*/ 11939593 w 25004707"/>
              <a:gd name="connsiteY506" fmla="*/ 4150506 h 10808782"/>
              <a:gd name="connsiteX507" fmla="*/ 10368881 w 25004707"/>
              <a:gd name="connsiteY507" fmla="*/ 8428566 h 10808782"/>
              <a:gd name="connsiteX508" fmla="*/ 10400693 w 25004707"/>
              <a:gd name="connsiteY508" fmla="*/ 7944132 h 10808782"/>
              <a:gd name="connsiteX509" fmla="*/ 11684864 w 25004707"/>
              <a:gd name="connsiteY509" fmla="*/ 8028316 h 10808782"/>
              <a:gd name="connsiteX510" fmla="*/ 10368881 w 25004707"/>
              <a:gd name="connsiteY510" fmla="*/ 8428566 h 10808782"/>
              <a:gd name="connsiteX511" fmla="*/ 11653068 w 25004707"/>
              <a:gd name="connsiteY511" fmla="*/ 8512733 h 10808782"/>
              <a:gd name="connsiteX512" fmla="*/ 10368881 w 25004707"/>
              <a:gd name="connsiteY512" fmla="*/ 8428566 h 10808782"/>
              <a:gd name="connsiteX513" fmla="*/ 9084726 w 25004707"/>
              <a:gd name="connsiteY513" fmla="*/ 8344382 h 10808782"/>
              <a:gd name="connsiteX514" fmla="*/ 10491817 w 25004707"/>
              <a:gd name="connsiteY514" fmla="*/ 6490549 h 10808782"/>
              <a:gd name="connsiteX515" fmla="*/ 10480222 w 25004707"/>
              <a:gd name="connsiteY515" fmla="*/ 6732585 h 10808782"/>
              <a:gd name="connsiteX516" fmla="*/ 10464317 w 25004707"/>
              <a:gd name="connsiteY516" fmla="*/ 6974794 h 10808782"/>
              <a:gd name="connsiteX517" fmla="*/ 9180145 w 25004707"/>
              <a:gd name="connsiteY517" fmla="*/ 6890626 h 10808782"/>
              <a:gd name="connsiteX518" fmla="*/ 10507361 w 25004707"/>
              <a:gd name="connsiteY518" fmla="*/ 6003632 h 10808782"/>
              <a:gd name="connsiteX519" fmla="*/ 10491943 w 25004707"/>
              <a:gd name="connsiteY519" fmla="*/ 6489606 h 10808782"/>
              <a:gd name="connsiteX520" fmla="*/ 10163458 w 25004707"/>
              <a:gd name="connsiteY520" fmla="*/ 6468073 h 10808782"/>
              <a:gd name="connsiteX521" fmla="*/ 9212005 w 25004707"/>
              <a:gd name="connsiteY521" fmla="*/ 6405705 h 10808782"/>
              <a:gd name="connsiteX522" fmla="*/ 10507361 w 25004707"/>
              <a:gd name="connsiteY522" fmla="*/ 6003632 h 10808782"/>
              <a:gd name="connsiteX523" fmla="*/ 9243879 w 25004707"/>
              <a:gd name="connsiteY523" fmla="*/ 5920832 h 10808782"/>
              <a:gd name="connsiteX524" fmla="*/ 10507361 w 25004707"/>
              <a:gd name="connsiteY524" fmla="*/ 6003632 h 10808782"/>
              <a:gd name="connsiteX525" fmla="*/ 11123456 w 25004707"/>
              <a:gd name="connsiteY525" fmla="*/ 6044043 h 10808782"/>
              <a:gd name="connsiteX526" fmla="*/ 10782701 w 25004707"/>
              <a:gd name="connsiteY526" fmla="*/ 2127677 h 10808782"/>
              <a:gd name="connsiteX527" fmla="*/ 12066887 w 25004707"/>
              <a:gd name="connsiteY527" fmla="*/ 2211845 h 10808782"/>
              <a:gd name="connsiteX528" fmla="*/ 10782701 w 25004707"/>
              <a:gd name="connsiteY528" fmla="*/ 2127677 h 10808782"/>
              <a:gd name="connsiteX529" fmla="*/ 9498529 w 25004707"/>
              <a:gd name="connsiteY529" fmla="*/ 2043493 h 10808782"/>
              <a:gd name="connsiteX530" fmla="*/ 10750841 w 25004707"/>
              <a:gd name="connsiteY530" fmla="*/ 2612582 h 10808782"/>
              <a:gd name="connsiteX531" fmla="*/ 10719029 w 25004707"/>
              <a:gd name="connsiteY531" fmla="*/ 3097016 h 10808782"/>
              <a:gd name="connsiteX532" fmla="*/ 9434859 w 25004707"/>
              <a:gd name="connsiteY532" fmla="*/ 3012832 h 10808782"/>
              <a:gd name="connsiteX533" fmla="*/ 10623563 w 25004707"/>
              <a:gd name="connsiteY533" fmla="*/ 4551244 h 10808782"/>
              <a:gd name="connsiteX534" fmla="*/ 10591752 w 25004707"/>
              <a:gd name="connsiteY534" fmla="*/ 5035661 h 10808782"/>
              <a:gd name="connsiteX535" fmla="*/ 9307550 w 25004707"/>
              <a:gd name="connsiteY535" fmla="*/ 4951493 h 10808782"/>
              <a:gd name="connsiteX536" fmla="*/ 9275706 w 25004707"/>
              <a:gd name="connsiteY536" fmla="*/ 5436398 h 10808782"/>
              <a:gd name="connsiteX537" fmla="*/ 10623563 w 25004707"/>
              <a:gd name="connsiteY537" fmla="*/ 4551244 h 10808782"/>
              <a:gd name="connsiteX538" fmla="*/ 10655390 w 25004707"/>
              <a:gd name="connsiteY538" fmla="*/ 4066339 h 10808782"/>
              <a:gd name="connsiteX539" fmla="*/ 10623563 w 25004707"/>
              <a:gd name="connsiteY539" fmla="*/ 4551244 h 10808782"/>
              <a:gd name="connsiteX540" fmla="*/ 9339392 w 25004707"/>
              <a:gd name="connsiteY540" fmla="*/ 4467060 h 10808782"/>
              <a:gd name="connsiteX541" fmla="*/ 10432504 w 25004707"/>
              <a:gd name="connsiteY541" fmla="*/ 7459228 h 10808782"/>
              <a:gd name="connsiteX542" fmla="*/ 10400662 w 25004707"/>
              <a:gd name="connsiteY542" fmla="*/ 7944132 h 10808782"/>
              <a:gd name="connsiteX543" fmla="*/ 9116475 w 25004707"/>
              <a:gd name="connsiteY543" fmla="*/ 7859949 h 10808782"/>
              <a:gd name="connsiteX544" fmla="*/ 5662142 w 25004707"/>
              <a:gd name="connsiteY544" fmla="*/ 1780254 h 10808782"/>
              <a:gd name="connsiteX545" fmla="*/ 5658194 w 25004707"/>
              <a:gd name="connsiteY545" fmla="*/ 2262267 h 10808782"/>
              <a:gd name="connsiteX546" fmla="*/ 5662142 w 25004707"/>
              <a:gd name="connsiteY546" fmla="*/ 1780254 h 10808782"/>
              <a:gd name="connsiteX547" fmla="*/ 4402830 w 25004707"/>
              <a:gd name="connsiteY547" fmla="*/ 1082261 h 10808782"/>
              <a:gd name="connsiteX548" fmla="*/ 5662142 w 25004707"/>
              <a:gd name="connsiteY548" fmla="*/ 1780254 h 10808782"/>
              <a:gd name="connsiteX549" fmla="*/ 6479129 w 25004707"/>
              <a:gd name="connsiteY549" fmla="*/ 1845561 h 10808782"/>
              <a:gd name="connsiteX550" fmla="*/ 6930187 w 25004707"/>
              <a:gd name="connsiteY550" fmla="*/ 1875142 h 10808782"/>
              <a:gd name="connsiteX551" fmla="*/ 5658194 w 25004707"/>
              <a:gd name="connsiteY551" fmla="*/ 2262267 h 10808782"/>
              <a:gd name="connsiteX552" fmla="*/ 4366723 w 25004707"/>
              <a:gd name="connsiteY552" fmla="*/ 1631817 h 10808782"/>
              <a:gd name="connsiteX553" fmla="*/ 5658194 w 25004707"/>
              <a:gd name="connsiteY553" fmla="*/ 2262267 h 10808782"/>
              <a:gd name="connsiteX554" fmla="*/ 5911822 w 25004707"/>
              <a:gd name="connsiteY554" fmla="*/ 2295353 h 10808782"/>
              <a:gd name="connsiteX555" fmla="*/ 6898297 w 25004707"/>
              <a:gd name="connsiteY555" fmla="*/ 2360015 h 10808782"/>
              <a:gd name="connsiteX556" fmla="*/ 6930156 w 25004707"/>
              <a:gd name="connsiteY556" fmla="*/ 1875126 h 10808782"/>
              <a:gd name="connsiteX557" fmla="*/ 5455005 w 25004707"/>
              <a:gd name="connsiteY557" fmla="*/ 4698958 h 10808782"/>
              <a:gd name="connsiteX558" fmla="*/ 5486817 w 25004707"/>
              <a:gd name="connsiteY558" fmla="*/ 4214524 h 10808782"/>
              <a:gd name="connsiteX559" fmla="*/ 6771003 w 25004707"/>
              <a:gd name="connsiteY559" fmla="*/ 4298708 h 10808782"/>
              <a:gd name="connsiteX560" fmla="*/ 5455005 w 25004707"/>
              <a:gd name="connsiteY560" fmla="*/ 4698958 h 10808782"/>
              <a:gd name="connsiteX561" fmla="*/ 6739176 w 25004707"/>
              <a:gd name="connsiteY561" fmla="*/ 4783142 h 10808782"/>
              <a:gd name="connsiteX562" fmla="*/ 5455005 w 25004707"/>
              <a:gd name="connsiteY562" fmla="*/ 4698958 h 10808782"/>
              <a:gd name="connsiteX563" fmla="*/ 5254428 w 25004707"/>
              <a:gd name="connsiteY563" fmla="*/ 4685802 h 10808782"/>
              <a:gd name="connsiteX564" fmla="*/ 4154818 w 25004707"/>
              <a:gd name="connsiteY564" fmla="*/ 4858838 h 10808782"/>
              <a:gd name="connsiteX565" fmla="*/ 5455005 w 25004707"/>
              <a:gd name="connsiteY565" fmla="*/ 4698958 h 10808782"/>
              <a:gd name="connsiteX566" fmla="*/ 5391335 w 25004707"/>
              <a:gd name="connsiteY566" fmla="*/ 5668281 h 10808782"/>
              <a:gd name="connsiteX567" fmla="*/ 4107179 w 25004707"/>
              <a:gd name="connsiteY567" fmla="*/ 5584097 h 10808782"/>
              <a:gd name="connsiteX568" fmla="*/ 5200355 w 25004707"/>
              <a:gd name="connsiteY568" fmla="*/ 8576736 h 10808782"/>
              <a:gd name="connsiteX569" fmla="*/ 5168543 w 25004707"/>
              <a:gd name="connsiteY569" fmla="*/ 9061169 h 10808782"/>
              <a:gd name="connsiteX570" fmla="*/ 3884356 w 25004707"/>
              <a:gd name="connsiteY570" fmla="*/ 8976986 h 10808782"/>
              <a:gd name="connsiteX571" fmla="*/ 5200355 w 25004707"/>
              <a:gd name="connsiteY571" fmla="*/ 8576736 h 10808782"/>
              <a:gd name="connsiteX572" fmla="*/ 5232197 w 25004707"/>
              <a:gd name="connsiteY572" fmla="*/ 8091847 h 10808782"/>
              <a:gd name="connsiteX573" fmla="*/ 5200355 w 25004707"/>
              <a:gd name="connsiteY573" fmla="*/ 8576736 h 10808782"/>
              <a:gd name="connsiteX574" fmla="*/ 3916184 w 25004707"/>
              <a:gd name="connsiteY574" fmla="*/ 8492568 h 10808782"/>
              <a:gd name="connsiteX575" fmla="*/ 5658225 w 25004707"/>
              <a:gd name="connsiteY575" fmla="*/ 2262283 h 10808782"/>
              <a:gd name="connsiteX576" fmla="*/ 5637521 w 25004707"/>
              <a:gd name="connsiteY576" fmla="*/ 2763912 h 10808782"/>
              <a:gd name="connsiteX577" fmla="*/ 6866517 w 25004707"/>
              <a:gd name="connsiteY577" fmla="*/ 2844465 h 10808782"/>
              <a:gd name="connsiteX578" fmla="*/ 5592415 w 25004707"/>
              <a:gd name="connsiteY578" fmla="*/ 3263937 h 10808782"/>
              <a:gd name="connsiteX579" fmla="*/ 5637489 w 25004707"/>
              <a:gd name="connsiteY579" fmla="*/ 2763896 h 10808782"/>
              <a:gd name="connsiteX580" fmla="*/ 4298128 w 25004707"/>
              <a:gd name="connsiteY580" fmla="*/ 2676113 h 10808782"/>
              <a:gd name="connsiteX581" fmla="*/ 5592415 w 25004707"/>
              <a:gd name="connsiteY581" fmla="*/ 3263937 h 10808782"/>
              <a:gd name="connsiteX582" fmla="*/ 5533291 w 25004707"/>
              <a:gd name="connsiteY582" fmla="*/ 3742335 h 10808782"/>
              <a:gd name="connsiteX583" fmla="*/ 5592415 w 25004707"/>
              <a:gd name="connsiteY583" fmla="*/ 3263937 h 10808782"/>
              <a:gd name="connsiteX584" fmla="*/ 5848183 w 25004707"/>
              <a:gd name="connsiteY584" fmla="*/ 3264220 h 10808782"/>
              <a:gd name="connsiteX585" fmla="*/ 6834674 w 25004707"/>
              <a:gd name="connsiteY585" fmla="*/ 3328898 h 10808782"/>
              <a:gd name="connsiteX586" fmla="*/ 5709640 w 25004707"/>
              <a:gd name="connsiteY586" fmla="*/ 821626 h 10808782"/>
              <a:gd name="connsiteX587" fmla="*/ 5677828 w 25004707"/>
              <a:gd name="connsiteY587" fmla="*/ 1306056 h 10808782"/>
              <a:gd name="connsiteX588" fmla="*/ 5622638 w 25004707"/>
              <a:gd name="connsiteY588" fmla="*/ 1302440 h 10808782"/>
              <a:gd name="connsiteX589" fmla="*/ 5501527 w 25004707"/>
              <a:gd name="connsiteY589" fmla="*/ 1263917 h 10808782"/>
              <a:gd name="connsiteX590" fmla="*/ 4424446 w 25004707"/>
              <a:gd name="connsiteY590" fmla="*/ 752908 h 10808782"/>
              <a:gd name="connsiteX591" fmla="*/ 5709640 w 25004707"/>
              <a:gd name="connsiteY591" fmla="*/ 821626 h 10808782"/>
              <a:gd name="connsiteX592" fmla="*/ 5741483 w 25004707"/>
              <a:gd name="connsiteY592" fmla="*/ 336712 h 10808782"/>
              <a:gd name="connsiteX593" fmla="*/ 5709640 w 25004707"/>
              <a:gd name="connsiteY593" fmla="*/ 821626 h 10808782"/>
              <a:gd name="connsiteX594" fmla="*/ 5509063 w 25004707"/>
              <a:gd name="connsiteY594" fmla="*/ 808462 h 10808782"/>
              <a:gd name="connsiteX595" fmla="*/ 4441500 w 25004707"/>
              <a:gd name="connsiteY595" fmla="*/ 493335 h 10808782"/>
              <a:gd name="connsiteX596" fmla="*/ 5136715 w 25004707"/>
              <a:gd name="connsiteY596" fmla="*/ 9546074 h 10808782"/>
              <a:gd name="connsiteX597" fmla="*/ 5168575 w 25004707"/>
              <a:gd name="connsiteY597" fmla="*/ 9061169 h 10808782"/>
              <a:gd name="connsiteX598" fmla="*/ 5136715 w 25004707"/>
              <a:gd name="connsiteY598" fmla="*/ 9546074 h 10808782"/>
              <a:gd name="connsiteX599" fmla="*/ 6420871 w 25004707"/>
              <a:gd name="connsiteY599" fmla="*/ 9630242 h 10808782"/>
              <a:gd name="connsiteX600" fmla="*/ 6452730 w 25004707"/>
              <a:gd name="connsiteY600" fmla="*/ 9145353 h 10808782"/>
              <a:gd name="connsiteX601" fmla="*/ 7736885 w 25004707"/>
              <a:gd name="connsiteY601" fmla="*/ 9229521 h 10808782"/>
              <a:gd name="connsiteX602" fmla="*/ 5136715 w 25004707"/>
              <a:gd name="connsiteY602" fmla="*/ 9546074 h 10808782"/>
              <a:gd name="connsiteX603" fmla="*/ 3852544 w 25004707"/>
              <a:gd name="connsiteY603" fmla="*/ 9461890 h 10808782"/>
              <a:gd name="connsiteX604" fmla="*/ 5486801 w 25004707"/>
              <a:gd name="connsiteY604" fmla="*/ 4214981 h 10808782"/>
              <a:gd name="connsiteX605" fmla="*/ 5491773 w 25004707"/>
              <a:gd name="connsiteY605" fmla="*/ 4139080 h 10808782"/>
              <a:gd name="connsiteX606" fmla="*/ 5497892 w 25004707"/>
              <a:gd name="connsiteY606" fmla="*/ 4062315 h 10808782"/>
              <a:gd name="connsiteX607" fmla="*/ 5533276 w 25004707"/>
              <a:gd name="connsiteY607" fmla="*/ 3742335 h 10808782"/>
              <a:gd name="connsiteX608" fmla="*/ 4193442 w 25004707"/>
              <a:gd name="connsiteY608" fmla="*/ 4269945 h 10808782"/>
              <a:gd name="connsiteX609" fmla="*/ 5327633 w 25004707"/>
              <a:gd name="connsiteY609" fmla="*/ 6638091 h 10808782"/>
              <a:gd name="connsiteX610" fmla="*/ 5359476 w 25004707"/>
              <a:gd name="connsiteY610" fmla="*/ 6153186 h 10808782"/>
              <a:gd name="connsiteX611" fmla="*/ 6643678 w 25004707"/>
              <a:gd name="connsiteY611" fmla="*/ 6237369 h 10808782"/>
              <a:gd name="connsiteX612" fmla="*/ 5327633 w 25004707"/>
              <a:gd name="connsiteY612" fmla="*/ 6638091 h 10808782"/>
              <a:gd name="connsiteX613" fmla="*/ 5295821 w 25004707"/>
              <a:gd name="connsiteY613" fmla="*/ 7122508 h 10808782"/>
              <a:gd name="connsiteX614" fmla="*/ 5327633 w 25004707"/>
              <a:gd name="connsiteY614" fmla="*/ 6638091 h 10808782"/>
              <a:gd name="connsiteX615" fmla="*/ 6611819 w 25004707"/>
              <a:gd name="connsiteY615" fmla="*/ 6722259 h 10808782"/>
              <a:gd name="connsiteX616" fmla="*/ 5327633 w 25004707"/>
              <a:gd name="connsiteY616" fmla="*/ 6638091 h 10808782"/>
              <a:gd name="connsiteX617" fmla="*/ 4043446 w 25004707"/>
              <a:gd name="connsiteY617" fmla="*/ 6553891 h 10808782"/>
              <a:gd name="connsiteX618" fmla="*/ 5295821 w 25004707"/>
              <a:gd name="connsiteY618" fmla="*/ 7122508 h 10808782"/>
              <a:gd name="connsiteX619" fmla="*/ 4011634 w 25004707"/>
              <a:gd name="connsiteY619" fmla="*/ 7038325 h 10808782"/>
              <a:gd name="connsiteX620" fmla="*/ 5295821 w 25004707"/>
              <a:gd name="connsiteY620" fmla="*/ 7122508 h 10808782"/>
              <a:gd name="connsiteX621" fmla="*/ 6579992 w 25004707"/>
              <a:gd name="connsiteY621" fmla="*/ 7206692 h 10808782"/>
              <a:gd name="connsiteX622" fmla="*/ 5391303 w 25004707"/>
              <a:gd name="connsiteY622" fmla="*/ 5668281 h 10808782"/>
              <a:gd name="connsiteX623" fmla="*/ 5359460 w 25004707"/>
              <a:gd name="connsiteY623" fmla="*/ 6153186 h 10808782"/>
              <a:gd name="connsiteX624" fmla="*/ 4075304 w 25004707"/>
              <a:gd name="connsiteY624" fmla="*/ 6069002 h 10808782"/>
              <a:gd name="connsiteX625" fmla="*/ 5676774 w 25004707"/>
              <a:gd name="connsiteY625" fmla="*/ 1305997 h 10808782"/>
              <a:gd name="connsiteX626" fmla="*/ 5661592 w 25004707"/>
              <a:gd name="connsiteY626" fmla="*/ 1780223 h 10808782"/>
              <a:gd name="connsiteX627" fmla="*/ 5295774 w 25004707"/>
              <a:gd name="connsiteY627" fmla="*/ 7122508 h 10808782"/>
              <a:gd name="connsiteX628" fmla="*/ 5263931 w 25004707"/>
              <a:gd name="connsiteY628" fmla="*/ 7607414 h 10808782"/>
              <a:gd name="connsiteX629" fmla="*/ 3979775 w 25004707"/>
              <a:gd name="connsiteY629" fmla="*/ 7523230 h 10808782"/>
              <a:gd name="connsiteX630" fmla="*/ 1666131 w 25004707"/>
              <a:gd name="connsiteY630" fmla="*/ 3477068 h 10808782"/>
              <a:gd name="connsiteX631" fmla="*/ 1697943 w 25004707"/>
              <a:gd name="connsiteY631" fmla="*/ 2992651 h 10808782"/>
              <a:gd name="connsiteX632" fmla="*/ 1666131 w 25004707"/>
              <a:gd name="connsiteY632" fmla="*/ 3477068 h 10808782"/>
              <a:gd name="connsiteX633" fmla="*/ 1634272 w 25004707"/>
              <a:gd name="connsiteY633" fmla="*/ 3961989 h 10808782"/>
              <a:gd name="connsiteX634" fmla="*/ 1666131 w 25004707"/>
              <a:gd name="connsiteY634" fmla="*/ 3477068 h 10808782"/>
              <a:gd name="connsiteX635" fmla="*/ 381954 w 25004707"/>
              <a:gd name="connsiteY635" fmla="*/ 3392900 h 10808782"/>
              <a:gd name="connsiteX636" fmla="*/ 1666131 w 25004707"/>
              <a:gd name="connsiteY636" fmla="*/ 3477068 h 10808782"/>
              <a:gd name="connsiteX637" fmla="*/ 2652607 w 25004707"/>
              <a:gd name="connsiteY637" fmla="*/ 3541731 h 10808782"/>
              <a:gd name="connsiteX638" fmla="*/ 2934679 w 25004707"/>
              <a:gd name="connsiteY638" fmla="*/ 3571987 h 10808782"/>
              <a:gd name="connsiteX639" fmla="*/ 1697943 w 25004707"/>
              <a:gd name="connsiteY639" fmla="*/ 2992651 h 10808782"/>
              <a:gd name="connsiteX640" fmla="*/ 1729801 w 25004707"/>
              <a:gd name="connsiteY640" fmla="*/ 2507730 h 10808782"/>
              <a:gd name="connsiteX641" fmla="*/ 1697943 w 25004707"/>
              <a:gd name="connsiteY641" fmla="*/ 2992651 h 10808782"/>
              <a:gd name="connsiteX642" fmla="*/ 403160 w 25004707"/>
              <a:gd name="connsiteY642" fmla="*/ 2907760 h 10808782"/>
              <a:gd name="connsiteX643" fmla="*/ 1602492 w 25004707"/>
              <a:gd name="connsiteY643" fmla="*/ 4446422 h 10808782"/>
              <a:gd name="connsiteX644" fmla="*/ 1634304 w 25004707"/>
              <a:gd name="connsiteY644" fmla="*/ 3961989 h 10808782"/>
              <a:gd name="connsiteX645" fmla="*/ 1602492 w 25004707"/>
              <a:gd name="connsiteY645" fmla="*/ 4446422 h 10808782"/>
              <a:gd name="connsiteX646" fmla="*/ 2886663 w 25004707"/>
              <a:gd name="connsiteY646" fmla="*/ 4530606 h 10808782"/>
              <a:gd name="connsiteX647" fmla="*/ 1602492 w 25004707"/>
              <a:gd name="connsiteY647" fmla="*/ 4446422 h 10808782"/>
              <a:gd name="connsiteX648" fmla="*/ 318315 w 25004707"/>
              <a:gd name="connsiteY648" fmla="*/ 4362239 h 10808782"/>
              <a:gd name="connsiteX649" fmla="*/ 1347818 w 25004707"/>
              <a:gd name="connsiteY649" fmla="*/ 8324201 h 10808782"/>
              <a:gd name="connsiteX650" fmla="*/ 1379664 w 25004707"/>
              <a:gd name="connsiteY650" fmla="*/ 7839312 h 10808782"/>
              <a:gd name="connsiteX651" fmla="*/ 1347818 w 25004707"/>
              <a:gd name="connsiteY651" fmla="*/ 8324201 h 10808782"/>
              <a:gd name="connsiteX652" fmla="*/ 2631997 w 25004707"/>
              <a:gd name="connsiteY652" fmla="*/ 8408384 h 10808782"/>
              <a:gd name="connsiteX653" fmla="*/ 2663840 w 25004707"/>
              <a:gd name="connsiteY653" fmla="*/ 7923495 h 10808782"/>
              <a:gd name="connsiteX654" fmla="*/ 1347818 w 25004707"/>
              <a:gd name="connsiteY654" fmla="*/ 8324201 h 10808782"/>
              <a:gd name="connsiteX655" fmla="*/ 63640 w 25004707"/>
              <a:gd name="connsiteY655" fmla="*/ 8240033 h 10808782"/>
              <a:gd name="connsiteX656" fmla="*/ 1411411 w 25004707"/>
              <a:gd name="connsiteY656" fmla="*/ 7354878 h 10808782"/>
              <a:gd name="connsiteX657" fmla="*/ 1443258 w 25004707"/>
              <a:gd name="connsiteY657" fmla="*/ 6869973 h 10808782"/>
              <a:gd name="connsiteX658" fmla="*/ 2727447 w 25004707"/>
              <a:gd name="connsiteY658" fmla="*/ 6954157 h 10808782"/>
              <a:gd name="connsiteX659" fmla="*/ 1411411 w 25004707"/>
              <a:gd name="connsiteY659" fmla="*/ 7354878 h 10808782"/>
              <a:gd name="connsiteX660" fmla="*/ 1379615 w 25004707"/>
              <a:gd name="connsiteY660" fmla="*/ 7839312 h 10808782"/>
              <a:gd name="connsiteX661" fmla="*/ 1411411 w 25004707"/>
              <a:gd name="connsiteY661" fmla="*/ 7354878 h 10808782"/>
              <a:gd name="connsiteX662" fmla="*/ 127234 w 25004707"/>
              <a:gd name="connsiteY662" fmla="*/ 7270695 h 10808782"/>
              <a:gd name="connsiteX663" fmla="*/ 1793456 w 25004707"/>
              <a:gd name="connsiteY663" fmla="*/ 1538423 h 10808782"/>
              <a:gd name="connsiteX664" fmla="*/ 1825315 w 25004707"/>
              <a:gd name="connsiteY664" fmla="*/ 1053519 h 10808782"/>
              <a:gd name="connsiteX665" fmla="*/ 1793456 w 25004707"/>
              <a:gd name="connsiteY665" fmla="*/ 1538423 h 10808782"/>
              <a:gd name="connsiteX666" fmla="*/ 509285 w 25004707"/>
              <a:gd name="connsiteY666" fmla="*/ 1454241 h 10808782"/>
              <a:gd name="connsiteX667" fmla="*/ 1793456 w 25004707"/>
              <a:gd name="connsiteY667" fmla="*/ 1538423 h 10808782"/>
              <a:gd name="connsiteX668" fmla="*/ 2244530 w 25004707"/>
              <a:gd name="connsiteY668" fmla="*/ 1567988 h 10808782"/>
              <a:gd name="connsiteX669" fmla="*/ 3063877 w 25004707"/>
              <a:gd name="connsiteY669" fmla="*/ 1613223 h 10808782"/>
              <a:gd name="connsiteX670" fmla="*/ 1825315 w 25004707"/>
              <a:gd name="connsiteY670" fmla="*/ 1053519 h 10808782"/>
              <a:gd name="connsiteX671" fmla="*/ 1857095 w 25004707"/>
              <a:gd name="connsiteY671" fmla="*/ 569070 h 10808782"/>
              <a:gd name="connsiteX672" fmla="*/ 1825315 w 25004707"/>
              <a:gd name="connsiteY672" fmla="*/ 1053519 h 10808782"/>
              <a:gd name="connsiteX673" fmla="*/ 541117 w 25004707"/>
              <a:gd name="connsiteY673" fmla="*/ 969340 h 10808782"/>
              <a:gd name="connsiteX674" fmla="*/ 1315958 w 25004707"/>
              <a:gd name="connsiteY674" fmla="*/ 8808634 h 10808782"/>
              <a:gd name="connsiteX675" fmla="*/ 1284111 w 25004707"/>
              <a:gd name="connsiteY675" fmla="*/ 9293539 h 10808782"/>
              <a:gd name="connsiteX676" fmla="*/ 2568295 w 25004707"/>
              <a:gd name="connsiteY676" fmla="*/ 9377707 h 10808782"/>
              <a:gd name="connsiteX677" fmla="*/ 1538806 w 25004707"/>
              <a:gd name="connsiteY677" fmla="*/ 5415746 h 10808782"/>
              <a:gd name="connsiteX678" fmla="*/ 1570617 w 25004707"/>
              <a:gd name="connsiteY678" fmla="*/ 4931312 h 10808782"/>
              <a:gd name="connsiteX679" fmla="*/ 1538806 w 25004707"/>
              <a:gd name="connsiteY679" fmla="*/ 5415746 h 10808782"/>
              <a:gd name="connsiteX680" fmla="*/ 1506961 w 25004707"/>
              <a:gd name="connsiteY680" fmla="*/ 5900650 h 10808782"/>
              <a:gd name="connsiteX681" fmla="*/ 1538806 w 25004707"/>
              <a:gd name="connsiteY681" fmla="*/ 5415746 h 10808782"/>
              <a:gd name="connsiteX682" fmla="*/ 254622 w 25004707"/>
              <a:gd name="connsiteY682" fmla="*/ 5331577 h 10808782"/>
              <a:gd name="connsiteX683" fmla="*/ 1570617 w 25004707"/>
              <a:gd name="connsiteY683" fmla="*/ 4931312 h 10808782"/>
              <a:gd name="connsiteX684" fmla="*/ 1602461 w 25004707"/>
              <a:gd name="connsiteY684" fmla="*/ 4446407 h 10808782"/>
              <a:gd name="connsiteX685" fmla="*/ 1570617 w 25004707"/>
              <a:gd name="connsiteY685" fmla="*/ 4931312 h 10808782"/>
              <a:gd name="connsiteX686" fmla="*/ 286431 w 25004707"/>
              <a:gd name="connsiteY686" fmla="*/ 4847128 h 10808782"/>
              <a:gd name="connsiteX687" fmla="*/ 1729786 w 25004707"/>
              <a:gd name="connsiteY687" fmla="*/ 2507761 h 10808782"/>
              <a:gd name="connsiteX688" fmla="*/ 1761597 w 25004707"/>
              <a:gd name="connsiteY688" fmla="*/ 2023328 h 10808782"/>
              <a:gd name="connsiteX689" fmla="*/ 2414287 w 25004707"/>
              <a:gd name="connsiteY689" fmla="*/ 2066111 h 10808782"/>
              <a:gd name="connsiteX690" fmla="*/ 2740663 w 25004707"/>
              <a:gd name="connsiteY690" fmla="*/ 2087031 h 10808782"/>
              <a:gd name="connsiteX691" fmla="*/ 3004360 w 25004707"/>
              <a:gd name="connsiteY691" fmla="*/ 2088776 h 10808782"/>
              <a:gd name="connsiteX692" fmla="*/ 1729786 w 25004707"/>
              <a:gd name="connsiteY692" fmla="*/ 2507761 h 10808782"/>
              <a:gd name="connsiteX693" fmla="*/ 2958782 w 25004707"/>
              <a:gd name="connsiteY693" fmla="*/ 2588330 h 10808782"/>
              <a:gd name="connsiteX694" fmla="*/ 1729786 w 25004707"/>
              <a:gd name="connsiteY694" fmla="*/ 2507761 h 10808782"/>
              <a:gd name="connsiteX695" fmla="*/ 434989 w 25004707"/>
              <a:gd name="connsiteY695" fmla="*/ 2422886 h 10808782"/>
              <a:gd name="connsiteX696" fmla="*/ 1475135 w 25004707"/>
              <a:gd name="connsiteY696" fmla="*/ 6385540 h 10808782"/>
              <a:gd name="connsiteX697" fmla="*/ 1443319 w 25004707"/>
              <a:gd name="connsiteY697" fmla="*/ 6869973 h 10808782"/>
              <a:gd name="connsiteX698" fmla="*/ 159142 w 25004707"/>
              <a:gd name="connsiteY698" fmla="*/ 6785789 h 10808782"/>
              <a:gd name="connsiteX699" fmla="*/ 1475135 w 25004707"/>
              <a:gd name="connsiteY699" fmla="*/ 6385540 h 10808782"/>
              <a:gd name="connsiteX700" fmla="*/ 1506961 w 25004707"/>
              <a:gd name="connsiteY700" fmla="*/ 5900650 h 10808782"/>
              <a:gd name="connsiteX701" fmla="*/ 1475135 w 25004707"/>
              <a:gd name="connsiteY701" fmla="*/ 6385540 h 10808782"/>
              <a:gd name="connsiteX702" fmla="*/ 190938 w 25004707"/>
              <a:gd name="connsiteY702" fmla="*/ 6301372 h 10808782"/>
              <a:gd name="connsiteX703" fmla="*/ 1857095 w 25004707"/>
              <a:gd name="connsiteY703" fmla="*/ 569070 h 10808782"/>
              <a:gd name="connsiteX704" fmla="*/ 1888954 w 25004707"/>
              <a:gd name="connsiteY704" fmla="*/ 84169 h 10808782"/>
              <a:gd name="connsiteX705" fmla="*/ 1857095 w 25004707"/>
              <a:gd name="connsiteY705" fmla="*/ 569070 h 10808782"/>
              <a:gd name="connsiteX706" fmla="*/ 3141266 w 25004707"/>
              <a:gd name="connsiteY706" fmla="*/ 653251 h 10808782"/>
              <a:gd name="connsiteX707" fmla="*/ 3173109 w 25004707"/>
              <a:gd name="connsiteY707" fmla="*/ 168350 h 10808782"/>
              <a:gd name="connsiteX708" fmla="*/ 1857095 w 25004707"/>
              <a:gd name="connsiteY708" fmla="*/ 569070 h 10808782"/>
              <a:gd name="connsiteX709" fmla="*/ 572924 w 25004707"/>
              <a:gd name="connsiteY709" fmla="*/ 484891 h 10808782"/>
              <a:gd name="connsiteX710" fmla="*/ 1379615 w 25004707"/>
              <a:gd name="connsiteY710" fmla="*/ 7839312 h 10808782"/>
              <a:gd name="connsiteX711" fmla="*/ 95437 w 25004707"/>
              <a:gd name="connsiteY711" fmla="*/ 7755128 h 10808782"/>
              <a:gd name="connsiteX712" fmla="*/ 1379615 w 25004707"/>
              <a:gd name="connsiteY712" fmla="*/ 7839312 h 10808782"/>
              <a:gd name="connsiteX713" fmla="*/ 2663793 w 25004707"/>
              <a:gd name="connsiteY713" fmla="*/ 7923495 h 10808782"/>
              <a:gd name="connsiteX714" fmla="*/ 1634272 w 25004707"/>
              <a:gd name="connsiteY714" fmla="*/ 3961989 h 10808782"/>
              <a:gd name="connsiteX715" fmla="*/ 2918475 w 25004707"/>
              <a:gd name="connsiteY715" fmla="*/ 4046173 h 10808782"/>
              <a:gd name="connsiteX716" fmla="*/ 1634272 w 25004707"/>
              <a:gd name="connsiteY716" fmla="*/ 3961989 h 10808782"/>
              <a:gd name="connsiteX717" fmla="*/ 350101 w 25004707"/>
              <a:gd name="connsiteY717" fmla="*/ 3877805 h 10808782"/>
              <a:gd name="connsiteX718" fmla="*/ 1506961 w 25004707"/>
              <a:gd name="connsiteY718" fmla="*/ 5900650 h 10808782"/>
              <a:gd name="connsiteX719" fmla="*/ 222779 w 25004707"/>
              <a:gd name="connsiteY719" fmla="*/ 5816467 h 10808782"/>
              <a:gd name="connsiteX720" fmla="*/ 1506961 w 25004707"/>
              <a:gd name="connsiteY720" fmla="*/ 5900650 h 10808782"/>
              <a:gd name="connsiteX721" fmla="*/ 2791118 w 25004707"/>
              <a:gd name="connsiteY721" fmla="*/ 5984834 h 10808782"/>
              <a:gd name="connsiteX722" fmla="*/ 1793441 w 25004707"/>
              <a:gd name="connsiteY722" fmla="*/ 1538407 h 10808782"/>
              <a:gd name="connsiteX723" fmla="*/ 1761597 w 25004707"/>
              <a:gd name="connsiteY723" fmla="*/ 2023296 h 10808782"/>
              <a:gd name="connsiteX724" fmla="*/ 477423 w 25004707"/>
              <a:gd name="connsiteY724" fmla="*/ 1939128 h 10808782"/>
              <a:gd name="connsiteX725" fmla="*/ 1347747 w 25004707"/>
              <a:gd name="connsiteY725" fmla="*/ 8324185 h 10808782"/>
              <a:gd name="connsiteX726" fmla="*/ 1315932 w 25004707"/>
              <a:gd name="connsiteY726" fmla="*/ 8808618 h 10808782"/>
              <a:gd name="connsiteX727" fmla="*/ 31754 w 25004707"/>
              <a:gd name="connsiteY727" fmla="*/ 8724434 h 10808782"/>
              <a:gd name="connsiteX728" fmla="*/ 2918475 w 25004707"/>
              <a:gd name="connsiteY728" fmla="*/ 4046173 h 10808782"/>
              <a:gd name="connsiteX729" fmla="*/ 2886663 w 25004707"/>
              <a:gd name="connsiteY729" fmla="*/ 4530606 h 10808782"/>
              <a:gd name="connsiteX730" fmla="*/ 2918475 w 25004707"/>
              <a:gd name="connsiteY730" fmla="*/ 4046173 h 10808782"/>
              <a:gd name="connsiteX731" fmla="*/ 2923446 w 25004707"/>
              <a:gd name="connsiteY731" fmla="*/ 3970272 h 10808782"/>
              <a:gd name="connsiteX732" fmla="*/ 2934176 w 25004707"/>
              <a:gd name="connsiteY732" fmla="*/ 3571956 h 10808782"/>
              <a:gd name="connsiteX733" fmla="*/ 2886663 w 25004707"/>
              <a:gd name="connsiteY733" fmla="*/ 4530606 h 10808782"/>
              <a:gd name="connsiteX734" fmla="*/ 3087240 w 25004707"/>
              <a:gd name="connsiteY734" fmla="*/ 4543731 h 10808782"/>
              <a:gd name="connsiteX735" fmla="*/ 4154818 w 25004707"/>
              <a:gd name="connsiteY735" fmla="*/ 4858838 h 10808782"/>
              <a:gd name="connsiteX736" fmla="*/ 2958782 w 25004707"/>
              <a:gd name="connsiteY736" fmla="*/ 2588330 h 10808782"/>
              <a:gd name="connsiteX737" fmla="*/ 3003841 w 25004707"/>
              <a:gd name="connsiteY737" fmla="*/ 2088289 h 10808782"/>
              <a:gd name="connsiteX738" fmla="*/ 3062980 w 25004707"/>
              <a:gd name="connsiteY738" fmla="*/ 1609875 h 10808782"/>
              <a:gd name="connsiteX739" fmla="*/ 2958782 w 25004707"/>
              <a:gd name="connsiteY739" fmla="*/ 2588330 h 10808782"/>
              <a:gd name="connsiteX740" fmla="*/ 2938062 w 25004707"/>
              <a:gd name="connsiteY740" fmla="*/ 3089943 h 10808782"/>
              <a:gd name="connsiteX741" fmla="*/ 4229533 w 25004707"/>
              <a:gd name="connsiteY741" fmla="*/ 3720409 h 10808782"/>
              <a:gd name="connsiteX742" fmla="*/ 4298128 w 25004707"/>
              <a:gd name="connsiteY742" fmla="*/ 2676113 h 10808782"/>
              <a:gd name="connsiteX743" fmla="*/ 2958782 w 25004707"/>
              <a:gd name="connsiteY743" fmla="*/ 2588330 h 10808782"/>
              <a:gd name="connsiteX744" fmla="*/ 4298128 w 25004707"/>
              <a:gd name="connsiteY744" fmla="*/ 2676113 h 10808782"/>
              <a:gd name="connsiteX745" fmla="*/ 3141329 w 25004707"/>
              <a:gd name="connsiteY745" fmla="*/ 653273 h 10808782"/>
              <a:gd name="connsiteX746" fmla="*/ 3109502 w 25004707"/>
              <a:gd name="connsiteY746" fmla="*/ 1137705 h 10808782"/>
              <a:gd name="connsiteX747" fmla="*/ 3109502 w 25004707"/>
              <a:gd name="connsiteY747" fmla="*/ 1137705 h 10808782"/>
              <a:gd name="connsiteX748" fmla="*/ 3063043 w 25004707"/>
              <a:gd name="connsiteY748" fmla="*/ 1609891 h 10808782"/>
              <a:gd name="connsiteX749" fmla="*/ 4402830 w 25004707"/>
              <a:gd name="connsiteY749" fmla="*/ 1082261 h 10808782"/>
              <a:gd name="connsiteX750" fmla="*/ 3109502 w 25004707"/>
              <a:gd name="connsiteY750" fmla="*/ 1137705 h 10808782"/>
              <a:gd name="connsiteX751" fmla="*/ 1825331 w 25004707"/>
              <a:gd name="connsiteY751" fmla="*/ 1053526 h 10808782"/>
              <a:gd name="connsiteX752" fmla="*/ 2938125 w 25004707"/>
              <a:gd name="connsiteY752" fmla="*/ 3089943 h 10808782"/>
              <a:gd name="connsiteX753" fmla="*/ 2934176 w 25004707"/>
              <a:gd name="connsiteY753" fmla="*/ 3571956 h 10808782"/>
              <a:gd name="connsiteX754" fmla="*/ 2934176 w 25004707"/>
              <a:gd name="connsiteY754" fmla="*/ 3571956 h 10808782"/>
              <a:gd name="connsiteX755" fmla="*/ 4193489 w 25004707"/>
              <a:gd name="connsiteY755" fmla="*/ 4269945 h 10808782"/>
              <a:gd name="connsiteX756" fmla="*/ 4229580 w 25004707"/>
              <a:gd name="connsiteY756" fmla="*/ 3720393 h 10808782"/>
              <a:gd name="connsiteX757" fmla="*/ 2854836 w 25004707"/>
              <a:gd name="connsiteY757" fmla="*/ 5015496 h 10808782"/>
              <a:gd name="connsiteX758" fmla="*/ 2823024 w 25004707"/>
              <a:gd name="connsiteY758" fmla="*/ 5499929 h 10808782"/>
              <a:gd name="connsiteX759" fmla="*/ 2854836 w 25004707"/>
              <a:gd name="connsiteY759" fmla="*/ 5015496 h 10808782"/>
              <a:gd name="connsiteX760" fmla="*/ 2886695 w 25004707"/>
              <a:gd name="connsiteY760" fmla="*/ 4530606 h 10808782"/>
              <a:gd name="connsiteX761" fmla="*/ 2854836 w 25004707"/>
              <a:gd name="connsiteY761" fmla="*/ 5015496 h 10808782"/>
              <a:gd name="connsiteX762" fmla="*/ 1570665 w 25004707"/>
              <a:gd name="connsiteY762" fmla="*/ 4931328 h 10808782"/>
              <a:gd name="connsiteX763" fmla="*/ 2823024 w 25004707"/>
              <a:gd name="connsiteY763" fmla="*/ 5499929 h 10808782"/>
              <a:gd name="connsiteX764" fmla="*/ 4107179 w 25004707"/>
              <a:gd name="connsiteY764" fmla="*/ 5584097 h 10808782"/>
              <a:gd name="connsiteX765" fmla="*/ 2823024 w 25004707"/>
              <a:gd name="connsiteY765" fmla="*/ 5499929 h 10808782"/>
              <a:gd name="connsiteX766" fmla="*/ 1538853 w 25004707"/>
              <a:gd name="connsiteY766" fmla="*/ 5415746 h 10808782"/>
              <a:gd name="connsiteX767" fmla="*/ 2663793 w 25004707"/>
              <a:gd name="connsiteY767" fmla="*/ 7923495 h 10808782"/>
              <a:gd name="connsiteX768" fmla="*/ 2695604 w 25004707"/>
              <a:gd name="connsiteY768" fmla="*/ 7439062 h 10808782"/>
              <a:gd name="connsiteX769" fmla="*/ 3979775 w 25004707"/>
              <a:gd name="connsiteY769" fmla="*/ 7523230 h 10808782"/>
              <a:gd name="connsiteX770" fmla="*/ 2663793 w 25004707"/>
              <a:gd name="connsiteY770" fmla="*/ 7923495 h 10808782"/>
              <a:gd name="connsiteX771" fmla="*/ 3947948 w 25004707"/>
              <a:gd name="connsiteY771" fmla="*/ 8007663 h 10808782"/>
              <a:gd name="connsiteX772" fmla="*/ 3979775 w 25004707"/>
              <a:gd name="connsiteY772" fmla="*/ 7523230 h 10808782"/>
              <a:gd name="connsiteX773" fmla="*/ 2568295 w 25004707"/>
              <a:gd name="connsiteY773" fmla="*/ 9377707 h 10808782"/>
              <a:gd name="connsiteX774" fmla="*/ 2600138 w 25004707"/>
              <a:gd name="connsiteY774" fmla="*/ 8892802 h 10808782"/>
              <a:gd name="connsiteX775" fmla="*/ 3884340 w 25004707"/>
              <a:gd name="connsiteY775" fmla="*/ 8976986 h 10808782"/>
              <a:gd name="connsiteX776" fmla="*/ 3916152 w 25004707"/>
              <a:gd name="connsiteY776" fmla="*/ 8492552 h 10808782"/>
              <a:gd name="connsiteX777" fmla="*/ 2568295 w 25004707"/>
              <a:gd name="connsiteY777" fmla="*/ 9377707 h 10808782"/>
              <a:gd name="connsiteX778" fmla="*/ 3852450 w 25004707"/>
              <a:gd name="connsiteY778" fmla="*/ 9461875 h 10808782"/>
              <a:gd name="connsiteX779" fmla="*/ 3884293 w 25004707"/>
              <a:gd name="connsiteY779" fmla="*/ 8976986 h 10808782"/>
              <a:gd name="connsiteX780" fmla="*/ 2822961 w 25004707"/>
              <a:gd name="connsiteY780" fmla="*/ 5499929 h 10808782"/>
              <a:gd name="connsiteX781" fmla="*/ 2791118 w 25004707"/>
              <a:gd name="connsiteY781" fmla="*/ 5984834 h 10808782"/>
              <a:gd name="connsiteX782" fmla="*/ 2791118 w 25004707"/>
              <a:gd name="connsiteY782" fmla="*/ 5984834 h 10808782"/>
              <a:gd name="connsiteX783" fmla="*/ 2759275 w 25004707"/>
              <a:gd name="connsiteY783" fmla="*/ 6469723 h 10808782"/>
              <a:gd name="connsiteX784" fmla="*/ 2791118 w 25004707"/>
              <a:gd name="connsiteY784" fmla="*/ 5984834 h 10808782"/>
              <a:gd name="connsiteX785" fmla="*/ 4075304 w 25004707"/>
              <a:gd name="connsiteY785" fmla="*/ 6069002 h 10808782"/>
              <a:gd name="connsiteX786" fmla="*/ 2759275 w 25004707"/>
              <a:gd name="connsiteY786" fmla="*/ 6469723 h 10808782"/>
              <a:gd name="connsiteX787" fmla="*/ 2727447 w 25004707"/>
              <a:gd name="connsiteY787" fmla="*/ 6954157 h 10808782"/>
              <a:gd name="connsiteX788" fmla="*/ 2759275 w 25004707"/>
              <a:gd name="connsiteY788" fmla="*/ 6469723 h 10808782"/>
              <a:gd name="connsiteX789" fmla="*/ 1475099 w 25004707"/>
              <a:gd name="connsiteY789" fmla="*/ 6385555 h 10808782"/>
              <a:gd name="connsiteX790" fmla="*/ 2759275 w 25004707"/>
              <a:gd name="connsiteY790" fmla="*/ 6469723 h 10808782"/>
              <a:gd name="connsiteX791" fmla="*/ 4043446 w 25004707"/>
              <a:gd name="connsiteY791" fmla="*/ 6553891 h 10808782"/>
              <a:gd name="connsiteX792" fmla="*/ 2727479 w 25004707"/>
              <a:gd name="connsiteY792" fmla="*/ 6954157 h 10808782"/>
              <a:gd name="connsiteX793" fmla="*/ 2695636 w 25004707"/>
              <a:gd name="connsiteY793" fmla="*/ 7439062 h 10808782"/>
              <a:gd name="connsiteX794" fmla="*/ 1411460 w 25004707"/>
              <a:gd name="connsiteY794" fmla="*/ 7354878 h 10808782"/>
              <a:gd name="connsiteX795" fmla="*/ 2727447 w 25004707"/>
              <a:gd name="connsiteY795" fmla="*/ 6954157 h 10808782"/>
              <a:gd name="connsiteX796" fmla="*/ 4011634 w 25004707"/>
              <a:gd name="connsiteY796" fmla="*/ 7038325 h 10808782"/>
              <a:gd name="connsiteX797" fmla="*/ 4298128 w 25004707"/>
              <a:gd name="connsiteY797" fmla="*/ 2676113 h 10808782"/>
              <a:gd name="connsiteX798" fmla="*/ 4366723 w 25004707"/>
              <a:gd name="connsiteY798" fmla="*/ 1631817 h 10808782"/>
              <a:gd name="connsiteX799" fmla="*/ 4043446 w 25004707"/>
              <a:gd name="connsiteY799" fmla="*/ 6553891 h 10808782"/>
              <a:gd name="connsiteX800" fmla="*/ 4011634 w 25004707"/>
              <a:gd name="connsiteY800" fmla="*/ 7038325 h 10808782"/>
              <a:gd name="connsiteX801" fmla="*/ 4043446 w 25004707"/>
              <a:gd name="connsiteY801" fmla="*/ 6553891 h 10808782"/>
              <a:gd name="connsiteX802" fmla="*/ 4075304 w 25004707"/>
              <a:gd name="connsiteY802" fmla="*/ 6069002 h 10808782"/>
              <a:gd name="connsiteX803" fmla="*/ 4011634 w 25004707"/>
              <a:gd name="connsiteY803" fmla="*/ 7038325 h 10808782"/>
              <a:gd name="connsiteX804" fmla="*/ 3979775 w 25004707"/>
              <a:gd name="connsiteY804" fmla="*/ 7523230 h 10808782"/>
              <a:gd name="connsiteX805" fmla="*/ 4457312 w 25004707"/>
              <a:gd name="connsiteY805" fmla="*/ 252523 h 10808782"/>
              <a:gd name="connsiteX806" fmla="*/ 4441500 w 25004707"/>
              <a:gd name="connsiteY806" fmla="*/ 493335 h 10808782"/>
              <a:gd name="connsiteX807" fmla="*/ 4441500 w 25004707"/>
              <a:gd name="connsiteY807" fmla="*/ 493335 h 10808782"/>
              <a:gd name="connsiteX808" fmla="*/ 3341890 w 25004707"/>
              <a:gd name="connsiteY808" fmla="*/ 666397 h 10808782"/>
              <a:gd name="connsiteX809" fmla="*/ 3141314 w 25004707"/>
              <a:gd name="connsiteY809" fmla="*/ 653248 h 10808782"/>
              <a:gd name="connsiteX810" fmla="*/ 4193505 w 25004707"/>
              <a:gd name="connsiteY810" fmla="*/ 4269945 h 10808782"/>
              <a:gd name="connsiteX811" fmla="*/ 4171904 w 25004707"/>
              <a:gd name="connsiteY811" fmla="*/ 4598837 h 10808782"/>
              <a:gd name="connsiteX812" fmla="*/ 4402830 w 25004707"/>
              <a:gd name="connsiteY812" fmla="*/ 1082261 h 10808782"/>
              <a:gd name="connsiteX813" fmla="*/ 4424415 w 25004707"/>
              <a:gd name="connsiteY813" fmla="*/ 753372 h 10808782"/>
              <a:gd name="connsiteX814" fmla="*/ 3289752 w 25004707"/>
              <a:gd name="connsiteY814" fmla="*/ 1119395 h 10808782"/>
              <a:gd name="connsiteX815" fmla="*/ 3109439 w 25004707"/>
              <a:gd name="connsiteY815" fmla="*/ 1138162 h 10808782"/>
              <a:gd name="connsiteX816" fmla="*/ 4366723 w 25004707"/>
              <a:gd name="connsiteY816" fmla="*/ 1631817 h 10808782"/>
              <a:gd name="connsiteX817" fmla="*/ 3003872 w 25004707"/>
              <a:gd name="connsiteY817" fmla="*/ 2088273 h 10808782"/>
              <a:gd name="connsiteX818" fmla="*/ 4402766 w 25004707"/>
              <a:gd name="connsiteY818" fmla="*/ 1082272 h 10808782"/>
              <a:gd name="connsiteX819" fmla="*/ 4366676 w 25004707"/>
              <a:gd name="connsiteY819" fmla="*/ 1631817 h 10808782"/>
              <a:gd name="connsiteX820" fmla="*/ 4107148 w 25004707"/>
              <a:gd name="connsiteY820" fmla="*/ 5584097 h 10808782"/>
              <a:gd name="connsiteX821" fmla="*/ 4075304 w 25004707"/>
              <a:gd name="connsiteY821" fmla="*/ 6069002 h 10808782"/>
              <a:gd name="connsiteX822" fmla="*/ 4136254 w 25004707"/>
              <a:gd name="connsiteY822" fmla="*/ 5141363 h 10808782"/>
              <a:gd name="connsiteX823" fmla="*/ 4107179 w 25004707"/>
              <a:gd name="connsiteY823" fmla="*/ 5584097 h 10808782"/>
              <a:gd name="connsiteX824" fmla="*/ 4136254 w 25004707"/>
              <a:gd name="connsiteY824" fmla="*/ 5141363 h 10808782"/>
              <a:gd name="connsiteX825" fmla="*/ 4154818 w 25004707"/>
              <a:gd name="connsiteY825" fmla="*/ 4858838 h 10808782"/>
              <a:gd name="connsiteX826" fmla="*/ 4136254 w 25004707"/>
              <a:gd name="connsiteY826" fmla="*/ 5141363 h 10808782"/>
              <a:gd name="connsiteX827" fmla="*/ 4901023 w 25004707"/>
              <a:gd name="connsiteY827" fmla="*/ 5149598 h 10808782"/>
              <a:gd name="connsiteX828" fmla="*/ 5423193 w 25004707"/>
              <a:gd name="connsiteY828" fmla="*/ 5183816 h 10808782"/>
              <a:gd name="connsiteX829" fmla="*/ 4136254 w 25004707"/>
              <a:gd name="connsiteY829" fmla="*/ 5141363 h 10808782"/>
              <a:gd name="connsiteX830" fmla="*/ 3509586 w 25004707"/>
              <a:gd name="connsiteY830" fmla="*/ 5059317 h 10808782"/>
              <a:gd name="connsiteX831" fmla="*/ 2854836 w 25004707"/>
              <a:gd name="connsiteY831" fmla="*/ 5015464 h 10808782"/>
              <a:gd name="connsiteX832" fmla="*/ 3948026 w 25004707"/>
              <a:gd name="connsiteY832" fmla="*/ 8007663 h 10808782"/>
              <a:gd name="connsiteX833" fmla="*/ 3916184 w 25004707"/>
              <a:gd name="connsiteY833" fmla="*/ 8492568 h 10808782"/>
              <a:gd name="connsiteX834" fmla="*/ 3916184 w 25004707"/>
              <a:gd name="connsiteY834" fmla="*/ 8492568 h 10808782"/>
              <a:gd name="connsiteX835" fmla="*/ 2632012 w 25004707"/>
              <a:gd name="connsiteY835" fmla="*/ 8408369 h 10808782"/>
              <a:gd name="connsiteX836" fmla="*/ 2600201 w 25004707"/>
              <a:gd name="connsiteY836" fmla="*/ 8892802 h 10808782"/>
              <a:gd name="connsiteX837" fmla="*/ 1316024 w 25004707"/>
              <a:gd name="connsiteY837" fmla="*/ 8808634 h 10808782"/>
              <a:gd name="connsiteX838" fmla="*/ 4154818 w 25004707"/>
              <a:gd name="connsiteY838" fmla="*/ 4858838 h 10808782"/>
              <a:gd name="connsiteX839" fmla="*/ 4171888 w 25004707"/>
              <a:gd name="connsiteY839" fmla="*/ 4598837 h 10808782"/>
              <a:gd name="connsiteX840" fmla="*/ 4441469 w 25004707"/>
              <a:gd name="connsiteY840" fmla="*/ 493350 h 10808782"/>
              <a:gd name="connsiteX841" fmla="*/ 4424383 w 25004707"/>
              <a:gd name="connsiteY841" fmla="*/ 753369 h 10808782"/>
              <a:gd name="connsiteX842" fmla="*/ 4171888 w 25004707"/>
              <a:gd name="connsiteY842" fmla="*/ 4598837 h 10808782"/>
              <a:gd name="connsiteX843" fmla="*/ 5486817 w 25004707"/>
              <a:gd name="connsiteY843" fmla="*/ 4214493 h 10808782"/>
              <a:gd name="connsiteX844" fmla="*/ 4171888 w 25004707"/>
              <a:gd name="connsiteY844" fmla="*/ 4598837 h 10808782"/>
              <a:gd name="connsiteX845" fmla="*/ 2918475 w 25004707"/>
              <a:gd name="connsiteY845" fmla="*/ 4046141 h 10808782"/>
              <a:gd name="connsiteX846" fmla="*/ 6516337 w 25004707"/>
              <a:gd name="connsiteY846" fmla="*/ 8176030 h 10808782"/>
              <a:gd name="connsiteX847" fmla="*/ 6484494 w 25004707"/>
              <a:gd name="connsiteY847" fmla="*/ 8660920 h 10808782"/>
              <a:gd name="connsiteX848" fmla="*/ 5200323 w 25004707"/>
              <a:gd name="connsiteY848" fmla="*/ 8576751 h 10808782"/>
              <a:gd name="connsiteX849" fmla="*/ 6516337 w 25004707"/>
              <a:gd name="connsiteY849" fmla="*/ 8176030 h 10808782"/>
              <a:gd name="connsiteX850" fmla="*/ 6548180 w 25004707"/>
              <a:gd name="connsiteY850" fmla="*/ 7691597 h 10808782"/>
              <a:gd name="connsiteX851" fmla="*/ 7832335 w 25004707"/>
              <a:gd name="connsiteY851" fmla="*/ 7775781 h 10808782"/>
              <a:gd name="connsiteX852" fmla="*/ 6516337 w 25004707"/>
              <a:gd name="connsiteY852" fmla="*/ 8176030 h 10808782"/>
              <a:gd name="connsiteX853" fmla="*/ 5232182 w 25004707"/>
              <a:gd name="connsiteY853" fmla="*/ 8091847 h 10808782"/>
              <a:gd name="connsiteX854" fmla="*/ 6516337 w 25004707"/>
              <a:gd name="connsiteY854" fmla="*/ 8176030 h 10808782"/>
              <a:gd name="connsiteX855" fmla="*/ 7800540 w 25004707"/>
              <a:gd name="connsiteY855" fmla="*/ 8260199 h 10808782"/>
              <a:gd name="connsiteX856" fmla="*/ 6484447 w 25004707"/>
              <a:gd name="connsiteY856" fmla="*/ 8660904 h 10808782"/>
              <a:gd name="connsiteX857" fmla="*/ 6452635 w 25004707"/>
              <a:gd name="connsiteY857" fmla="*/ 9145338 h 10808782"/>
              <a:gd name="connsiteX858" fmla="*/ 5168449 w 25004707"/>
              <a:gd name="connsiteY858" fmla="*/ 9061154 h 10808782"/>
              <a:gd name="connsiteX859" fmla="*/ 6707364 w 25004707"/>
              <a:gd name="connsiteY859" fmla="*/ 5268031 h 10808782"/>
              <a:gd name="connsiteX860" fmla="*/ 6675537 w 25004707"/>
              <a:gd name="connsiteY860" fmla="*/ 5752465 h 10808782"/>
              <a:gd name="connsiteX861" fmla="*/ 6675537 w 25004707"/>
              <a:gd name="connsiteY861" fmla="*/ 5752465 h 10808782"/>
              <a:gd name="connsiteX862" fmla="*/ 6643678 w 25004707"/>
              <a:gd name="connsiteY862" fmla="*/ 6237369 h 10808782"/>
              <a:gd name="connsiteX863" fmla="*/ 6675537 w 25004707"/>
              <a:gd name="connsiteY863" fmla="*/ 5752465 h 10808782"/>
              <a:gd name="connsiteX864" fmla="*/ 7959724 w 25004707"/>
              <a:gd name="connsiteY864" fmla="*/ 5836648 h 10808782"/>
              <a:gd name="connsiteX865" fmla="*/ 6675537 w 25004707"/>
              <a:gd name="connsiteY865" fmla="*/ 5752465 h 10808782"/>
              <a:gd name="connsiteX866" fmla="*/ 5391366 w 25004707"/>
              <a:gd name="connsiteY866" fmla="*/ 5668297 h 10808782"/>
              <a:gd name="connsiteX867" fmla="*/ 6739145 w 25004707"/>
              <a:gd name="connsiteY867" fmla="*/ 4783126 h 10808782"/>
              <a:gd name="connsiteX868" fmla="*/ 6707301 w 25004707"/>
              <a:gd name="connsiteY868" fmla="*/ 5268031 h 10808782"/>
              <a:gd name="connsiteX869" fmla="*/ 5423115 w 25004707"/>
              <a:gd name="connsiteY869" fmla="*/ 5183847 h 10808782"/>
              <a:gd name="connsiteX870" fmla="*/ 6771003 w 25004707"/>
              <a:gd name="connsiteY870" fmla="*/ 4298708 h 10808782"/>
              <a:gd name="connsiteX871" fmla="*/ 6802846 w 25004707"/>
              <a:gd name="connsiteY871" fmla="*/ 3813819 h 10808782"/>
              <a:gd name="connsiteX872" fmla="*/ 8087017 w 25004707"/>
              <a:gd name="connsiteY872" fmla="*/ 3897971 h 10808782"/>
              <a:gd name="connsiteX873" fmla="*/ 8118845 w 25004707"/>
              <a:gd name="connsiteY873" fmla="*/ 3413538 h 10808782"/>
              <a:gd name="connsiteX874" fmla="*/ 6771003 w 25004707"/>
              <a:gd name="connsiteY874" fmla="*/ 4298708 h 10808782"/>
              <a:gd name="connsiteX875" fmla="*/ 6739176 w 25004707"/>
              <a:gd name="connsiteY875" fmla="*/ 4783142 h 10808782"/>
              <a:gd name="connsiteX876" fmla="*/ 6962031 w 25004707"/>
              <a:gd name="connsiteY876" fmla="*/ 1390234 h 10808782"/>
              <a:gd name="connsiteX877" fmla="*/ 6930187 w 25004707"/>
              <a:gd name="connsiteY877" fmla="*/ 1875142 h 10808782"/>
              <a:gd name="connsiteX878" fmla="*/ 6962031 w 25004707"/>
              <a:gd name="connsiteY878" fmla="*/ 1390234 h 10808782"/>
              <a:gd name="connsiteX879" fmla="*/ 6993842 w 25004707"/>
              <a:gd name="connsiteY879" fmla="*/ 905794 h 10808782"/>
              <a:gd name="connsiteX880" fmla="*/ 6962031 w 25004707"/>
              <a:gd name="connsiteY880" fmla="*/ 1390234 h 10808782"/>
              <a:gd name="connsiteX881" fmla="*/ 5677875 w 25004707"/>
              <a:gd name="connsiteY881" fmla="*/ 1306052 h 10808782"/>
              <a:gd name="connsiteX882" fmla="*/ 6962031 w 25004707"/>
              <a:gd name="connsiteY882" fmla="*/ 1390234 h 10808782"/>
              <a:gd name="connsiteX883" fmla="*/ 8246217 w 25004707"/>
              <a:gd name="connsiteY883" fmla="*/ 1474414 h 10808782"/>
              <a:gd name="connsiteX884" fmla="*/ 6930187 w 25004707"/>
              <a:gd name="connsiteY884" fmla="*/ 1875142 h 10808782"/>
              <a:gd name="connsiteX885" fmla="*/ 8214374 w 25004707"/>
              <a:gd name="connsiteY885" fmla="*/ 1959310 h 10808782"/>
              <a:gd name="connsiteX886" fmla="*/ 8246217 w 25004707"/>
              <a:gd name="connsiteY886" fmla="*/ 1474414 h 10808782"/>
              <a:gd name="connsiteX887" fmla="*/ 7025685 w 25004707"/>
              <a:gd name="connsiteY887" fmla="*/ 420894 h 10808782"/>
              <a:gd name="connsiteX888" fmla="*/ 6993842 w 25004707"/>
              <a:gd name="connsiteY888" fmla="*/ 905794 h 10808782"/>
              <a:gd name="connsiteX889" fmla="*/ 6993842 w 25004707"/>
              <a:gd name="connsiteY889" fmla="*/ 905794 h 10808782"/>
              <a:gd name="connsiteX890" fmla="*/ 5709671 w 25004707"/>
              <a:gd name="connsiteY890" fmla="*/ 821615 h 10808782"/>
              <a:gd name="connsiteX891" fmla="*/ 6993842 w 25004707"/>
              <a:gd name="connsiteY891" fmla="*/ 905794 h 10808782"/>
              <a:gd name="connsiteX892" fmla="*/ 8278013 w 25004707"/>
              <a:gd name="connsiteY892" fmla="*/ 989967 h 10808782"/>
              <a:gd name="connsiteX893" fmla="*/ 8309856 w 25004707"/>
              <a:gd name="connsiteY893" fmla="*/ 505066 h 10808782"/>
              <a:gd name="connsiteX894" fmla="*/ 6739176 w 25004707"/>
              <a:gd name="connsiteY894" fmla="*/ 4783142 h 10808782"/>
              <a:gd name="connsiteX895" fmla="*/ 8023347 w 25004707"/>
              <a:gd name="connsiteY895" fmla="*/ 4867310 h 10808782"/>
              <a:gd name="connsiteX896" fmla="*/ 6611819 w 25004707"/>
              <a:gd name="connsiteY896" fmla="*/ 6722259 h 10808782"/>
              <a:gd name="connsiteX897" fmla="*/ 6579992 w 25004707"/>
              <a:gd name="connsiteY897" fmla="*/ 7206692 h 10808782"/>
              <a:gd name="connsiteX898" fmla="*/ 6611819 w 25004707"/>
              <a:gd name="connsiteY898" fmla="*/ 6722259 h 10808782"/>
              <a:gd name="connsiteX899" fmla="*/ 6643647 w 25004707"/>
              <a:gd name="connsiteY899" fmla="*/ 6237369 h 10808782"/>
              <a:gd name="connsiteX900" fmla="*/ 6611819 w 25004707"/>
              <a:gd name="connsiteY900" fmla="*/ 6722259 h 10808782"/>
              <a:gd name="connsiteX901" fmla="*/ 7895990 w 25004707"/>
              <a:gd name="connsiteY901" fmla="*/ 6806442 h 10808782"/>
              <a:gd name="connsiteX902" fmla="*/ 6579992 w 25004707"/>
              <a:gd name="connsiteY902" fmla="*/ 7206692 h 10808782"/>
              <a:gd name="connsiteX903" fmla="*/ 6548133 w 25004707"/>
              <a:gd name="connsiteY903" fmla="*/ 7691613 h 10808782"/>
              <a:gd name="connsiteX904" fmla="*/ 5263978 w 25004707"/>
              <a:gd name="connsiteY904" fmla="*/ 7607414 h 10808782"/>
              <a:gd name="connsiteX905" fmla="*/ 5232150 w 25004707"/>
              <a:gd name="connsiteY905" fmla="*/ 8091847 h 10808782"/>
              <a:gd name="connsiteX906" fmla="*/ 3947979 w 25004707"/>
              <a:gd name="connsiteY906" fmla="*/ 8007663 h 10808782"/>
              <a:gd name="connsiteX907" fmla="*/ 6643678 w 25004707"/>
              <a:gd name="connsiteY907" fmla="*/ 6237369 h 10808782"/>
              <a:gd name="connsiteX908" fmla="*/ 7927849 w 25004707"/>
              <a:gd name="connsiteY908" fmla="*/ 6321553 h 10808782"/>
              <a:gd name="connsiteX909" fmla="*/ 6898344 w 25004707"/>
              <a:gd name="connsiteY909" fmla="*/ 2360031 h 10808782"/>
              <a:gd name="connsiteX910" fmla="*/ 6866517 w 25004707"/>
              <a:gd name="connsiteY910" fmla="*/ 2844465 h 10808782"/>
              <a:gd name="connsiteX911" fmla="*/ 6866517 w 25004707"/>
              <a:gd name="connsiteY911" fmla="*/ 2844465 h 10808782"/>
              <a:gd name="connsiteX912" fmla="*/ 8150688 w 25004707"/>
              <a:gd name="connsiteY912" fmla="*/ 2928648 h 10808782"/>
              <a:gd name="connsiteX913" fmla="*/ 6866517 w 25004707"/>
              <a:gd name="connsiteY913" fmla="*/ 2844465 h 10808782"/>
              <a:gd name="connsiteX914" fmla="*/ 6802862 w 25004707"/>
              <a:gd name="connsiteY914" fmla="*/ 3813787 h 10808782"/>
              <a:gd name="connsiteX915" fmla="*/ 7832335 w 25004707"/>
              <a:gd name="connsiteY915" fmla="*/ 7775781 h 10808782"/>
              <a:gd name="connsiteX916" fmla="*/ 7864178 w 25004707"/>
              <a:gd name="connsiteY916" fmla="*/ 7290876 h 10808782"/>
              <a:gd name="connsiteX917" fmla="*/ 7832335 w 25004707"/>
              <a:gd name="connsiteY917" fmla="*/ 7775781 h 10808782"/>
              <a:gd name="connsiteX918" fmla="*/ 7800540 w 25004707"/>
              <a:gd name="connsiteY918" fmla="*/ 8260199 h 10808782"/>
              <a:gd name="connsiteX919" fmla="*/ 7832335 w 25004707"/>
              <a:gd name="connsiteY919" fmla="*/ 7775781 h 10808782"/>
              <a:gd name="connsiteX920" fmla="*/ 9116522 w 25004707"/>
              <a:gd name="connsiteY920" fmla="*/ 7859965 h 10808782"/>
              <a:gd name="connsiteX921" fmla="*/ 7864178 w 25004707"/>
              <a:gd name="connsiteY921" fmla="*/ 7290876 h 10808782"/>
              <a:gd name="connsiteX922" fmla="*/ 7895990 w 25004707"/>
              <a:gd name="connsiteY922" fmla="*/ 6806442 h 10808782"/>
              <a:gd name="connsiteX923" fmla="*/ 7864178 w 25004707"/>
              <a:gd name="connsiteY923" fmla="*/ 7290876 h 10808782"/>
              <a:gd name="connsiteX924" fmla="*/ 6580023 w 25004707"/>
              <a:gd name="connsiteY924" fmla="*/ 7206692 h 10808782"/>
              <a:gd name="connsiteX925" fmla="*/ 7864178 w 25004707"/>
              <a:gd name="connsiteY925" fmla="*/ 7290876 h 10808782"/>
              <a:gd name="connsiteX926" fmla="*/ 9148365 w 25004707"/>
              <a:gd name="connsiteY926" fmla="*/ 7375028 h 10808782"/>
              <a:gd name="connsiteX927" fmla="*/ 9180177 w 25004707"/>
              <a:gd name="connsiteY927" fmla="*/ 6890626 h 10808782"/>
              <a:gd name="connsiteX928" fmla="*/ 8023347 w 25004707"/>
              <a:gd name="connsiteY928" fmla="*/ 4867310 h 10808782"/>
              <a:gd name="connsiteX929" fmla="*/ 7991504 w 25004707"/>
              <a:gd name="connsiteY929" fmla="*/ 5352199 h 10808782"/>
              <a:gd name="connsiteX930" fmla="*/ 6707317 w 25004707"/>
              <a:gd name="connsiteY930" fmla="*/ 5268031 h 10808782"/>
              <a:gd name="connsiteX931" fmla="*/ 8023347 w 25004707"/>
              <a:gd name="connsiteY931" fmla="*/ 4867310 h 10808782"/>
              <a:gd name="connsiteX932" fmla="*/ 8055159 w 25004707"/>
              <a:gd name="connsiteY932" fmla="*/ 4382892 h 10808782"/>
              <a:gd name="connsiteX933" fmla="*/ 8023347 w 25004707"/>
              <a:gd name="connsiteY933" fmla="*/ 4867310 h 10808782"/>
              <a:gd name="connsiteX934" fmla="*/ 9307518 w 25004707"/>
              <a:gd name="connsiteY934" fmla="*/ 4951493 h 10808782"/>
              <a:gd name="connsiteX935" fmla="*/ 9339345 w 25004707"/>
              <a:gd name="connsiteY935" fmla="*/ 4467060 h 10808782"/>
              <a:gd name="connsiteX936" fmla="*/ 8150735 w 25004707"/>
              <a:gd name="connsiteY936" fmla="*/ 2928633 h 10808782"/>
              <a:gd name="connsiteX937" fmla="*/ 8118892 w 25004707"/>
              <a:gd name="connsiteY937" fmla="*/ 3413522 h 10808782"/>
              <a:gd name="connsiteX938" fmla="*/ 8118892 w 25004707"/>
              <a:gd name="connsiteY938" fmla="*/ 3413522 h 10808782"/>
              <a:gd name="connsiteX939" fmla="*/ 6834705 w 25004707"/>
              <a:gd name="connsiteY939" fmla="*/ 3329354 h 10808782"/>
              <a:gd name="connsiteX940" fmla="*/ 8118892 w 25004707"/>
              <a:gd name="connsiteY940" fmla="*/ 3413522 h 10808782"/>
              <a:gd name="connsiteX941" fmla="*/ 9403063 w 25004707"/>
              <a:gd name="connsiteY941" fmla="*/ 3497721 h 10808782"/>
              <a:gd name="connsiteX942" fmla="*/ 7927849 w 25004707"/>
              <a:gd name="connsiteY942" fmla="*/ 6321553 h 10808782"/>
              <a:gd name="connsiteX943" fmla="*/ 7895990 w 25004707"/>
              <a:gd name="connsiteY943" fmla="*/ 6806442 h 10808782"/>
              <a:gd name="connsiteX944" fmla="*/ 7927849 w 25004707"/>
              <a:gd name="connsiteY944" fmla="*/ 6321553 h 10808782"/>
              <a:gd name="connsiteX945" fmla="*/ 7959692 w 25004707"/>
              <a:gd name="connsiteY945" fmla="*/ 5836632 h 10808782"/>
              <a:gd name="connsiteX946" fmla="*/ 7895990 w 25004707"/>
              <a:gd name="connsiteY946" fmla="*/ 6806442 h 10808782"/>
              <a:gd name="connsiteX947" fmla="*/ 9180177 w 25004707"/>
              <a:gd name="connsiteY947" fmla="*/ 6890626 h 10808782"/>
              <a:gd name="connsiteX948" fmla="*/ 7736885 w 25004707"/>
              <a:gd name="connsiteY948" fmla="*/ 9229521 h 10808782"/>
              <a:gd name="connsiteX949" fmla="*/ 7705010 w 25004707"/>
              <a:gd name="connsiteY949" fmla="*/ 9714426 h 10808782"/>
              <a:gd name="connsiteX950" fmla="*/ 7736885 w 25004707"/>
              <a:gd name="connsiteY950" fmla="*/ 9229521 h 10808782"/>
              <a:gd name="connsiteX951" fmla="*/ 9021040 w 25004707"/>
              <a:gd name="connsiteY951" fmla="*/ 9313690 h 10808782"/>
              <a:gd name="connsiteX952" fmla="*/ 7736885 w 25004707"/>
              <a:gd name="connsiteY952" fmla="*/ 9229521 h 10808782"/>
              <a:gd name="connsiteX953" fmla="*/ 7800540 w 25004707"/>
              <a:gd name="connsiteY953" fmla="*/ 8260199 h 10808782"/>
              <a:gd name="connsiteX954" fmla="*/ 8087049 w 25004707"/>
              <a:gd name="connsiteY954" fmla="*/ 3897987 h 10808782"/>
              <a:gd name="connsiteX955" fmla="*/ 8055206 w 25004707"/>
              <a:gd name="connsiteY955" fmla="*/ 4382892 h 10808782"/>
              <a:gd name="connsiteX956" fmla="*/ 8055206 w 25004707"/>
              <a:gd name="connsiteY956" fmla="*/ 4382892 h 10808782"/>
              <a:gd name="connsiteX957" fmla="*/ 6771019 w 25004707"/>
              <a:gd name="connsiteY957" fmla="*/ 4298708 h 10808782"/>
              <a:gd name="connsiteX958" fmla="*/ 8055206 w 25004707"/>
              <a:gd name="connsiteY958" fmla="*/ 4382892 h 10808782"/>
              <a:gd name="connsiteX959" fmla="*/ 9339392 w 25004707"/>
              <a:gd name="connsiteY959" fmla="*/ 4467060 h 10808782"/>
              <a:gd name="connsiteX960" fmla="*/ 7959724 w 25004707"/>
              <a:gd name="connsiteY960" fmla="*/ 5836648 h 10808782"/>
              <a:gd name="connsiteX961" fmla="*/ 7991535 w 25004707"/>
              <a:gd name="connsiteY961" fmla="*/ 5352214 h 10808782"/>
              <a:gd name="connsiteX962" fmla="*/ 9275706 w 25004707"/>
              <a:gd name="connsiteY962" fmla="*/ 5436398 h 10808782"/>
              <a:gd name="connsiteX963" fmla="*/ 7959724 w 25004707"/>
              <a:gd name="connsiteY963" fmla="*/ 5836648 h 10808782"/>
              <a:gd name="connsiteX964" fmla="*/ 9243879 w 25004707"/>
              <a:gd name="connsiteY964" fmla="*/ 5920832 h 10808782"/>
              <a:gd name="connsiteX965" fmla="*/ 7705010 w 25004707"/>
              <a:gd name="connsiteY965" fmla="*/ 9714426 h 10808782"/>
              <a:gd name="connsiteX966" fmla="*/ 6420839 w 25004707"/>
              <a:gd name="connsiteY966" fmla="*/ 9630242 h 10808782"/>
              <a:gd name="connsiteX967" fmla="*/ 7705010 w 25004707"/>
              <a:gd name="connsiteY967" fmla="*/ 9714426 h 10808782"/>
              <a:gd name="connsiteX968" fmla="*/ 8989196 w 25004707"/>
              <a:gd name="connsiteY968" fmla="*/ 9798594 h 10808782"/>
              <a:gd name="connsiteX969" fmla="*/ 9021040 w 25004707"/>
              <a:gd name="connsiteY969" fmla="*/ 9313690 h 10808782"/>
              <a:gd name="connsiteX970" fmla="*/ 8246217 w 25004707"/>
              <a:gd name="connsiteY970" fmla="*/ 1474414 h 10808782"/>
              <a:gd name="connsiteX971" fmla="*/ 8278029 w 25004707"/>
              <a:gd name="connsiteY971" fmla="*/ 989981 h 10808782"/>
              <a:gd name="connsiteX972" fmla="*/ 9562184 w 25004707"/>
              <a:gd name="connsiteY972" fmla="*/ 1074155 h 10808782"/>
              <a:gd name="connsiteX973" fmla="*/ 7800540 w 25004707"/>
              <a:gd name="connsiteY973" fmla="*/ 8260199 h 10808782"/>
              <a:gd name="connsiteX974" fmla="*/ 9084726 w 25004707"/>
              <a:gd name="connsiteY974" fmla="*/ 8344382 h 10808782"/>
              <a:gd name="connsiteX975" fmla="*/ 8182500 w 25004707"/>
              <a:gd name="connsiteY975" fmla="*/ 2444199 h 10808782"/>
              <a:gd name="connsiteX976" fmla="*/ 8214343 w 25004707"/>
              <a:gd name="connsiteY976" fmla="*/ 1959294 h 10808782"/>
              <a:gd name="connsiteX977" fmla="*/ 9498529 w 25004707"/>
              <a:gd name="connsiteY977" fmla="*/ 2043493 h 10808782"/>
              <a:gd name="connsiteX978" fmla="*/ 8182500 w 25004707"/>
              <a:gd name="connsiteY978" fmla="*/ 2444199 h 10808782"/>
              <a:gd name="connsiteX979" fmla="*/ 8150688 w 25004707"/>
              <a:gd name="connsiteY979" fmla="*/ 2928648 h 10808782"/>
              <a:gd name="connsiteX980" fmla="*/ 8182500 w 25004707"/>
              <a:gd name="connsiteY980" fmla="*/ 2444199 h 10808782"/>
              <a:gd name="connsiteX981" fmla="*/ 9466686 w 25004707"/>
              <a:gd name="connsiteY981" fmla="*/ 2528399 h 10808782"/>
              <a:gd name="connsiteX982" fmla="*/ 8182500 w 25004707"/>
              <a:gd name="connsiteY982" fmla="*/ 2444199 h 10808782"/>
              <a:gd name="connsiteX983" fmla="*/ 6898329 w 25004707"/>
              <a:gd name="connsiteY983" fmla="*/ 2360015 h 10808782"/>
              <a:gd name="connsiteX984" fmla="*/ 8150688 w 25004707"/>
              <a:gd name="connsiteY984" fmla="*/ 2928648 h 10808782"/>
              <a:gd name="connsiteX985" fmla="*/ 9434859 w 25004707"/>
              <a:gd name="connsiteY985" fmla="*/ 3012832 h 10808782"/>
              <a:gd name="connsiteX986" fmla="*/ 9275706 w 25004707"/>
              <a:gd name="connsiteY986" fmla="*/ 5436398 h 10808782"/>
              <a:gd name="connsiteX987" fmla="*/ 9243879 w 25004707"/>
              <a:gd name="connsiteY987" fmla="*/ 5920832 h 10808782"/>
              <a:gd name="connsiteX988" fmla="*/ 9243879 w 25004707"/>
              <a:gd name="connsiteY988" fmla="*/ 5920832 h 10808782"/>
              <a:gd name="connsiteX989" fmla="*/ 9212035 w 25004707"/>
              <a:gd name="connsiteY989" fmla="*/ 6405721 h 10808782"/>
              <a:gd name="connsiteX990" fmla="*/ 9212035 w 25004707"/>
              <a:gd name="connsiteY990" fmla="*/ 6405721 h 10808782"/>
              <a:gd name="connsiteX991" fmla="*/ 9180177 w 25004707"/>
              <a:gd name="connsiteY991" fmla="*/ 6890626 h 10808782"/>
              <a:gd name="connsiteX992" fmla="*/ 9212035 w 25004707"/>
              <a:gd name="connsiteY992" fmla="*/ 6405721 h 10808782"/>
              <a:gd name="connsiteX993" fmla="*/ 7927865 w 25004707"/>
              <a:gd name="connsiteY993" fmla="*/ 6321538 h 10808782"/>
              <a:gd name="connsiteX994" fmla="*/ 9371235 w 25004707"/>
              <a:gd name="connsiteY994" fmla="*/ 3982171 h 10808782"/>
              <a:gd name="connsiteX995" fmla="*/ 9339392 w 25004707"/>
              <a:gd name="connsiteY995" fmla="*/ 4467060 h 10808782"/>
              <a:gd name="connsiteX996" fmla="*/ 9562184 w 25004707"/>
              <a:gd name="connsiteY996" fmla="*/ 1074155 h 10808782"/>
              <a:gd name="connsiteX997" fmla="*/ 9530372 w 25004707"/>
              <a:gd name="connsiteY997" fmla="*/ 1558589 h 10808782"/>
              <a:gd name="connsiteX998" fmla="*/ 9562184 w 25004707"/>
              <a:gd name="connsiteY998" fmla="*/ 1074155 h 10808782"/>
              <a:gd name="connsiteX999" fmla="*/ 9594027 w 25004707"/>
              <a:gd name="connsiteY999" fmla="*/ 589247 h 10808782"/>
              <a:gd name="connsiteX1000" fmla="*/ 9530372 w 25004707"/>
              <a:gd name="connsiteY1000" fmla="*/ 1558589 h 10808782"/>
              <a:gd name="connsiteX1001" fmla="*/ 9498529 w 25004707"/>
              <a:gd name="connsiteY1001" fmla="*/ 2043493 h 10808782"/>
              <a:gd name="connsiteX1002" fmla="*/ 9530372 w 25004707"/>
              <a:gd name="connsiteY1002" fmla="*/ 1558589 h 10808782"/>
              <a:gd name="connsiteX1003" fmla="*/ 8246186 w 25004707"/>
              <a:gd name="connsiteY1003" fmla="*/ 1474408 h 10808782"/>
              <a:gd name="connsiteX1004" fmla="*/ 9116522 w 25004707"/>
              <a:gd name="connsiteY1004" fmla="*/ 7859965 h 10808782"/>
              <a:gd name="connsiteX1005" fmla="*/ 9084726 w 25004707"/>
              <a:gd name="connsiteY1005" fmla="*/ 8344382 h 10808782"/>
              <a:gd name="connsiteX1006" fmla="*/ 9403063 w 25004707"/>
              <a:gd name="connsiteY1006" fmla="*/ 3497721 h 10808782"/>
              <a:gd name="connsiteX1007" fmla="*/ 9371251 w 25004707"/>
              <a:gd name="connsiteY1007" fmla="*/ 3982155 h 10808782"/>
              <a:gd name="connsiteX1008" fmla="*/ 9403063 w 25004707"/>
              <a:gd name="connsiteY1008" fmla="*/ 3497721 h 10808782"/>
              <a:gd name="connsiteX1009" fmla="*/ 9434921 w 25004707"/>
              <a:gd name="connsiteY1009" fmla="*/ 3012801 h 10808782"/>
              <a:gd name="connsiteX1010" fmla="*/ 9371251 w 25004707"/>
              <a:gd name="connsiteY1010" fmla="*/ 3982155 h 10808782"/>
              <a:gd name="connsiteX1011" fmla="*/ 8087081 w 25004707"/>
              <a:gd name="connsiteY1011" fmla="*/ 3897971 h 10808782"/>
              <a:gd name="connsiteX1012" fmla="*/ 9498529 w 25004707"/>
              <a:gd name="connsiteY1012" fmla="*/ 2043493 h 10808782"/>
              <a:gd name="connsiteX1013" fmla="*/ 9466686 w 25004707"/>
              <a:gd name="connsiteY1013" fmla="*/ 2528399 h 10808782"/>
              <a:gd name="connsiteX1014" fmla="*/ 9466686 w 25004707"/>
              <a:gd name="connsiteY1014" fmla="*/ 2528399 h 10808782"/>
              <a:gd name="connsiteX1015" fmla="*/ 9434859 w 25004707"/>
              <a:gd name="connsiteY1015" fmla="*/ 3012832 h 10808782"/>
              <a:gd name="connsiteX1016" fmla="*/ 9021040 w 25004707"/>
              <a:gd name="connsiteY1016" fmla="*/ 9313690 h 10808782"/>
              <a:gd name="connsiteX1017" fmla="*/ 9052851 w 25004707"/>
              <a:gd name="connsiteY1017" fmla="*/ 8829272 h 10808782"/>
              <a:gd name="connsiteX1018" fmla="*/ 9084726 w 25004707"/>
              <a:gd name="connsiteY1018" fmla="*/ 8344382 h 10808782"/>
              <a:gd name="connsiteX1019" fmla="*/ 9052883 w 25004707"/>
              <a:gd name="connsiteY1019" fmla="*/ 8829287 h 10808782"/>
              <a:gd name="connsiteX1020" fmla="*/ 9052883 w 25004707"/>
              <a:gd name="connsiteY1020" fmla="*/ 8829287 h 10808782"/>
              <a:gd name="connsiteX1021" fmla="*/ 6484525 w 25004707"/>
              <a:gd name="connsiteY1021" fmla="*/ 8660920 h 10808782"/>
              <a:gd name="connsiteX1022" fmla="*/ 11589397 w 25004707"/>
              <a:gd name="connsiteY1022" fmla="*/ 9482057 h 10808782"/>
              <a:gd name="connsiteX1023" fmla="*/ 11621209 w 25004707"/>
              <a:gd name="connsiteY1023" fmla="*/ 8997623 h 10808782"/>
              <a:gd name="connsiteX1024" fmla="*/ 11589397 w 25004707"/>
              <a:gd name="connsiteY1024" fmla="*/ 9482057 h 10808782"/>
              <a:gd name="connsiteX1025" fmla="*/ 11557539 w 25004707"/>
              <a:gd name="connsiteY1025" fmla="*/ 9966962 h 10808782"/>
              <a:gd name="connsiteX1026" fmla="*/ 10273352 w 25004707"/>
              <a:gd name="connsiteY1026" fmla="*/ 9882778 h 10808782"/>
              <a:gd name="connsiteX1027" fmla="*/ 11589397 w 25004707"/>
              <a:gd name="connsiteY1027" fmla="*/ 9482057 h 10808782"/>
              <a:gd name="connsiteX1028" fmla="*/ 12873584 w 25004707"/>
              <a:gd name="connsiteY1028" fmla="*/ 9566240 h 10808782"/>
              <a:gd name="connsiteX1029" fmla="*/ 11589397 w 25004707"/>
              <a:gd name="connsiteY1029" fmla="*/ 9482057 h 10808782"/>
              <a:gd name="connsiteX1030" fmla="*/ 10305227 w 25004707"/>
              <a:gd name="connsiteY1030" fmla="*/ 9397873 h 10808782"/>
              <a:gd name="connsiteX1031" fmla="*/ 11621209 w 25004707"/>
              <a:gd name="connsiteY1031" fmla="*/ 8997623 h 10808782"/>
              <a:gd name="connsiteX1032" fmla="*/ 11653068 w 25004707"/>
              <a:gd name="connsiteY1032" fmla="*/ 8512733 h 10808782"/>
              <a:gd name="connsiteX1033" fmla="*/ 11621209 w 25004707"/>
              <a:gd name="connsiteY1033" fmla="*/ 8997623 h 10808782"/>
              <a:gd name="connsiteX1034" fmla="*/ 10337038 w 25004707"/>
              <a:gd name="connsiteY1034" fmla="*/ 8913455 h 10808782"/>
              <a:gd name="connsiteX1035" fmla="*/ 12098730 w 25004707"/>
              <a:gd name="connsiteY1035" fmla="*/ 1726956 h 10808782"/>
              <a:gd name="connsiteX1036" fmla="*/ 12066887 w 25004707"/>
              <a:gd name="connsiteY1036" fmla="*/ 2211845 h 10808782"/>
              <a:gd name="connsiteX1037" fmla="*/ 12098730 w 25004707"/>
              <a:gd name="connsiteY1037" fmla="*/ 1726956 h 10808782"/>
              <a:gd name="connsiteX1038" fmla="*/ 12130541 w 25004707"/>
              <a:gd name="connsiteY1038" fmla="*/ 1242500 h 10808782"/>
              <a:gd name="connsiteX1039" fmla="*/ 12098730 w 25004707"/>
              <a:gd name="connsiteY1039" fmla="*/ 1726956 h 10808782"/>
              <a:gd name="connsiteX1040" fmla="*/ 13382917 w 25004707"/>
              <a:gd name="connsiteY1040" fmla="*/ 1811140 h 10808782"/>
              <a:gd name="connsiteX1041" fmla="*/ 12066887 w 25004707"/>
              <a:gd name="connsiteY1041" fmla="*/ 2211845 h 10808782"/>
              <a:gd name="connsiteX1042" fmla="*/ 12035043 w 25004707"/>
              <a:gd name="connsiteY1042" fmla="*/ 2696735 h 10808782"/>
              <a:gd name="connsiteX1043" fmla="*/ 12066887 w 25004707"/>
              <a:gd name="connsiteY1043" fmla="*/ 2211845 h 10808782"/>
              <a:gd name="connsiteX1044" fmla="*/ 13351074 w 25004707"/>
              <a:gd name="connsiteY1044" fmla="*/ 2296029 h 10808782"/>
              <a:gd name="connsiteX1045" fmla="*/ 13382917 w 25004707"/>
              <a:gd name="connsiteY1045" fmla="*/ 1811140 h 10808782"/>
              <a:gd name="connsiteX1046" fmla="*/ 11684864 w 25004707"/>
              <a:gd name="connsiteY1046" fmla="*/ 8028316 h 10808782"/>
              <a:gd name="connsiteX1047" fmla="*/ 11700769 w 25004707"/>
              <a:gd name="connsiteY1047" fmla="*/ 7786092 h 10808782"/>
              <a:gd name="connsiteX1048" fmla="*/ 11645721 w 25004707"/>
              <a:gd name="connsiteY1048" fmla="*/ 7561345 h 10808782"/>
              <a:gd name="connsiteX1049" fmla="*/ 11684864 w 25004707"/>
              <a:gd name="connsiteY1049" fmla="*/ 8028316 h 10808782"/>
              <a:gd name="connsiteX1050" fmla="*/ 11653068 w 25004707"/>
              <a:gd name="connsiteY1050" fmla="*/ 8512733 h 10808782"/>
              <a:gd name="connsiteX1051" fmla="*/ 12162401 w 25004707"/>
              <a:gd name="connsiteY1051" fmla="*/ 757600 h 10808782"/>
              <a:gd name="connsiteX1052" fmla="*/ 12130541 w 25004707"/>
              <a:gd name="connsiteY1052" fmla="*/ 1242500 h 10808782"/>
              <a:gd name="connsiteX1053" fmla="*/ 12130541 w 25004707"/>
              <a:gd name="connsiteY1053" fmla="*/ 1242500 h 10808782"/>
              <a:gd name="connsiteX1054" fmla="*/ 13414713 w 25004707"/>
              <a:gd name="connsiteY1054" fmla="*/ 1326681 h 10808782"/>
              <a:gd name="connsiteX1055" fmla="*/ 11971389 w 25004707"/>
              <a:gd name="connsiteY1055" fmla="*/ 3666073 h 10808782"/>
              <a:gd name="connsiteX1056" fmla="*/ 11939593 w 25004707"/>
              <a:gd name="connsiteY1056" fmla="*/ 4150506 h 10808782"/>
              <a:gd name="connsiteX1057" fmla="*/ 11971389 w 25004707"/>
              <a:gd name="connsiteY1057" fmla="*/ 3666073 h 10808782"/>
              <a:gd name="connsiteX1058" fmla="*/ 10687203 w 25004707"/>
              <a:gd name="connsiteY1058" fmla="*/ 3581889 h 10808782"/>
              <a:gd name="connsiteX1059" fmla="*/ 11971389 w 25004707"/>
              <a:gd name="connsiteY1059" fmla="*/ 3666073 h 10808782"/>
              <a:gd name="connsiteX1060" fmla="*/ 12035043 w 25004707"/>
              <a:gd name="connsiteY1060" fmla="*/ 2696750 h 10808782"/>
              <a:gd name="connsiteX1061" fmla="*/ 11939562 w 25004707"/>
              <a:gd name="connsiteY1061" fmla="*/ 4150506 h 10808782"/>
              <a:gd name="connsiteX1062" fmla="*/ 11923656 w 25004707"/>
              <a:gd name="connsiteY1062" fmla="*/ 4392731 h 10808782"/>
              <a:gd name="connsiteX1063" fmla="*/ 11839674 w 25004707"/>
              <a:gd name="connsiteY1063" fmla="*/ 4608362 h 10808782"/>
              <a:gd name="connsiteX1064" fmla="*/ 11939593 w 25004707"/>
              <a:gd name="connsiteY1064" fmla="*/ 4150506 h 10808782"/>
              <a:gd name="connsiteX1065" fmla="*/ 12272294 w 25004707"/>
              <a:gd name="connsiteY1065" fmla="*/ 4172322 h 10808782"/>
              <a:gd name="connsiteX1066" fmla="*/ 13140632 w 25004707"/>
              <a:gd name="connsiteY1066" fmla="*/ 4177462 h 10808782"/>
              <a:gd name="connsiteX1067" fmla="*/ 11123456 w 25004707"/>
              <a:gd name="connsiteY1067" fmla="*/ 6044043 h 10808782"/>
              <a:gd name="connsiteX1068" fmla="*/ 11191500 w 25004707"/>
              <a:gd name="connsiteY1068" fmla="*/ 6598074 h 10808782"/>
              <a:gd name="connsiteX1069" fmla="*/ 10491927 w 25004707"/>
              <a:gd name="connsiteY1069" fmla="*/ 6490078 h 10808782"/>
              <a:gd name="connsiteX1070" fmla="*/ 11123456 w 25004707"/>
              <a:gd name="connsiteY1070" fmla="*/ 6044043 h 10808782"/>
              <a:gd name="connsiteX1071" fmla="*/ 11503937 w 25004707"/>
              <a:gd name="connsiteY1071" fmla="*/ 6068971 h 10808782"/>
              <a:gd name="connsiteX1072" fmla="*/ 11646287 w 25004707"/>
              <a:gd name="connsiteY1072" fmla="*/ 7561361 h 10808782"/>
              <a:gd name="connsiteX1073" fmla="*/ 11412797 w 25004707"/>
              <a:gd name="connsiteY1073" fmla="*/ 7108001 h 10808782"/>
              <a:gd name="connsiteX1074" fmla="*/ 11130048 w 25004707"/>
              <a:gd name="connsiteY1074" fmla="*/ 7039111 h 10808782"/>
              <a:gd name="connsiteX1075" fmla="*/ 10846071 w 25004707"/>
              <a:gd name="connsiteY1075" fmla="*/ 7005444 h 10808782"/>
              <a:gd name="connsiteX1076" fmla="*/ 10464379 w 25004707"/>
              <a:gd name="connsiteY1076" fmla="*/ 6974779 h 10808782"/>
              <a:gd name="connsiteX1077" fmla="*/ 11191531 w 25004707"/>
              <a:gd name="connsiteY1077" fmla="*/ 6598058 h 10808782"/>
              <a:gd name="connsiteX1078" fmla="*/ 11412813 w 25004707"/>
              <a:gd name="connsiteY1078" fmla="*/ 7107545 h 10808782"/>
              <a:gd name="connsiteX1079" fmla="*/ 12088126 w 25004707"/>
              <a:gd name="connsiteY1079" fmla="*/ 7357425 h 10808782"/>
              <a:gd name="connsiteX1080" fmla="*/ 12035043 w 25004707"/>
              <a:gd name="connsiteY1080" fmla="*/ 2696735 h 10808782"/>
              <a:gd name="connsiteX1081" fmla="*/ 13319230 w 25004707"/>
              <a:gd name="connsiteY1081" fmla="*/ 2780918 h 10808782"/>
              <a:gd name="connsiteX1082" fmla="*/ 11840162 w 25004707"/>
              <a:gd name="connsiteY1082" fmla="*/ 4608393 h 10808782"/>
              <a:gd name="connsiteX1083" fmla="*/ 11549389 w 25004707"/>
              <a:gd name="connsiteY1083" fmla="*/ 5027378 h 10808782"/>
              <a:gd name="connsiteX1084" fmla="*/ 11263368 w 25004707"/>
              <a:gd name="connsiteY1084" fmla="*/ 5504110 h 10808782"/>
              <a:gd name="connsiteX1085" fmla="*/ 11123440 w 25004707"/>
              <a:gd name="connsiteY1085" fmla="*/ 6044498 h 10808782"/>
              <a:gd name="connsiteX1086" fmla="*/ 11549436 w 25004707"/>
              <a:gd name="connsiteY1086" fmla="*/ 5027394 h 10808782"/>
              <a:gd name="connsiteX1087" fmla="*/ 11263415 w 25004707"/>
              <a:gd name="connsiteY1087" fmla="*/ 5503623 h 10808782"/>
              <a:gd name="connsiteX1088" fmla="*/ 11752593 w 25004707"/>
              <a:gd name="connsiteY1088" fmla="*/ 5391241 h 10808782"/>
              <a:gd name="connsiteX1089" fmla="*/ 12251684 w 25004707"/>
              <a:gd name="connsiteY1089" fmla="*/ 4867812 h 10808782"/>
              <a:gd name="connsiteX1090" fmla="*/ 13275399 w 25004707"/>
              <a:gd name="connsiteY1090" fmla="*/ 4617321 h 10808782"/>
              <a:gd name="connsiteX1091" fmla="*/ 13140664 w 25004707"/>
              <a:gd name="connsiteY1091" fmla="*/ 4177494 h 10808782"/>
              <a:gd name="connsiteX1092" fmla="*/ 12761818 w 25004707"/>
              <a:gd name="connsiteY1092" fmla="*/ 4492837 h 10808782"/>
              <a:gd name="connsiteX1093" fmla="*/ 11661721 w 25004707"/>
              <a:gd name="connsiteY1093" fmla="*/ 6773813 h 10808782"/>
              <a:gd name="connsiteX1094" fmla="*/ 11503858 w 25004707"/>
              <a:gd name="connsiteY1094" fmla="*/ 6069442 h 10808782"/>
              <a:gd name="connsiteX1095" fmla="*/ 12905427 w 25004707"/>
              <a:gd name="connsiteY1095" fmla="*/ 9081823 h 10808782"/>
              <a:gd name="connsiteX1096" fmla="*/ 12937271 w 25004707"/>
              <a:gd name="connsiteY1096" fmla="*/ 8596917 h 10808782"/>
              <a:gd name="connsiteX1097" fmla="*/ 12905427 w 25004707"/>
              <a:gd name="connsiteY1097" fmla="*/ 9081823 h 10808782"/>
              <a:gd name="connsiteX1098" fmla="*/ 14190133 w 25004707"/>
              <a:gd name="connsiteY1098" fmla="*/ 9166037 h 10808782"/>
              <a:gd name="connsiteX1099" fmla="*/ 12905427 w 25004707"/>
              <a:gd name="connsiteY1099" fmla="*/ 9081823 h 10808782"/>
              <a:gd name="connsiteX1100" fmla="*/ 11621240 w 25004707"/>
              <a:gd name="connsiteY1100" fmla="*/ 8997639 h 10808782"/>
              <a:gd name="connsiteX1101" fmla="*/ 12251620 w 25004707"/>
              <a:gd name="connsiteY1101" fmla="*/ 4868269 h 10808782"/>
              <a:gd name="connsiteX1102" fmla="*/ 12762275 w 25004707"/>
              <a:gd name="connsiteY1102" fmla="*/ 4493340 h 10808782"/>
              <a:gd name="connsiteX1103" fmla="*/ 11503937 w 25004707"/>
              <a:gd name="connsiteY1103" fmla="*/ 6068971 h 10808782"/>
              <a:gd name="connsiteX1104" fmla="*/ 11752562 w 25004707"/>
              <a:gd name="connsiteY1104" fmla="*/ 5391257 h 10808782"/>
              <a:gd name="connsiteX1105" fmla="*/ 11503937 w 25004707"/>
              <a:gd name="connsiteY1105" fmla="*/ 6068971 h 10808782"/>
              <a:gd name="connsiteX1106" fmla="*/ 11995302 w 25004707"/>
              <a:gd name="connsiteY1106" fmla="*/ 6101176 h 10808782"/>
              <a:gd name="connsiteX1107" fmla="*/ 13319215 w 25004707"/>
              <a:gd name="connsiteY1107" fmla="*/ 2780934 h 10808782"/>
              <a:gd name="connsiteX1108" fmla="*/ 13287403 w 25004707"/>
              <a:gd name="connsiteY1108" fmla="*/ 3265368 h 10808782"/>
              <a:gd name="connsiteX1109" fmla="*/ 10719045 w 25004707"/>
              <a:gd name="connsiteY1109" fmla="*/ 3097000 h 10808782"/>
              <a:gd name="connsiteX1110" fmla="*/ 12879185 w 25004707"/>
              <a:gd name="connsiteY1110" fmla="*/ 8157877 h 10808782"/>
              <a:gd name="connsiteX1111" fmla="*/ 12953113 w 25004707"/>
              <a:gd name="connsiteY1111" fmla="*/ 8354693 h 10808782"/>
              <a:gd name="connsiteX1112" fmla="*/ 12937192 w 25004707"/>
              <a:gd name="connsiteY1112" fmla="*/ 8596917 h 10808782"/>
              <a:gd name="connsiteX1113" fmla="*/ 11653021 w 25004707"/>
              <a:gd name="connsiteY1113" fmla="*/ 8512733 h 10808782"/>
              <a:gd name="connsiteX1114" fmla="*/ 13351074 w 25004707"/>
              <a:gd name="connsiteY1114" fmla="*/ 2296013 h 10808782"/>
              <a:gd name="connsiteX1115" fmla="*/ 13319230 w 25004707"/>
              <a:gd name="connsiteY1115" fmla="*/ 2780918 h 10808782"/>
              <a:gd name="connsiteX1116" fmla="*/ 13319230 w 25004707"/>
              <a:gd name="connsiteY1116" fmla="*/ 2780918 h 10808782"/>
              <a:gd name="connsiteX1117" fmla="*/ 14603952 w 25004707"/>
              <a:gd name="connsiteY1117" fmla="*/ 2865118 h 10808782"/>
              <a:gd name="connsiteX1118" fmla="*/ 14635795 w 25004707"/>
              <a:gd name="connsiteY1118" fmla="*/ 2380244 h 10808782"/>
              <a:gd name="connsiteX1119" fmla="*/ 13382917 w 25004707"/>
              <a:gd name="connsiteY1119" fmla="*/ 1811140 h 10808782"/>
              <a:gd name="connsiteX1120" fmla="*/ 13414713 w 25004707"/>
              <a:gd name="connsiteY1120" fmla="*/ 1326681 h 10808782"/>
              <a:gd name="connsiteX1121" fmla="*/ 13382917 w 25004707"/>
              <a:gd name="connsiteY1121" fmla="*/ 1811140 h 10808782"/>
              <a:gd name="connsiteX1122" fmla="*/ 14667607 w 25004707"/>
              <a:gd name="connsiteY1122" fmla="*/ 1895339 h 10808782"/>
              <a:gd name="connsiteX1123" fmla="*/ 13287451 w 25004707"/>
              <a:gd name="connsiteY1123" fmla="*/ 3265336 h 10808782"/>
              <a:gd name="connsiteX1124" fmla="*/ 13255607 w 25004707"/>
              <a:gd name="connsiteY1124" fmla="*/ 3750241 h 10808782"/>
              <a:gd name="connsiteX1125" fmla="*/ 11971436 w 25004707"/>
              <a:gd name="connsiteY1125" fmla="*/ 3666057 h 10808782"/>
              <a:gd name="connsiteX1126" fmla="*/ 13140585 w 25004707"/>
              <a:gd name="connsiteY1126" fmla="*/ 4177934 h 10808782"/>
              <a:gd name="connsiteX1127" fmla="*/ 13239622 w 25004707"/>
              <a:gd name="connsiteY1127" fmla="*/ 3992450 h 10808782"/>
              <a:gd name="connsiteX1128" fmla="*/ 13255529 w 25004707"/>
              <a:gd name="connsiteY1128" fmla="*/ 3750241 h 10808782"/>
              <a:gd name="connsiteX1129" fmla="*/ 14206023 w 25004707"/>
              <a:gd name="connsiteY1129" fmla="*/ 3811147 h 10808782"/>
              <a:gd name="connsiteX1130" fmla="*/ 14533910 w 25004707"/>
              <a:gd name="connsiteY1130" fmla="*/ 3825576 h 10808782"/>
              <a:gd name="connsiteX1131" fmla="*/ 14311810 w 25004707"/>
              <a:gd name="connsiteY1131" fmla="*/ 4099440 h 10808782"/>
              <a:gd name="connsiteX1132" fmla="*/ 12544864 w 25004707"/>
              <a:gd name="connsiteY1132" fmla="*/ 7795774 h 10808782"/>
              <a:gd name="connsiteX1133" fmla="*/ 12879217 w 25004707"/>
              <a:gd name="connsiteY1133" fmla="*/ 8157877 h 10808782"/>
              <a:gd name="connsiteX1134" fmla="*/ 14029580 w 25004707"/>
              <a:gd name="connsiteY1134" fmla="*/ 8388549 h 10808782"/>
              <a:gd name="connsiteX1135" fmla="*/ 12545383 w 25004707"/>
              <a:gd name="connsiteY1135" fmla="*/ 7795805 h 10808782"/>
              <a:gd name="connsiteX1136" fmla="*/ 12088126 w 25004707"/>
              <a:gd name="connsiteY1136" fmla="*/ 7357425 h 10808782"/>
              <a:gd name="connsiteX1137" fmla="*/ 12088126 w 25004707"/>
              <a:gd name="connsiteY1137" fmla="*/ 7357425 h 10808782"/>
              <a:gd name="connsiteX1138" fmla="*/ 11661799 w 25004707"/>
              <a:gd name="connsiteY1138" fmla="*/ 6773325 h 10808782"/>
              <a:gd name="connsiteX1139" fmla="*/ 12088126 w 25004707"/>
              <a:gd name="connsiteY1139" fmla="*/ 7357425 h 10808782"/>
              <a:gd name="connsiteX1140" fmla="*/ 13070307 w 25004707"/>
              <a:gd name="connsiteY1140" fmla="*/ 7739410 h 10808782"/>
              <a:gd name="connsiteX1141" fmla="*/ 12873584 w 25004707"/>
              <a:gd name="connsiteY1141" fmla="*/ 9566240 h 10808782"/>
              <a:gd name="connsiteX1142" fmla="*/ 12905396 w 25004707"/>
              <a:gd name="connsiteY1142" fmla="*/ 9081806 h 10808782"/>
              <a:gd name="connsiteX1143" fmla="*/ 12873584 w 25004707"/>
              <a:gd name="connsiteY1143" fmla="*/ 9566240 h 10808782"/>
              <a:gd name="connsiteX1144" fmla="*/ 14158290 w 25004707"/>
              <a:gd name="connsiteY1144" fmla="*/ 9650455 h 10808782"/>
              <a:gd name="connsiteX1145" fmla="*/ 12873631 w 25004707"/>
              <a:gd name="connsiteY1145" fmla="*/ 9566240 h 10808782"/>
              <a:gd name="connsiteX1146" fmla="*/ 12841773 w 25004707"/>
              <a:gd name="connsiteY1146" fmla="*/ 10051145 h 10808782"/>
              <a:gd name="connsiteX1147" fmla="*/ 11557601 w 25004707"/>
              <a:gd name="connsiteY1147" fmla="*/ 9966962 h 10808782"/>
              <a:gd name="connsiteX1148" fmla="*/ 13446556 w 25004707"/>
              <a:gd name="connsiteY1148" fmla="*/ 841781 h 10808782"/>
              <a:gd name="connsiteX1149" fmla="*/ 13414713 w 25004707"/>
              <a:gd name="connsiteY1149" fmla="*/ 1326681 h 10808782"/>
              <a:gd name="connsiteX1150" fmla="*/ 14190133 w 25004707"/>
              <a:gd name="connsiteY1150" fmla="*/ 9166037 h 10808782"/>
              <a:gd name="connsiteX1151" fmla="*/ 14206039 w 25004707"/>
              <a:gd name="connsiteY1151" fmla="*/ 8923813 h 10808782"/>
              <a:gd name="connsiteX1152" fmla="*/ 14214503 w 25004707"/>
              <a:gd name="connsiteY1152" fmla="*/ 8689589 h 10808782"/>
              <a:gd name="connsiteX1153" fmla="*/ 14190133 w 25004707"/>
              <a:gd name="connsiteY1153" fmla="*/ 9166037 h 10808782"/>
              <a:gd name="connsiteX1154" fmla="*/ 14158290 w 25004707"/>
              <a:gd name="connsiteY1154" fmla="*/ 9650455 h 10808782"/>
              <a:gd name="connsiteX1155" fmla="*/ 14190133 w 25004707"/>
              <a:gd name="connsiteY1155" fmla="*/ 9166037 h 10808782"/>
              <a:gd name="connsiteX1156" fmla="*/ 15474273 w 25004707"/>
              <a:gd name="connsiteY1156" fmla="*/ 9250206 h 10808782"/>
              <a:gd name="connsiteX1157" fmla="*/ 14603889 w 25004707"/>
              <a:gd name="connsiteY1157" fmla="*/ 2865133 h 10808782"/>
              <a:gd name="connsiteX1158" fmla="*/ 14572062 w 25004707"/>
              <a:gd name="connsiteY1158" fmla="*/ 3349567 h 10808782"/>
              <a:gd name="connsiteX1159" fmla="*/ 14572062 w 25004707"/>
              <a:gd name="connsiteY1159" fmla="*/ 3349567 h 10808782"/>
              <a:gd name="connsiteX1160" fmla="*/ 13287355 w 25004707"/>
              <a:gd name="connsiteY1160" fmla="*/ 3265352 h 10808782"/>
              <a:gd name="connsiteX1161" fmla="*/ 14572062 w 25004707"/>
              <a:gd name="connsiteY1161" fmla="*/ 3349567 h 10808782"/>
              <a:gd name="connsiteX1162" fmla="*/ 15856264 w 25004707"/>
              <a:gd name="connsiteY1162" fmla="*/ 3433766 h 10808782"/>
              <a:gd name="connsiteX1163" fmla="*/ 14731277 w 25004707"/>
              <a:gd name="connsiteY1163" fmla="*/ 925990 h 10808782"/>
              <a:gd name="connsiteX1164" fmla="*/ 14699434 w 25004707"/>
              <a:gd name="connsiteY1164" fmla="*/ 1410890 h 10808782"/>
              <a:gd name="connsiteX1165" fmla="*/ 14699434 w 25004707"/>
              <a:gd name="connsiteY1165" fmla="*/ 1410890 h 10808782"/>
              <a:gd name="connsiteX1166" fmla="*/ 14667607 w 25004707"/>
              <a:gd name="connsiteY1166" fmla="*/ 1895339 h 10808782"/>
              <a:gd name="connsiteX1167" fmla="*/ 14699434 w 25004707"/>
              <a:gd name="connsiteY1167" fmla="*/ 1410890 h 10808782"/>
              <a:gd name="connsiteX1168" fmla="*/ 15983542 w 25004707"/>
              <a:gd name="connsiteY1168" fmla="*/ 1495075 h 10808782"/>
              <a:gd name="connsiteX1169" fmla="*/ 14699434 w 25004707"/>
              <a:gd name="connsiteY1169" fmla="*/ 1410890 h 10808782"/>
              <a:gd name="connsiteX1170" fmla="*/ 13414728 w 25004707"/>
              <a:gd name="connsiteY1170" fmla="*/ 1326676 h 10808782"/>
              <a:gd name="connsiteX1171" fmla="*/ 14029580 w 25004707"/>
              <a:gd name="connsiteY1171" fmla="*/ 8388549 h 10808782"/>
              <a:gd name="connsiteX1172" fmla="*/ 13647070 w 25004707"/>
              <a:gd name="connsiteY1172" fmla="*/ 8118803 h 10808782"/>
              <a:gd name="connsiteX1173" fmla="*/ 14029580 w 25004707"/>
              <a:gd name="connsiteY1173" fmla="*/ 8388549 h 10808782"/>
              <a:gd name="connsiteX1174" fmla="*/ 15397386 w 25004707"/>
              <a:gd name="connsiteY1174" fmla="*/ 8603361 h 10808782"/>
              <a:gd name="connsiteX1175" fmla="*/ 14126447 w 25004707"/>
              <a:gd name="connsiteY1175" fmla="*/ 10135345 h 10808782"/>
              <a:gd name="connsiteX1176" fmla="*/ 14158290 w 25004707"/>
              <a:gd name="connsiteY1176" fmla="*/ 9650455 h 10808782"/>
              <a:gd name="connsiteX1177" fmla="*/ 14126447 w 25004707"/>
              <a:gd name="connsiteY1177" fmla="*/ 10135345 h 10808782"/>
              <a:gd name="connsiteX1178" fmla="*/ 15410602 w 25004707"/>
              <a:gd name="connsiteY1178" fmla="*/ 10219528 h 10808782"/>
              <a:gd name="connsiteX1179" fmla="*/ 14126447 w 25004707"/>
              <a:gd name="connsiteY1179" fmla="*/ 10135345 h 10808782"/>
              <a:gd name="connsiteX1180" fmla="*/ 12841741 w 25004707"/>
              <a:gd name="connsiteY1180" fmla="*/ 10051145 h 10808782"/>
              <a:gd name="connsiteX1181" fmla="*/ 14158290 w 25004707"/>
              <a:gd name="connsiteY1181" fmla="*/ 9650455 h 10808782"/>
              <a:gd name="connsiteX1182" fmla="*/ 15442445 w 25004707"/>
              <a:gd name="connsiteY1182" fmla="*/ 9734623 h 10808782"/>
              <a:gd name="connsiteX1183" fmla="*/ 14667607 w 25004707"/>
              <a:gd name="connsiteY1183" fmla="*/ 1895339 h 10808782"/>
              <a:gd name="connsiteX1184" fmla="*/ 15951762 w 25004707"/>
              <a:gd name="connsiteY1184" fmla="*/ 1979523 h 10808782"/>
              <a:gd name="connsiteX1185" fmla="*/ 14667638 w 25004707"/>
              <a:gd name="connsiteY1185" fmla="*/ 1895339 h 10808782"/>
              <a:gd name="connsiteX1186" fmla="*/ 14635795 w 25004707"/>
              <a:gd name="connsiteY1186" fmla="*/ 2380244 h 10808782"/>
              <a:gd name="connsiteX1187" fmla="*/ 14635795 w 25004707"/>
              <a:gd name="connsiteY1187" fmla="*/ 2380244 h 10808782"/>
              <a:gd name="connsiteX1188" fmla="*/ 13351089 w 25004707"/>
              <a:gd name="connsiteY1188" fmla="*/ 2296029 h 10808782"/>
              <a:gd name="connsiteX1189" fmla="*/ 14030052 w 25004707"/>
              <a:gd name="connsiteY1189" fmla="*/ 8388596 h 10808782"/>
              <a:gd name="connsiteX1190" fmla="*/ 14214425 w 25004707"/>
              <a:gd name="connsiteY1190" fmla="*/ 8689101 h 10808782"/>
              <a:gd name="connsiteX1191" fmla="*/ 12937176 w 25004707"/>
              <a:gd name="connsiteY1191" fmla="*/ 8596886 h 10808782"/>
              <a:gd name="connsiteX1192" fmla="*/ 14572109 w 25004707"/>
              <a:gd name="connsiteY1192" fmla="*/ 3349551 h 10808782"/>
              <a:gd name="connsiteX1193" fmla="*/ 14556188 w 25004707"/>
              <a:gd name="connsiteY1193" fmla="*/ 3591776 h 10808782"/>
              <a:gd name="connsiteX1194" fmla="*/ 14533957 w 25004707"/>
              <a:gd name="connsiteY1194" fmla="*/ 3825104 h 10808782"/>
              <a:gd name="connsiteX1195" fmla="*/ 15812999 w 25004707"/>
              <a:gd name="connsiteY1195" fmla="*/ 3865656 h 10808782"/>
              <a:gd name="connsiteX1196" fmla="*/ 15695947 w 25004707"/>
              <a:gd name="connsiteY1196" fmla="*/ 4065002 h 10808782"/>
              <a:gd name="connsiteX1197" fmla="*/ 14311842 w 25004707"/>
              <a:gd name="connsiteY1197" fmla="*/ 4099440 h 10808782"/>
              <a:gd name="connsiteX1198" fmla="*/ 11994799 w 25004707"/>
              <a:gd name="connsiteY1198" fmla="*/ 6101616 h 10808782"/>
              <a:gd name="connsiteX1199" fmla="*/ 12359705 w 25004707"/>
              <a:gd name="connsiteY1199" fmla="*/ 7093871 h 10808782"/>
              <a:gd name="connsiteX1200" fmla="*/ 13070307 w 25004707"/>
              <a:gd name="connsiteY1200" fmla="*/ 7739882 h 10808782"/>
              <a:gd name="connsiteX1201" fmla="*/ 12486354 w 25004707"/>
              <a:gd name="connsiteY1201" fmla="*/ 5165033 h 10808782"/>
              <a:gd name="connsiteX1202" fmla="*/ 13275368 w 25004707"/>
              <a:gd name="connsiteY1202" fmla="*/ 4617305 h 10808782"/>
              <a:gd name="connsiteX1203" fmla="*/ 12486354 w 25004707"/>
              <a:gd name="connsiteY1203" fmla="*/ 5165033 h 10808782"/>
              <a:gd name="connsiteX1204" fmla="*/ 11752027 w 25004707"/>
              <a:gd name="connsiteY1204" fmla="*/ 5391210 h 10808782"/>
              <a:gd name="connsiteX1205" fmla="*/ 13275368 w 25004707"/>
              <a:gd name="connsiteY1205" fmla="*/ 4617305 h 10808782"/>
              <a:gd name="connsiteX1206" fmla="*/ 13897330 w 25004707"/>
              <a:gd name="connsiteY1206" fmla="*/ 4316485 h 10808782"/>
              <a:gd name="connsiteX1207" fmla="*/ 13275368 w 25004707"/>
              <a:gd name="connsiteY1207" fmla="*/ 4617305 h 10808782"/>
              <a:gd name="connsiteX1208" fmla="*/ 15121623 w 25004707"/>
              <a:gd name="connsiteY1208" fmla="*/ 4395796 h 10808782"/>
              <a:gd name="connsiteX1209" fmla="*/ 11995302 w 25004707"/>
              <a:gd name="connsiteY1209" fmla="*/ 6101176 h 10808782"/>
              <a:gd name="connsiteX1210" fmla="*/ 12486872 w 25004707"/>
              <a:gd name="connsiteY1210" fmla="*/ 5165065 h 10808782"/>
              <a:gd name="connsiteX1211" fmla="*/ 11995302 w 25004707"/>
              <a:gd name="connsiteY1211" fmla="*/ 6101176 h 10808782"/>
              <a:gd name="connsiteX1212" fmla="*/ 13443441 w 25004707"/>
              <a:gd name="connsiteY1212" fmla="*/ 6196111 h 10808782"/>
              <a:gd name="connsiteX1213" fmla="*/ 14385691 w 25004707"/>
              <a:gd name="connsiteY1213" fmla="*/ 4808195 h 10808782"/>
              <a:gd name="connsiteX1214" fmla="*/ 15121623 w 25004707"/>
              <a:gd name="connsiteY1214" fmla="*/ 4395796 h 10808782"/>
              <a:gd name="connsiteX1215" fmla="*/ 13897330 w 25004707"/>
              <a:gd name="connsiteY1215" fmla="*/ 4316485 h 10808782"/>
              <a:gd name="connsiteX1216" fmla="*/ 14311857 w 25004707"/>
              <a:gd name="connsiteY1216" fmla="*/ 4098984 h 10808782"/>
              <a:gd name="connsiteX1217" fmla="*/ 13897330 w 25004707"/>
              <a:gd name="connsiteY1217" fmla="*/ 4316485 h 10808782"/>
              <a:gd name="connsiteX1218" fmla="*/ 12762306 w 25004707"/>
              <a:gd name="connsiteY1218" fmla="*/ 4492884 h 10808782"/>
              <a:gd name="connsiteX1219" fmla="*/ 11840209 w 25004707"/>
              <a:gd name="connsiteY1219" fmla="*/ 4608409 h 10808782"/>
              <a:gd name="connsiteX1220" fmla="*/ 13647557 w 25004707"/>
              <a:gd name="connsiteY1220" fmla="*/ 8119305 h 10808782"/>
              <a:gd name="connsiteX1221" fmla="*/ 13070260 w 25004707"/>
              <a:gd name="connsiteY1221" fmla="*/ 7739866 h 10808782"/>
              <a:gd name="connsiteX1222" fmla="*/ 15121623 w 25004707"/>
              <a:gd name="connsiteY1222" fmla="*/ 4395796 h 10808782"/>
              <a:gd name="connsiteX1223" fmla="*/ 15490320 w 25004707"/>
              <a:gd name="connsiteY1223" fmla="*/ 4210579 h 10808782"/>
              <a:gd name="connsiteX1224" fmla="*/ 15121623 w 25004707"/>
              <a:gd name="connsiteY1224" fmla="*/ 4395796 h 10808782"/>
              <a:gd name="connsiteX1225" fmla="*/ 17654676 w 25004707"/>
              <a:gd name="connsiteY1225" fmla="*/ 4542536 h 10808782"/>
              <a:gd name="connsiteX1226" fmla="*/ 15489786 w 25004707"/>
              <a:gd name="connsiteY1226" fmla="*/ 4210564 h 10808782"/>
              <a:gd name="connsiteX1227" fmla="*/ 15695475 w 25004707"/>
              <a:gd name="connsiteY1227" fmla="*/ 4065002 h 10808782"/>
              <a:gd name="connsiteX1228" fmla="*/ 14871157 w 25004707"/>
              <a:gd name="connsiteY1228" fmla="*/ 8200471 h 10808782"/>
              <a:gd name="connsiteX1229" fmla="*/ 15212479 w 25004707"/>
              <a:gd name="connsiteY1229" fmla="*/ 8432228 h 10808782"/>
              <a:gd name="connsiteX1230" fmla="*/ 17080274 w 25004707"/>
              <a:gd name="connsiteY1230" fmla="*/ 8565010 h 10808782"/>
              <a:gd name="connsiteX1231" fmla="*/ 14196065 w 25004707"/>
              <a:gd name="connsiteY1231" fmla="*/ 7695574 h 10808782"/>
              <a:gd name="connsiteX1232" fmla="*/ 13443425 w 25004707"/>
              <a:gd name="connsiteY1232" fmla="*/ 6196566 h 10808782"/>
              <a:gd name="connsiteX1233" fmla="*/ 14196065 w 25004707"/>
              <a:gd name="connsiteY1233" fmla="*/ 7695574 h 10808782"/>
              <a:gd name="connsiteX1234" fmla="*/ 12359657 w 25004707"/>
              <a:gd name="connsiteY1234" fmla="*/ 7093855 h 10808782"/>
              <a:gd name="connsiteX1235" fmla="*/ 14196065 w 25004707"/>
              <a:gd name="connsiteY1235" fmla="*/ 7695574 h 10808782"/>
              <a:gd name="connsiteX1236" fmla="*/ 18066716 w 25004707"/>
              <a:gd name="connsiteY1236" fmla="*/ 7989289 h 10808782"/>
              <a:gd name="connsiteX1237" fmla="*/ 14196048 w 25004707"/>
              <a:gd name="connsiteY1237" fmla="*/ 7695558 h 10808782"/>
              <a:gd name="connsiteX1238" fmla="*/ 14871692 w 25004707"/>
              <a:gd name="connsiteY1238" fmla="*/ 8200488 h 10808782"/>
              <a:gd name="connsiteX1239" fmla="*/ 13070244 w 25004707"/>
              <a:gd name="connsiteY1239" fmla="*/ 7739850 h 10808782"/>
              <a:gd name="connsiteX1240" fmla="*/ 15397921 w 25004707"/>
              <a:gd name="connsiteY1240" fmla="*/ 8603409 h 10808782"/>
              <a:gd name="connsiteX1241" fmla="*/ 15213046 w 25004707"/>
              <a:gd name="connsiteY1241" fmla="*/ 8432244 h 10808782"/>
              <a:gd name="connsiteX1242" fmla="*/ 15397921 w 25004707"/>
              <a:gd name="connsiteY1242" fmla="*/ 8603409 h 10808782"/>
              <a:gd name="connsiteX1243" fmla="*/ 15487834 w 25004707"/>
              <a:gd name="connsiteY1243" fmla="*/ 8816336 h 10808782"/>
              <a:gd name="connsiteX1244" fmla="*/ 14214487 w 25004707"/>
              <a:gd name="connsiteY1244" fmla="*/ 8689086 h 10808782"/>
              <a:gd name="connsiteX1245" fmla="*/ 15397921 w 25004707"/>
              <a:gd name="connsiteY1245" fmla="*/ 8603409 h 10808782"/>
              <a:gd name="connsiteX1246" fmla="*/ 16902492 w 25004707"/>
              <a:gd name="connsiteY1246" fmla="*/ 8707695 h 10808782"/>
              <a:gd name="connsiteX1247" fmla="*/ 15410602 w 25004707"/>
              <a:gd name="connsiteY1247" fmla="*/ 10219528 h 10808782"/>
              <a:gd name="connsiteX1248" fmla="*/ 15442445 w 25004707"/>
              <a:gd name="connsiteY1248" fmla="*/ 9734623 h 10808782"/>
              <a:gd name="connsiteX1249" fmla="*/ 15442445 w 25004707"/>
              <a:gd name="connsiteY1249" fmla="*/ 9734623 h 10808782"/>
              <a:gd name="connsiteX1250" fmla="*/ 15474273 w 25004707"/>
              <a:gd name="connsiteY1250" fmla="*/ 9250206 h 10808782"/>
              <a:gd name="connsiteX1251" fmla="*/ 15474273 w 25004707"/>
              <a:gd name="connsiteY1251" fmla="*/ 9250206 h 10808782"/>
              <a:gd name="connsiteX1252" fmla="*/ 15487866 w 25004707"/>
              <a:gd name="connsiteY1252" fmla="*/ 8816336 h 10808782"/>
              <a:gd name="connsiteX1253" fmla="*/ 15888044 w 25004707"/>
              <a:gd name="connsiteY1253" fmla="*/ 2949333 h 10808782"/>
              <a:gd name="connsiteX1254" fmla="*/ 15856264 w 25004707"/>
              <a:gd name="connsiteY1254" fmla="*/ 3433766 h 10808782"/>
              <a:gd name="connsiteX1255" fmla="*/ 15856264 w 25004707"/>
              <a:gd name="connsiteY1255" fmla="*/ 3433766 h 10808782"/>
              <a:gd name="connsiteX1256" fmla="*/ 15812999 w 25004707"/>
              <a:gd name="connsiteY1256" fmla="*/ 3865671 h 10808782"/>
              <a:gd name="connsiteX1257" fmla="*/ 17124954 w 25004707"/>
              <a:gd name="connsiteY1257" fmla="*/ 3949352 h 10808782"/>
              <a:gd name="connsiteX1258" fmla="*/ 15919982 w 25004707"/>
              <a:gd name="connsiteY1258" fmla="*/ 2464396 h 10808782"/>
              <a:gd name="connsiteX1259" fmla="*/ 15888044 w 25004707"/>
              <a:gd name="connsiteY1259" fmla="*/ 2949301 h 10808782"/>
              <a:gd name="connsiteX1260" fmla="*/ 14603921 w 25004707"/>
              <a:gd name="connsiteY1260" fmla="*/ 2865118 h 10808782"/>
              <a:gd name="connsiteX1261" fmla="*/ 15919982 w 25004707"/>
              <a:gd name="connsiteY1261" fmla="*/ 2464396 h 10808782"/>
              <a:gd name="connsiteX1262" fmla="*/ 15951762 w 25004707"/>
              <a:gd name="connsiteY1262" fmla="*/ 1979523 h 10808782"/>
              <a:gd name="connsiteX1263" fmla="*/ 15919982 w 25004707"/>
              <a:gd name="connsiteY1263" fmla="*/ 2464396 h 10808782"/>
              <a:gd name="connsiteX1264" fmla="*/ 14635747 w 25004707"/>
              <a:gd name="connsiteY1264" fmla="*/ 2380244 h 10808782"/>
              <a:gd name="connsiteX1265" fmla="*/ 16015479 w 25004707"/>
              <a:gd name="connsiteY1265" fmla="*/ 1010175 h 10808782"/>
              <a:gd name="connsiteX1266" fmla="*/ 15983542 w 25004707"/>
              <a:gd name="connsiteY1266" fmla="*/ 1495075 h 10808782"/>
              <a:gd name="connsiteX1267" fmla="*/ 15951762 w 25004707"/>
              <a:gd name="connsiteY1267" fmla="*/ 1979523 h 10808782"/>
              <a:gd name="connsiteX1268" fmla="*/ 15983542 w 25004707"/>
              <a:gd name="connsiteY1268" fmla="*/ 1495086 h 10808782"/>
              <a:gd name="connsiteX1269" fmla="*/ 24431722 w 25004707"/>
              <a:gd name="connsiteY1269" fmla="*/ 10323878 h 10808782"/>
              <a:gd name="connsiteX1270" fmla="*/ 24442890 w 25004707"/>
              <a:gd name="connsiteY1270" fmla="*/ 10324617 h 10808782"/>
              <a:gd name="connsiteX1271" fmla="*/ 24474672 w 25004707"/>
              <a:gd name="connsiteY1271" fmla="*/ 9840199 h 10808782"/>
              <a:gd name="connsiteX1272" fmla="*/ 24463658 w 25004707"/>
              <a:gd name="connsiteY1272" fmla="*/ 9839460 h 10808782"/>
              <a:gd name="connsiteX1273" fmla="*/ 11684880 w 25004707"/>
              <a:gd name="connsiteY1273" fmla="*/ 8028300 h 10808782"/>
              <a:gd name="connsiteX1274" fmla="*/ 12879185 w 25004707"/>
              <a:gd name="connsiteY1274" fmla="*/ 8158364 h 10808782"/>
              <a:gd name="connsiteX1275" fmla="*/ 20674580 w 25004707"/>
              <a:gd name="connsiteY1275" fmla="*/ 8617586 h 10808782"/>
              <a:gd name="connsiteX1276" fmla="*/ 20341988 w 25004707"/>
              <a:gd name="connsiteY1276" fmla="*/ 8595770 h 10808782"/>
              <a:gd name="connsiteX1277" fmla="*/ 19488328 w 25004707"/>
              <a:gd name="connsiteY1277" fmla="*/ 8602418 h 10808782"/>
              <a:gd name="connsiteX1278" fmla="*/ 11646271 w 25004707"/>
              <a:gd name="connsiteY1278" fmla="*/ 7561376 h 10808782"/>
              <a:gd name="connsiteX1279" fmla="*/ 12545352 w 25004707"/>
              <a:gd name="connsiteY1279" fmla="*/ 7796293 h 10808782"/>
              <a:gd name="connsiteX1280" fmla="*/ 10432568 w 25004707"/>
              <a:gd name="connsiteY1280" fmla="*/ 7459228 h 10808782"/>
              <a:gd name="connsiteX1281" fmla="*/ 11645783 w 25004707"/>
              <a:gd name="connsiteY1281" fmla="*/ 7560874 h 10808782"/>
              <a:gd name="connsiteX1282" fmla="*/ 19877714 w 25004707"/>
              <a:gd name="connsiteY1282" fmla="*/ 8295736 h 10808782"/>
              <a:gd name="connsiteX1283" fmla="*/ 18710818 w 25004707"/>
              <a:gd name="connsiteY1283" fmla="*/ 8471900 h 10808782"/>
              <a:gd name="connsiteX1284" fmla="*/ 12545414 w 25004707"/>
              <a:gd name="connsiteY1284" fmla="*/ 7795821 h 10808782"/>
              <a:gd name="connsiteX1285" fmla="*/ 13647621 w 25004707"/>
              <a:gd name="connsiteY1285" fmla="*/ 8118850 h 10808782"/>
              <a:gd name="connsiteX1286" fmla="*/ 18710188 w 25004707"/>
              <a:gd name="connsiteY1286" fmla="*/ 8471883 h 10808782"/>
              <a:gd name="connsiteX1287" fmla="*/ 17080274 w 25004707"/>
              <a:gd name="connsiteY1287" fmla="*/ 8564539 h 10808782"/>
              <a:gd name="connsiteX1288" fmla="*/ 20800442 w 25004707"/>
              <a:gd name="connsiteY1288" fmla="*/ 8170357 h 10808782"/>
              <a:gd name="connsiteX1289" fmla="*/ 19877714 w 25004707"/>
              <a:gd name="connsiteY1289" fmla="*/ 8295264 h 10808782"/>
              <a:gd name="connsiteX1290" fmla="*/ 13647557 w 25004707"/>
              <a:gd name="connsiteY1290" fmla="*/ 8119337 h 10808782"/>
              <a:gd name="connsiteX1291" fmla="*/ 15213031 w 25004707"/>
              <a:gd name="connsiteY1291" fmla="*/ 8432275 h 10808782"/>
              <a:gd name="connsiteX1292" fmla="*/ 24570168 w 25004707"/>
              <a:gd name="connsiteY1292" fmla="*/ 8385956 h 10808782"/>
              <a:gd name="connsiteX1293" fmla="*/ 24558998 w 25004707"/>
              <a:gd name="connsiteY1293" fmla="*/ 8385217 h 10808782"/>
              <a:gd name="connsiteX1294" fmla="*/ 11191453 w 25004707"/>
              <a:gd name="connsiteY1294" fmla="*/ 6598058 h 10808782"/>
              <a:gd name="connsiteX1295" fmla="*/ 11661705 w 25004707"/>
              <a:gd name="connsiteY1295" fmla="*/ 6773325 h 10808782"/>
              <a:gd name="connsiteX1296" fmla="*/ 11661752 w 25004707"/>
              <a:gd name="connsiteY1296" fmla="*/ 6773797 h 10808782"/>
              <a:gd name="connsiteX1297" fmla="*/ 12360192 w 25004707"/>
              <a:gd name="connsiteY1297" fmla="*/ 7093886 h 10808782"/>
              <a:gd name="connsiteX1298" fmla="*/ 21415434 w 25004707"/>
              <a:gd name="connsiteY1298" fmla="*/ 7277170 h 10808782"/>
              <a:gd name="connsiteX1299" fmla="*/ 20922056 w 25004707"/>
              <a:gd name="connsiteY1299" fmla="*/ 7397268 h 10808782"/>
              <a:gd name="connsiteX1300" fmla="*/ 20922686 w 25004707"/>
              <a:gd name="connsiteY1300" fmla="*/ 7397316 h 10808782"/>
              <a:gd name="connsiteX1301" fmla="*/ 20142814 w 25004707"/>
              <a:gd name="connsiteY1301" fmla="*/ 7635564 h 10808782"/>
              <a:gd name="connsiteX1302" fmla="*/ 24622718 w 25004707"/>
              <a:gd name="connsiteY1302" fmla="*/ 7415894 h 10808782"/>
              <a:gd name="connsiteX1303" fmla="*/ 24633886 w 25004707"/>
              <a:gd name="connsiteY1303" fmla="*/ 7416633 h 10808782"/>
              <a:gd name="connsiteX1304" fmla="*/ 20142814 w 25004707"/>
              <a:gd name="connsiteY1304" fmla="*/ 7635108 h 10808782"/>
              <a:gd name="connsiteX1305" fmla="*/ 18066244 w 25004707"/>
              <a:gd name="connsiteY1305" fmla="*/ 7988802 h 10808782"/>
              <a:gd name="connsiteX1306" fmla="*/ 24665668 w 25004707"/>
              <a:gd name="connsiteY1306" fmla="*/ 6931728 h 10808782"/>
              <a:gd name="connsiteX1307" fmla="*/ 24654654 w 25004707"/>
              <a:gd name="connsiteY1307" fmla="*/ 6931005 h 10808782"/>
              <a:gd name="connsiteX1308" fmla="*/ 18998254 w 25004707"/>
              <a:gd name="connsiteY1308" fmla="*/ 6560194 h 10808782"/>
              <a:gd name="connsiteX1309" fmla="*/ 13443409 w 25004707"/>
              <a:gd name="connsiteY1309" fmla="*/ 6196079 h 10808782"/>
              <a:gd name="connsiteX1310" fmla="*/ 9275737 w 25004707"/>
              <a:gd name="connsiteY1310" fmla="*/ 5436398 h 10808782"/>
              <a:gd name="connsiteX1311" fmla="*/ 10227192 w 25004707"/>
              <a:gd name="connsiteY1311" fmla="*/ 5498766 h 10808782"/>
              <a:gd name="connsiteX1312" fmla="*/ 10555661 w 25004707"/>
              <a:gd name="connsiteY1312" fmla="*/ 5520299 h 10808782"/>
              <a:gd name="connsiteX1313" fmla="*/ 10555676 w 25004707"/>
              <a:gd name="connsiteY1313" fmla="*/ 5519796 h 10808782"/>
              <a:gd name="connsiteX1314" fmla="*/ 11263383 w 25004707"/>
              <a:gd name="connsiteY1314" fmla="*/ 5504063 h 10808782"/>
              <a:gd name="connsiteX1315" fmla="*/ 24761164 w 25004707"/>
              <a:gd name="connsiteY1315" fmla="*/ 5477971 h 10808782"/>
              <a:gd name="connsiteX1316" fmla="*/ 24749994 w 25004707"/>
              <a:gd name="connsiteY1316" fmla="*/ 5477249 h 10808782"/>
              <a:gd name="connsiteX1317" fmla="*/ 15489769 w 25004707"/>
              <a:gd name="connsiteY1317" fmla="*/ 4210548 h 10808782"/>
              <a:gd name="connsiteX1318" fmla="*/ 13896795 w 25004707"/>
              <a:gd name="connsiteY1318" fmla="*/ 4316454 h 10808782"/>
              <a:gd name="connsiteX1319" fmla="*/ 11840225 w 25004707"/>
              <a:gd name="connsiteY1319" fmla="*/ 4608393 h 10808782"/>
              <a:gd name="connsiteX1320" fmla="*/ 11564650 w 25004707"/>
              <a:gd name="connsiteY1320" fmla="*/ 4609163 h 10808782"/>
              <a:gd name="connsiteX1321" fmla="*/ 10623579 w 25004707"/>
              <a:gd name="connsiteY1321" fmla="*/ 4550772 h 10808782"/>
              <a:gd name="connsiteX1322" fmla="*/ 17200786 w 25004707"/>
              <a:gd name="connsiteY1322" fmla="*/ 4157957 h 10808782"/>
              <a:gd name="connsiteX1323" fmla="*/ 15695475 w 25004707"/>
              <a:gd name="connsiteY1323" fmla="*/ 4064971 h 10808782"/>
              <a:gd name="connsiteX1324" fmla="*/ 24792944 w 25004707"/>
              <a:gd name="connsiteY1324" fmla="*/ 4993051 h 10808782"/>
              <a:gd name="connsiteX1325" fmla="*/ 24781932 w 25004707"/>
              <a:gd name="connsiteY1325" fmla="*/ 4992328 h 10808782"/>
              <a:gd name="connsiteX1326" fmla="*/ 14311291 w 25004707"/>
              <a:gd name="connsiteY1326" fmla="*/ 4099408 h 10808782"/>
              <a:gd name="connsiteX1327" fmla="*/ 13140600 w 25004707"/>
              <a:gd name="connsiteY1327" fmla="*/ 4177934 h 10808782"/>
              <a:gd name="connsiteX1328" fmla="*/ 5533323 w 25004707"/>
              <a:gd name="connsiteY1328" fmla="*/ 3742335 h 10808782"/>
              <a:gd name="connsiteX1329" fmla="*/ 5816937 w 25004707"/>
              <a:gd name="connsiteY1329" fmla="*/ 3749157 h 10808782"/>
              <a:gd name="connsiteX1330" fmla="*/ 6803413 w 25004707"/>
              <a:gd name="connsiteY1330" fmla="*/ 3813819 h 10808782"/>
              <a:gd name="connsiteX1331" fmla="*/ 17402166 w 25004707"/>
              <a:gd name="connsiteY1331" fmla="*/ 8385657 h 10808782"/>
              <a:gd name="connsiteX1332" fmla="*/ 14871708 w 25004707"/>
              <a:gd name="connsiteY1332" fmla="*/ 8200471 h 10808782"/>
              <a:gd name="connsiteX1333" fmla="*/ 21113996 w 25004707"/>
              <a:gd name="connsiteY1333" fmla="*/ 7756165 h 10808782"/>
              <a:gd name="connsiteX1334" fmla="*/ 20402560 w 25004707"/>
              <a:gd name="connsiteY1334" fmla="*/ 7924564 h 10808782"/>
              <a:gd name="connsiteX1335" fmla="*/ 24729384 w 25004707"/>
              <a:gd name="connsiteY1335" fmla="*/ 5962405 h 10808782"/>
              <a:gd name="connsiteX1336" fmla="*/ 24718214 w 25004707"/>
              <a:gd name="connsiteY1336" fmla="*/ 5961666 h 10808782"/>
              <a:gd name="connsiteX1337" fmla="*/ 12251605 w 25004707"/>
              <a:gd name="connsiteY1337" fmla="*/ 4868284 h 10808782"/>
              <a:gd name="connsiteX1338" fmla="*/ 11549373 w 25004707"/>
              <a:gd name="connsiteY1338" fmla="*/ 5027865 h 10808782"/>
              <a:gd name="connsiteX1339" fmla="*/ 4229596 w 25004707"/>
              <a:gd name="connsiteY1339" fmla="*/ 3720409 h 10808782"/>
              <a:gd name="connsiteX1340" fmla="*/ 5592446 w 25004707"/>
              <a:gd name="connsiteY1340" fmla="*/ 3263937 h 10808782"/>
              <a:gd name="connsiteX1341" fmla="*/ 1697927 w 25004707"/>
              <a:gd name="connsiteY1341" fmla="*/ 2992635 h 10808782"/>
              <a:gd name="connsiteX1342" fmla="*/ 2684403 w 25004707"/>
              <a:gd name="connsiteY1342" fmla="*/ 3057297 h 10808782"/>
              <a:gd name="connsiteX1343" fmla="*/ 2938046 w 25004707"/>
              <a:gd name="connsiteY1343" fmla="*/ 3090399 h 10808782"/>
              <a:gd name="connsiteX1344" fmla="*/ 24824882 w 25004707"/>
              <a:gd name="connsiteY1344" fmla="*/ 4508602 h 10808782"/>
              <a:gd name="connsiteX1345" fmla="*/ 24813712 w 25004707"/>
              <a:gd name="connsiteY1345" fmla="*/ 4507879 h 10808782"/>
              <a:gd name="connsiteX1346" fmla="*/ 24888442 w 25004707"/>
              <a:gd name="connsiteY1346" fmla="*/ 3539279 h 10808782"/>
              <a:gd name="connsiteX1347" fmla="*/ 24877430 w 25004707"/>
              <a:gd name="connsiteY1347" fmla="*/ 3538556 h 10808782"/>
              <a:gd name="connsiteX1348" fmla="*/ 24920380 w 25004707"/>
              <a:gd name="connsiteY1348" fmla="*/ 3054405 h 10808782"/>
              <a:gd name="connsiteX1349" fmla="*/ 24909210 w 25004707"/>
              <a:gd name="connsiteY1349" fmla="*/ 3053682 h 10808782"/>
              <a:gd name="connsiteX1350" fmla="*/ 24984098 w 25004707"/>
              <a:gd name="connsiteY1350" fmla="*/ 2085067 h 10808782"/>
              <a:gd name="connsiteX1351" fmla="*/ 24972926 w 25004707"/>
              <a:gd name="connsiteY1351" fmla="*/ 2084328 h 10808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</a:cxnLst>
            <a:rect l="l" t="t" r="r" b="b"/>
            <a:pathLst>
              <a:path w="25004707" h="10808782">
                <a:moveTo>
                  <a:pt x="24781932" y="4992328"/>
                </a:moveTo>
                <a:lnTo>
                  <a:pt x="24813712" y="4507894"/>
                </a:lnTo>
                <a:moveTo>
                  <a:pt x="24781932" y="4992328"/>
                </a:moveTo>
                <a:lnTo>
                  <a:pt x="24749994" y="5477249"/>
                </a:lnTo>
                <a:moveTo>
                  <a:pt x="24781932" y="4992328"/>
                </a:moveTo>
                <a:lnTo>
                  <a:pt x="23497668" y="4908160"/>
                </a:lnTo>
                <a:lnTo>
                  <a:pt x="23465886" y="5393065"/>
                </a:lnTo>
                <a:moveTo>
                  <a:pt x="24813712" y="4507894"/>
                </a:moveTo>
                <a:lnTo>
                  <a:pt x="24845492" y="4022989"/>
                </a:lnTo>
                <a:moveTo>
                  <a:pt x="24813712" y="4507894"/>
                </a:moveTo>
                <a:lnTo>
                  <a:pt x="23529446" y="4423711"/>
                </a:lnTo>
                <a:moveTo>
                  <a:pt x="24718214" y="5961666"/>
                </a:moveTo>
                <a:lnTo>
                  <a:pt x="24686276" y="6446571"/>
                </a:lnTo>
                <a:lnTo>
                  <a:pt x="23402168" y="6362388"/>
                </a:lnTo>
                <a:moveTo>
                  <a:pt x="24718214" y="5961666"/>
                </a:moveTo>
                <a:lnTo>
                  <a:pt x="24749994" y="5477249"/>
                </a:lnTo>
                <a:moveTo>
                  <a:pt x="24718214" y="5961666"/>
                </a:moveTo>
                <a:lnTo>
                  <a:pt x="23433948" y="5877498"/>
                </a:lnTo>
                <a:moveTo>
                  <a:pt x="24749994" y="5477249"/>
                </a:moveTo>
                <a:lnTo>
                  <a:pt x="23465886" y="5393065"/>
                </a:lnTo>
                <a:moveTo>
                  <a:pt x="24940990" y="2568777"/>
                </a:moveTo>
                <a:lnTo>
                  <a:pt x="24909210" y="3053682"/>
                </a:lnTo>
                <a:lnTo>
                  <a:pt x="23624944" y="2969499"/>
                </a:lnTo>
                <a:moveTo>
                  <a:pt x="24877430" y="3538571"/>
                </a:moveTo>
                <a:lnTo>
                  <a:pt x="24845492" y="4023005"/>
                </a:lnTo>
                <a:moveTo>
                  <a:pt x="24845492" y="4023005"/>
                </a:moveTo>
                <a:lnTo>
                  <a:pt x="24856664" y="4023744"/>
                </a:lnTo>
                <a:moveTo>
                  <a:pt x="24845492" y="4023005"/>
                </a:moveTo>
                <a:lnTo>
                  <a:pt x="23561384" y="3938837"/>
                </a:lnTo>
                <a:moveTo>
                  <a:pt x="24940990" y="2568777"/>
                </a:moveTo>
                <a:lnTo>
                  <a:pt x="23656882" y="2484594"/>
                </a:lnTo>
                <a:lnTo>
                  <a:pt x="23624944" y="2969499"/>
                </a:lnTo>
                <a:moveTo>
                  <a:pt x="24940990" y="2568777"/>
                </a:moveTo>
                <a:lnTo>
                  <a:pt x="24952160" y="2569500"/>
                </a:lnTo>
                <a:moveTo>
                  <a:pt x="24940990" y="2568777"/>
                </a:moveTo>
                <a:lnTo>
                  <a:pt x="25004708" y="1599423"/>
                </a:lnTo>
                <a:lnTo>
                  <a:pt x="5763304" y="338142"/>
                </a:lnTo>
                <a:cubicBezTo>
                  <a:pt x="5433766" y="316539"/>
                  <a:pt x="631905" y="1774"/>
                  <a:pt x="631905" y="1774"/>
                </a:cubicBezTo>
                <a:lnTo>
                  <a:pt x="604841" y="0"/>
                </a:lnTo>
                <a:lnTo>
                  <a:pt x="0" y="9209356"/>
                </a:lnTo>
                <a:lnTo>
                  <a:pt x="1284177" y="9293539"/>
                </a:lnTo>
                <a:moveTo>
                  <a:pt x="24909210" y="3053651"/>
                </a:moveTo>
                <a:lnTo>
                  <a:pt x="24877430" y="3538556"/>
                </a:lnTo>
                <a:lnTo>
                  <a:pt x="23593164" y="3454388"/>
                </a:lnTo>
                <a:moveTo>
                  <a:pt x="24590780" y="7900799"/>
                </a:moveTo>
                <a:lnTo>
                  <a:pt x="24622718" y="7415910"/>
                </a:lnTo>
                <a:moveTo>
                  <a:pt x="24590780" y="7900799"/>
                </a:moveTo>
                <a:lnTo>
                  <a:pt x="23306672" y="7816615"/>
                </a:lnTo>
                <a:lnTo>
                  <a:pt x="23274890" y="8301049"/>
                </a:lnTo>
                <a:lnTo>
                  <a:pt x="21990782" y="8216849"/>
                </a:lnTo>
                <a:cubicBezTo>
                  <a:pt x="21990782" y="8216849"/>
                  <a:pt x="21573078" y="8189485"/>
                  <a:pt x="21466882" y="8182522"/>
                </a:cubicBezTo>
                <a:cubicBezTo>
                  <a:pt x="21222396" y="8166490"/>
                  <a:pt x="20955724" y="8169257"/>
                  <a:pt x="20799970" y="8169870"/>
                </a:cubicBezTo>
                <a:moveTo>
                  <a:pt x="24590780" y="7900799"/>
                </a:moveTo>
                <a:lnTo>
                  <a:pt x="24601948" y="7901538"/>
                </a:lnTo>
                <a:moveTo>
                  <a:pt x="24622718" y="7415910"/>
                </a:moveTo>
                <a:lnTo>
                  <a:pt x="24654496" y="6931005"/>
                </a:lnTo>
                <a:moveTo>
                  <a:pt x="24622718" y="7415910"/>
                </a:moveTo>
                <a:lnTo>
                  <a:pt x="23338452" y="7331710"/>
                </a:lnTo>
                <a:moveTo>
                  <a:pt x="24558998" y="8385232"/>
                </a:moveTo>
                <a:lnTo>
                  <a:pt x="24527218" y="8870137"/>
                </a:lnTo>
                <a:lnTo>
                  <a:pt x="23242952" y="8785953"/>
                </a:lnTo>
                <a:moveTo>
                  <a:pt x="24558998" y="8385232"/>
                </a:moveTo>
                <a:lnTo>
                  <a:pt x="24590780" y="7900799"/>
                </a:lnTo>
                <a:moveTo>
                  <a:pt x="24558998" y="8385232"/>
                </a:moveTo>
                <a:lnTo>
                  <a:pt x="23274890" y="8301049"/>
                </a:lnTo>
                <a:lnTo>
                  <a:pt x="23242952" y="8785953"/>
                </a:lnTo>
                <a:moveTo>
                  <a:pt x="24654496" y="6931005"/>
                </a:moveTo>
                <a:lnTo>
                  <a:pt x="24686434" y="6446571"/>
                </a:lnTo>
                <a:lnTo>
                  <a:pt x="24697448" y="6447294"/>
                </a:lnTo>
                <a:moveTo>
                  <a:pt x="24654496" y="6931005"/>
                </a:moveTo>
                <a:lnTo>
                  <a:pt x="23370388" y="6846837"/>
                </a:lnTo>
                <a:moveTo>
                  <a:pt x="24463500" y="9839444"/>
                </a:moveTo>
                <a:lnTo>
                  <a:pt x="24431722" y="10323878"/>
                </a:lnTo>
                <a:lnTo>
                  <a:pt x="23147614" y="10239694"/>
                </a:lnTo>
                <a:moveTo>
                  <a:pt x="23338608" y="7331726"/>
                </a:moveTo>
                <a:lnTo>
                  <a:pt x="23306672" y="7816631"/>
                </a:lnTo>
                <a:lnTo>
                  <a:pt x="22022564" y="7732447"/>
                </a:lnTo>
                <a:moveTo>
                  <a:pt x="23242952" y="8785953"/>
                </a:moveTo>
                <a:lnTo>
                  <a:pt x="23211172" y="9270371"/>
                </a:lnTo>
                <a:moveTo>
                  <a:pt x="23242952" y="8785953"/>
                </a:moveTo>
                <a:lnTo>
                  <a:pt x="21958844" y="8701770"/>
                </a:lnTo>
                <a:moveTo>
                  <a:pt x="23433948" y="5877498"/>
                </a:moveTo>
                <a:lnTo>
                  <a:pt x="23465886" y="5393065"/>
                </a:lnTo>
                <a:moveTo>
                  <a:pt x="23433948" y="5877498"/>
                </a:moveTo>
                <a:lnTo>
                  <a:pt x="22149840" y="5793299"/>
                </a:lnTo>
                <a:cubicBezTo>
                  <a:pt x="22139300" y="5953996"/>
                  <a:pt x="22133164" y="6038761"/>
                  <a:pt x="22138828" y="6277685"/>
                </a:cubicBezTo>
                <a:moveTo>
                  <a:pt x="23465886" y="5393065"/>
                </a:moveTo>
                <a:lnTo>
                  <a:pt x="22181622" y="5308881"/>
                </a:lnTo>
                <a:moveTo>
                  <a:pt x="23115676" y="10724599"/>
                </a:moveTo>
                <a:lnTo>
                  <a:pt x="23147614" y="10239709"/>
                </a:lnTo>
                <a:moveTo>
                  <a:pt x="23115676" y="10724599"/>
                </a:moveTo>
                <a:lnTo>
                  <a:pt x="24399940" y="10808782"/>
                </a:lnTo>
                <a:lnTo>
                  <a:pt x="24431722" y="10323878"/>
                </a:lnTo>
                <a:moveTo>
                  <a:pt x="23115676" y="10724599"/>
                </a:moveTo>
                <a:lnTo>
                  <a:pt x="21831568" y="10640431"/>
                </a:lnTo>
                <a:moveTo>
                  <a:pt x="23147614" y="10239709"/>
                </a:moveTo>
                <a:lnTo>
                  <a:pt x="23179392" y="9755261"/>
                </a:lnTo>
                <a:moveTo>
                  <a:pt x="23147614" y="10239709"/>
                </a:moveTo>
                <a:lnTo>
                  <a:pt x="21863348" y="10155526"/>
                </a:lnTo>
                <a:moveTo>
                  <a:pt x="23720600" y="1515244"/>
                </a:moveTo>
                <a:lnTo>
                  <a:pt x="23688662" y="2000144"/>
                </a:lnTo>
                <a:moveTo>
                  <a:pt x="23688662" y="2000144"/>
                </a:moveTo>
                <a:lnTo>
                  <a:pt x="24972772" y="2084312"/>
                </a:lnTo>
                <a:moveTo>
                  <a:pt x="23688662" y="2000144"/>
                </a:moveTo>
                <a:lnTo>
                  <a:pt x="22404554" y="1915976"/>
                </a:lnTo>
                <a:moveTo>
                  <a:pt x="23179392" y="9755261"/>
                </a:moveTo>
                <a:lnTo>
                  <a:pt x="23211172" y="9270387"/>
                </a:lnTo>
                <a:moveTo>
                  <a:pt x="23179392" y="9755261"/>
                </a:moveTo>
                <a:lnTo>
                  <a:pt x="21895126" y="9671092"/>
                </a:lnTo>
                <a:lnTo>
                  <a:pt x="21863348" y="10155526"/>
                </a:lnTo>
                <a:moveTo>
                  <a:pt x="23179392" y="9755261"/>
                </a:moveTo>
                <a:lnTo>
                  <a:pt x="24463500" y="9839460"/>
                </a:lnTo>
                <a:lnTo>
                  <a:pt x="24495438" y="9354555"/>
                </a:lnTo>
                <a:lnTo>
                  <a:pt x="24506452" y="9355294"/>
                </a:lnTo>
                <a:moveTo>
                  <a:pt x="23593164" y="3454388"/>
                </a:moveTo>
                <a:lnTo>
                  <a:pt x="23625102" y="2969483"/>
                </a:lnTo>
                <a:moveTo>
                  <a:pt x="23593164" y="3454388"/>
                </a:moveTo>
                <a:lnTo>
                  <a:pt x="22309056" y="3370204"/>
                </a:lnTo>
                <a:moveTo>
                  <a:pt x="23624944" y="2969499"/>
                </a:moveTo>
                <a:lnTo>
                  <a:pt x="22340836" y="2885315"/>
                </a:lnTo>
                <a:moveTo>
                  <a:pt x="23593164" y="3454388"/>
                </a:moveTo>
                <a:lnTo>
                  <a:pt x="23561384" y="3938821"/>
                </a:lnTo>
                <a:lnTo>
                  <a:pt x="22277118" y="3854653"/>
                </a:lnTo>
                <a:moveTo>
                  <a:pt x="23434106" y="5877482"/>
                </a:moveTo>
                <a:lnTo>
                  <a:pt x="23402168" y="6362388"/>
                </a:lnTo>
                <a:lnTo>
                  <a:pt x="22450808" y="6300020"/>
                </a:lnTo>
                <a:cubicBezTo>
                  <a:pt x="22261858" y="6287634"/>
                  <a:pt x="22138828" y="6277685"/>
                  <a:pt x="22138828" y="6277685"/>
                </a:cubicBezTo>
                <a:moveTo>
                  <a:pt x="23370388" y="6846837"/>
                </a:moveTo>
                <a:lnTo>
                  <a:pt x="23402168" y="6362404"/>
                </a:lnTo>
                <a:moveTo>
                  <a:pt x="23370388" y="6846837"/>
                </a:moveTo>
                <a:lnTo>
                  <a:pt x="23338452" y="7331710"/>
                </a:lnTo>
                <a:moveTo>
                  <a:pt x="23370388" y="6846837"/>
                </a:moveTo>
                <a:lnTo>
                  <a:pt x="22133950" y="6765781"/>
                </a:lnTo>
                <a:moveTo>
                  <a:pt x="23529604" y="4423711"/>
                </a:moveTo>
                <a:lnTo>
                  <a:pt x="23561384" y="3938806"/>
                </a:lnTo>
                <a:moveTo>
                  <a:pt x="23529604" y="4423711"/>
                </a:moveTo>
                <a:lnTo>
                  <a:pt x="23497668" y="4908160"/>
                </a:lnTo>
                <a:lnTo>
                  <a:pt x="22213560" y="4823976"/>
                </a:lnTo>
                <a:moveTo>
                  <a:pt x="23529604" y="4423711"/>
                </a:moveTo>
                <a:lnTo>
                  <a:pt x="22245338" y="4339527"/>
                </a:lnTo>
                <a:moveTo>
                  <a:pt x="23338452" y="7331710"/>
                </a:moveTo>
                <a:lnTo>
                  <a:pt x="22387090" y="7269358"/>
                </a:lnTo>
                <a:cubicBezTo>
                  <a:pt x="22198140" y="7256973"/>
                  <a:pt x="22074952" y="7250780"/>
                  <a:pt x="22074952" y="7250780"/>
                </a:cubicBezTo>
                <a:moveTo>
                  <a:pt x="23688662" y="2000160"/>
                </a:moveTo>
                <a:lnTo>
                  <a:pt x="23656882" y="2484594"/>
                </a:lnTo>
                <a:lnTo>
                  <a:pt x="22372618" y="2400410"/>
                </a:lnTo>
                <a:moveTo>
                  <a:pt x="23211172" y="9270371"/>
                </a:moveTo>
                <a:lnTo>
                  <a:pt x="24495438" y="9354555"/>
                </a:lnTo>
                <a:lnTo>
                  <a:pt x="24527218" y="8870122"/>
                </a:lnTo>
                <a:lnTo>
                  <a:pt x="24538388" y="8870860"/>
                </a:lnTo>
                <a:moveTo>
                  <a:pt x="23211172" y="9270371"/>
                </a:moveTo>
                <a:lnTo>
                  <a:pt x="21927064" y="9186203"/>
                </a:lnTo>
                <a:moveTo>
                  <a:pt x="21831568" y="10640431"/>
                </a:moveTo>
                <a:lnTo>
                  <a:pt x="21863348" y="10155526"/>
                </a:lnTo>
                <a:moveTo>
                  <a:pt x="21831568" y="10640431"/>
                </a:moveTo>
                <a:lnTo>
                  <a:pt x="20547302" y="10556248"/>
                </a:lnTo>
                <a:moveTo>
                  <a:pt x="21863348" y="10155526"/>
                </a:moveTo>
                <a:lnTo>
                  <a:pt x="20579240" y="10071342"/>
                </a:lnTo>
                <a:moveTo>
                  <a:pt x="22340836" y="2885299"/>
                </a:moveTo>
                <a:lnTo>
                  <a:pt x="22308898" y="3370204"/>
                </a:lnTo>
                <a:lnTo>
                  <a:pt x="21024790" y="3286020"/>
                </a:lnTo>
                <a:moveTo>
                  <a:pt x="22277118" y="3854653"/>
                </a:moveTo>
                <a:lnTo>
                  <a:pt x="22308898" y="3370220"/>
                </a:lnTo>
                <a:moveTo>
                  <a:pt x="22277118" y="3854653"/>
                </a:moveTo>
                <a:lnTo>
                  <a:pt x="20993010" y="3770469"/>
                </a:lnTo>
                <a:moveTo>
                  <a:pt x="21927064" y="9186203"/>
                </a:moveTo>
                <a:lnTo>
                  <a:pt x="21895126" y="9671109"/>
                </a:lnTo>
                <a:lnTo>
                  <a:pt x="20611018" y="9586925"/>
                </a:lnTo>
                <a:moveTo>
                  <a:pt x="21927064" y="9186203"/>
                </a:moveTo>
                <a:lnTo>
                  <a:pt x="21958844" y="8701770"/>
                </a:lnTo>
                <a:moveTo>
                  <a:pt x="21927064" y="9186203"/>
                </a:moveTo>
                <a:lnTo>
                  <a:pt x="20642800" y="9102019"/>
                </a:lnTo>
                <a:moveTo>
                  <a:pt x="22436334" y="1431070"/>
                </a:moveTo>
                <a:lnTo>
                  <a:pt x="22404554" y="1915976"/>
                </a:lnTo>
                <a:moveTo>
                  <a:pt x="22404554" y="1915976"/>
                </a:moveTo>
                <a:lnTo>
                  <a:pt x="21120288" y="1831793"/>
                </a:lnTo>
                <a:moveTo>
                  <a:pt x="22022564" y="7732431"/>
                </a:moveTo>
                <a:lnTo>
                  <a:pt x="22074952" y="7250780"/>
                </a:lnTo>
                <a:moveTo>
                  <a:pt x="22022564" y="7732431"/>
                </a:moveTo>
                <a:cubicBezTo>
                  <a:pt x="21593216" y="7704297"/>
                  <a:pt x="21304678" y="7722561"/>
                  <a:pt x="21113838" y="7756637"/>
                </a:cubicBezTo>
                <a:moveTo>
                  <a:pt x="22022564" y="7732431"/>
                </a:moveTo>
                <a:lnTo>
                  <a:pt x="21958844" y="8701770"/>
                </a:lnTo>
                <a:moveTo>
                  <a:pt x="22181622" y="5308897"/>
                </a:moveTo>
                <a:lnTo>
                  <a:pt x="22149840" y="5793330"/>
                </a:lnTo>
                <a:cubicBezTo>
                  <a:pt x="21856424" y="5773620"/>
                  <a:pt x="21532644" y="5736873"/>
                  <a:pt x="21252128" y="5650708"/>
                </a:cubicBezTo>
                <a:cubicBezTo>
                  <a:pt x="21357540" y="5840185"/>
                  <a:pt x="21418582" y="5988638"/>
                  <a:pt x="21488592" y="6165430"/>
                </a:cubicBezTo>
                <a:cubicBezTo>
                  <a:pt x="21381138" y="6137688"/>
                  <a:pt x="21161352" y="6067761"/>
                  <a:pt x="21015036" y="5981942"/>
                </a:cubicBezTo>
                <a:moveTo>
                  <a:pt x="22074952" y="7250780"/>
                </a:moveTo>
                <a:cubicBezTo>
                  <a:pt x="22082190" y="7163280"/>
                  <a:pt x="22118848" y="6995808"/>
                  <a:pt x="22133950" y="6766253"/>
                </a:cubicBezTo>
                <a:moveTo>
                  <a:pt x="22138828" y="6277685"/>
                </a:moveTo>
                <a:cubicBezTo>
                  <a:pt x="22133478" y="6440143"/>
                  <a:pt x="22152202" y="6487956"/>
                  <a:pt x="22133950" y="6765781"/>
                </a:cubicBezTo>
                <a:lnTo>
                  <a:pt x="21562380" y="6728310"/>
                </a:lnTo>
                <a:moveTo>
                  <a:pt x="22138828" y="6277685"/>
                </a:moveTo>
                <a:cubicBezTo>
                  <a:pt x="21841164" y="6258180"/>
                  <a:pt x="21640728" y="6210209"/>
                  <a:pt x="21488592" y="6165414"/>
                </a:cubicBezTo>
                <a:moveTo>
                  <a:pt x="22245338" y="4339527"/>
                </a:moveTo>
                <a:lnTo>
                  <a:pt x="22277276" y="3854622"/>
                </a:lnTo>
                <a:moveTo>
                  <a:pt x="22245338" y="4339527"/>
                </a:moveTo>
                <a:lnTo>
                  <a:pt x="20961230" y="4255359"/>
                </a:lnTo>
                <a:moveTo>
                  <a:pt x="21958844" y="8701770"/>
                </a:moveTo>
                <a:lnTo>
                  <a:pt x="20674580" y="8617586"/>
                </a:lnTo>
                <a:lnTo>
                  <a:pt x="20642800" y="9102019"/>
                </a:lnTo>
                <a:moveTo>
                  <a:pt x="22181622" y="5308881"/>
                </a:moveTo>
                <a:lnTo>
                  <a:pt x="22213560" y="4823992"/>
                </a:lnTo>
                <a:moveTo>
                  <a:pt x="22181622" y="5308881"/>
                </a:moveTo>
                <a:lnTo>
                  <a:pt x="21849030" y="5287081"/>
                </a:lnTo>
                <a:cubicBezTo>
                  <a:pt x="21563480" y="5268361"/>
                  <a:pt x="21279506" y="5234222"/>
                  <a:pt x="20995686" y="5199596"/>
                </a:cubicBezTo>
                <a:cubicBezTo>
                  <a:pt x="21087250" y="5355233"/>
                  <a:pt x="21157262" y="5465209"/>
                  <a:pt x="21252128" y="5651180"/>
                </a:cubicBezTo>
                <a:cubicBezTo>
                  <a:pt x="21018026" y="5564309"/>
                  <a:pt x="20878162" y="5518916"/>
                  <a:pt x="20568856" y="5391367"/>
                </a:cubicBezTo>
                <a:cubicBezTo>
                  <a:pt x="20753400" y="5568599"/>
                  <a:pt x="20900344" y="5766437"/>
                  <a:pt x="21015666" y="5981974"/>
                </a:cubicBezTo>
                <a:moveTo>
                  <a:pt x="22245338" y="4339543"/>
                </a:moveTo>
                <a:lnTo>
                  <a:pt x="22213560" y="4823976"/>
                </a:lnTo>
                <a:lnTo>
                  <a:pt x="20929452" y="4739792"/>
                </a:lnTo>
                <a:moveTo>
                  <a:pt x="22372774" y="2400425"/>
                </a:moveTo>
                <a:lnTo>
                  <a:pt x="22340836" y="2885315"/>
                </a:lnTo>
                <a:moveTo>
                  <a:pt x="22340836" y="2885315"/>
                </a:moveTo>
                <a:lnTo>
                  <a:pt x="21056728" y="2801147"/>
                </a:lnTo>
                <a:moveTo>
                  <a:pt x="22404398" y="1915976"/>
                </a:moveTo>
                <a:lnTo>
                  <a:pt x="22372618" y="2400410"/>
                </a:lnTo>
                <a:moveTo>
                  <a:pt x="22372618" y="2400410"/>
                </a:moveTo>
                <a:lnTo>
                  <a:pt x="21088510" y="2316226"/>
                </a:lnTo>
                <a:moveTo>
                  <a:pt x="20579240" y="10071342"/>
                </a:moveTo>
                <a:lnTo>
                  <a:pt x="20611018" y="9586909"/>
                </a:lnTo>
                <a:moveTo>
                  <a:pt x="20579240" y="10071342"/>
                </a:moveTo>
                <a:lnTo>
                  <a:pt x="19294974" y="9987158"/>
                </a:lnTo>
                <a:moveTo>
                  <a:pt x="21562380" y="6728766"/>
                </a:moveTo>
                <a:cubicBezTo>
                  <a:pt x="21551366" y="6897903"/>
                  <a:pt x="21513608" y="7106696"/>
                  <a:pt x="21415592" y="7277186"/>
                </a:cubicBezTo>
                <a:cubicBezTo>
                  <a:pt x="21613040" y="7231777"/>
                  <a:pt x="21816462" y="7233821"/>
                  <a:pt x="22074952" y="7250749"/>
                </a:cubicBezTo>
                <a:moveTo>
                  <a:pt x="20993010" y="3770469"/>
                </a:moveTo>
                <a:lnTo>
                  <a:pt x="21024790" y="3286052"/>
                </a:lnTo>
                <a:moveTo>
                  <a:pt x="20993010" y="3770469"/>
                </a:moveTo>
                <a:lnTo>
                  <a:pt x="19708746" y="3686286"/>
                </a:lnTo>
                <a:moveTo>
                  <a:pt x="20929294" y="4739792"/>
                </a:moveTo>
                <a:cubicBezTo>
                  <a:pt x="20917964" y="4912199"/>
                  <a:pt x="20908998" y="5049006"/>
                  <a:pt x="20995528" y="5199596"/>
                </a:cubicBezTo>
                <a:cubicBezTo>
                  <a:pt x="20674894" y="5140467"/>
                  <a:pt x="20423800" y="5069423"/>
                  <a:pt x="20097030" y="4955313"/>
                </a:cubicBezTo>
                <a:moveTo>
                  <a:pt x="20642800" y="9102019"/>
                </a:moveTo>
                <a:lnTo>
                  <a:pt x="20611018" y="9586925"/>
                </a:lnTo>
                <a:lnTo>
                  <a:pt x="19326754" y="9502741"/>
                </a:lnTo>
                <a:moveTo>
                  <a:pt x="20642800" y="9102019"/>
                </a:moveTo>
                <a:lnTo>
                  <a:pt x="19358692" y="9017836"/>
                </a:lnTo>
                <a:moveTo>
                  <a:pt x="20961230" y="4255359"/>
                </a:moveTo>
                <a:lnTo>
                  <a:pt x="20929294" y="4739792"/>
                </a:lnTo>
                <a:cubicBezTo>
                  <a:pt x="20497428" y="4711469"/>
                  <a:pt x="19951818" y="4635710"/>
                  <a:pt x="19750594" y="4599921"/>
                </a:cubicBezTo>
                <a:moveTo>
                  <a:pt x="20961230" y="4255359"/>
                </a:moveTo>
                <a:lnTo>
                  <a:pt x="20993010" y="3770454"/>
                </a:lnTo>
                <a:moveTo>
                  <a:pt x="20961230" y="4255359"/>
                </a:moveTo>
                <a:lnTo>
                  <a:pt x="19676964" y="4171175"/>
                </a:lnTo>
                <a:moveTo>
                  <a:pt x="21120288" y="1831808"/>
                </a:moveTo>
                <a:lnTo>
                  <a:pt x="21088510" y="2316226"/>
                </a:lnTo>
                <a:moveTo>
                  <a:pt x="21088510" y="2316226"/>
                </a:moveTo>
                <a:lnTo>
                  <a:pt x="21056728" y="2801131"/>
                </a:lnTo>
                <a:moveTo>
                  <a:pt x="21088510" y="2316226"/>
                </a:moveTo>
                <a:lnTo>
                  <a:pt x="19804244" y="2232058"/>
                </a:lnTo>
                <a:moveTo>
                  <a:pt x="21152226" y="1346888"/>
                </a:moveTo>
                <a:lnTo>
                  <a:pt x="21120288" y="1831793"/>
                </a:lnTo>
                <a:moveTo>
                  <a:pt x="21120288" y="1831793"/>
                </a:moveTo>
                <a:lnTo>
                  <a:pt x="19836180" y="1747609"/>
                </a:lnTo>
                <a:moveTo>
                  <a:pt x="21056728" y="2801131"/>
                </a:moveTo>
                <a:lnTo>
                  <a:pt x="21024790" y="3286020"/>
                </a:lnTo>
                <a:moveTo>
                  <a:pt x="21056728" y="2801131"/>
                </a:moveTo>
                <a:lnTo>
                  <a:pt x="19772464" y="2716963"/>
                </a:lnTo>
                <a:moveTo>
                  <a:pt x="21024790" y="3286020"/>
                </a:moveTo>
                <a:lnTo>
                  <a:pt x="19740684" y="3201853"/>
                </a:lnTo>
                <a:moveTo>
                  <a:pt x="21488592" y="6165430"/>
                </a:moveTo>
                <a:cubicBezTo>
                  <a:pt x="21553254" y="6373877"/>
                  <a:pt x="21574808" y="6539981"/>
                  <a:pt x="21562380" y="6728310"/>
                </a:cubicBezTo>
                <a:lnTo>
                  <a:pt x="21184006" y="6703508"/>
                </a:lnTo>
                <a:moveTo>
                  <a:pt x="20674736" y="8617602"/>
                </a:moveTo>
                <a:lnTo>
                  <a:pt x="20690628" y="8375378"/>
                </a:lnTo>
                <a:cubicBezTo>
                  <a:pt x="20698494" y="8254037"/>
                  <a:pt x="20800442" y="8170860"/>
                  <a:pt x="20800442" y="8170860"/>
                </a:cubicBezTo>
                <a:moveTo>
                  <a:pt x="21113838" y="7756165"/>
                </a:moveTo>
                <a:cubicBezTo>
                  <a:pt x="21242846" y="7593346"/>
                  <a:pt x="21324500" y="7452846"/>
                  <a:pt x="21415434" y="7276714"/>
                </a:cubicBezTo>
                <a:moveTo>
                  <a:pt x="20579240" y="10071342"/>
                </a:moveTo>
                <a:lnTo>
                  <a:pt x="20547302" y="10556248"/>
                </a:lnTo>
                <a:lnTo>
                  <a:pt x="19263194" y="10472064"/>
                </a:lnTo>
                <a:moveTo>
                  <a:pt x="20800442" y="8170372"/>
                </a:moveTo>
                <a:cubicBezTo>
                  <a:pt x="20889804" y="8068003"/>
                  <a:pt x="20956826" y="7973588"/>
                  <a:pt x="21113838" y="7756149"/>
                </a:cubicBezTo>
                <a:moveTo>
                  <a:pt x="20096558" y="4954825"/>
                </a:moveTo>
                <a:cubicBezTo>
                  <a:pt x="20285824" y="5109314"/>
                  <a:pt x="20403504" y="5216320"/>
                  <a:pt x="20568856" y="5391367"/>
                </a:cubicBezTo>
                <a:cubicBezTo>
                  <a:pt x="20241144" y="5252722"/>
                  <a:pt x="19875826" y="5134682"/>
                  <a:pt x="19539460" y="4997829"/>
                </a:cubicBezTo>
                <a:moveTo>
                  <a:pt x="19676964" y="4170719"/>
                </a:moveTo>
                <a:cubicBezTo>
                  <a:pt x="19667526" y="4307494"/>
                  <a:pt x="19655726" y="4494000"/>
                  <a:pt x="19750594" y="4599953"/>
                </a:cubicBezTo>
                <a:cubicBezTo>
                  <a:pt x="19382132" y="4537695"/>
                  <a:pt x="18960654" y="4463020"/>
                  <a:pt x="18586528" y="4366498"/>
                </a:cubicBezTo>
                <a:moveTo>
                  <a:pt x="20097188" y="4954857"/>
                </a:moveTo>
                <a:cubicBezTo>
                  <a:pt x="19977620" y="4860912"/>
                  <a:pt x="19850498" y="4709552"/>
                  <a:pt x="19751068" y="4599984"/>
                </a:cubicBezTo>
                <a:moveTo>
                  <a:pt x="19772464" y="2716947"/>
                </a:moveTo>
                <a:lnTo>
                  <a:pt x="19740684" y="3201853"/>
                </a:lnTo>
                <a:lnTo>
                  <a:pt x="18456576" y="3117669"/>
                </a:lnTo>
                <a:moveTo>
                  <a:pt x="20922686" y="7397316"/>
                </a:moveTo>
                <a:cubicBezTo>
                  <a:pt x="21042884" y="7204287"/>
                  <a:pt x="21160722" y="7057673"/>
                  <a:pt x="21184006" y="6703963"/>
                </a:cubicBezTo>
                <a:moveTo>
                  <a:pt x="19877714" y="8295752"/>
                </a:moveTo>
                <a:cubicBezTo>
                  <a:pt x="20050460" y="8157924"/>
                  <a:pt x="20215812" y="8074651"/>
                  <a:pt x="20403032" y="7924611"/>
                </a:cubicBezTo>
                <a:moveTo>
                  <a:pt x="19740684" y="3201853"/>
                </a:moveTo>
                <a:lnTo>
                  <a:pt x="19708746" y="3686286"/>
                </a:lnTo>
                <a:moveTo>
                  <a:pt x="19708746" y="3686286"/>
                </a:moveTo>
                <a:lnTo>
                  <a:pt x="18424638" y="3602118"/>
                </a:lnTo>
                <a:moveTo>
                  <a:pt x="19804244" y="2232042"/>
                </a:moveTo>
                <a:lnTo>
                  <a:pt x="19772464" y="2716947"/>
                </a:lnTo>
                <a:lnTo>
                  <a:pt x="18488356" y="2632764"/>
                </a:lnTo>
                <a:moveTo>
                  <a:pt x="19804244" y="2232042"/>
                </a:moveTo>
                <a:lnTo>
                  <a:pt x="19836180" y="1747625"/>
                </a:lnTo>
                <a:moveTo>
                  <a:pt x="19804244" y="2232042"/>
                </a:moveTo>
                <a:lnTo>
                  <a:pt x="18520136" y="2147874"/>
                </a:lnTo>
                <a:moveTo>
                  <a:pt x="19676964" y="4171175"/>
                </a:moveTo>
                <a:cubicBezTo>
                  <a:pt x="19687664" y="4009535"/>
                  <a:pt x="19698206" y="3847910"/>
                  <a:pt x="19708902" y="3686270"/>
                </a:cubicBezTo>
                <a:moveTo>
                  <a:pt x="19676964" y="4171175"/>
                </a:moveTo>
                <a:lnTo>
                  <a:pt x="19344218" y="4149359"/>
                </a:lnTo>
                <a:cubicBezTo>
                  <a:pt x="19030190" y="4128769"/>
                  <a:pt x="18716954" y="4102584"/>
                  <a:pt x="18402454" y="4077278"/>
                </a:cubicBezTo>
                <a:moveTo>
                  <a:pt x="19326754" y="9502725"/>
                </a:moveTo>
                <a:lnTo>
                  <a:pt x="19294974" y="9987158"/>
                </a:lnTo>
                <a:lnTo>
                  <a:pt x="18010866" y="9902991"/>
                </a:lnTo>
                <a:moveTo>
                  <a:pt x="19263194" y="10472064"/>
                </a:moveTo>
                <a:lnTo>
                  <a:pt x="19294974" y="9987175"/>
                </a:lnTo>
                <a:moveTo>
                  <a:pt x="19263194" y="10472064"/>
                </a:moveTo>
                <a:lnTo>
                  <a:pt x="17978928" y="10387896"/>
                </a:lnTo>
                <a:moveTo>
                  <a:pt x="19326754" y="9502741"/>
                </a:moveTo>
                <a:lnTo>
                  <a:pt x="19358692" y="9017852"/>
                </a:lnTo>
                <a:moveTo>
                  <a:pt x="19326754" y="9502741"/>
                </a:moveTo>
                <a:lnTo>
                  <a:pt x="18042646" y="9418573"/>
                </a:lnTo>
                <a:moveTo>
                  <a:pt x="19358692" y="9017852"/>
                </a:moveTo>
                <a:cubicBezTo>
                  <a:pt x="19367502" y="8882444"/>
                  <a:pt x="19337452" y="8684260"/>
                  <a:pt x="19487700" y="8601900"/>
                </a:cubicBezTo>
                <a:moveTo>
                  <a:pt x="19358692" y="9017852"/>
                </a:moveTo>
                <a:lnTo>
                  <a:pt x="18082764" y="8945975"/>
                </a:lnTo>
                <a:moveTo>
                  <a:pt x="21015666" y="5981974"/>
                </a:moveTo>
                <a:cubicBezTo>
                  <a:pt x="21113838" y="6157335"/>
                  <a:pt x="21203358" y="6410232"/>
                  <a:pt x="21184006" y="6703508"/>
                </a:cubicBezTo>
                <a:moveTo>
                  <a:pt x="21015666" y="5981974"/>
                </a:moveTo>
                <a:cubicBezTo>
                  <a:pt x="20703056" y="5825033"/>
                  <a:pt x="20571532" y="5764661"/>
                  <a:pt x="20273552" y="5643966"/>
                </a:cubicBezTo>
                <a:moveTo>
                  <a:pt x="21184006" y="6703508"/>
                </a:moveTo>
                <a:lnTo>
                  <a:pt x="20666240" y="6669558"/>
                </a:lnTo>
                <a:moveTo>
                  <a:pt x="19487700" y="8602388"/>
                </a:moveTo>
                <a:cubicBezTo>
                  <a:pt x="19601290" y="8504435"/>
                  <a:pt x="19769788" y="8374308"/>
                  <a:pt x="19877244" y="8295720"/>
                </a:cubicBezTo>
                <a:moveTo>
                  <a:pt x="20922686" y="7397331"/>
                </a:moveTo>
                <a:cubicBezTo>
                  <a:pt x="20780304" y="7593613"/>
                  <a:pt x="20608818" y="7770578"/>
                  <a:pt x="20402560" y="7924564"/>
                </a:cubicBezTo>
                <a:cubicBezTo>
                  <a:pt x="20069340" y="8014705"/>
                  <a:pt x="19734546" y="8098637"/>
                  <a:pt x="19330530" y="8180368"/>
                </a:cubicBezTo>
                <a:moveTo>
                  <a:pt x="19867960" y="1262715"/>
                </a:moveTo>
                <a:lnTo>
                  <a:pt x="19836024" y="1747609"/>
                </a:lnTo>
                <a:lnTo>
                  <a:pt x="18551914" y="1663441"/>
                </a:lnTo>
                <a:moveTo>
                  <a:pt x="18583852" y="1178533"/>
                </a:moveTo>
                <a:lnTo>
                  <a:pt x="18551914" y="1663425"/>
                </a:lnTo>
                <a:moveTo>
                  <a:pt x="18551914" y="1663425"/>
                </a:moveTo>
                <a:lnTo>
                  <a:pt x="18520136" y="2147874"/>
                </a:lnTo>
                <a:moveTo>
                  <a:pt x="18551914" y="1663425"/>
                </a:moveTo>
                <a:lnTo>
                  <a:pt x="17267806" y="1579257"/>
                </a:lnTo>
                <a:moveTo>
                  <a:pt x="18586528" y="4366498"/>
                </a:moveTo>
                <a:cubicBezTo>
                  <a:pt x="18501886" y="4301647"/>
                  <a:pt x="18395532" y="4183639"/>
                  <a:pt x="18402610" y="4076822"/>
                </a:cubicBezTo>
                <a:moveTo>
                  <a:pt x="18586528" y="4366498"/>
                </a:moveTo>
                <a:cubicBezTo>
                  <a:pt x="18696814" y="4464058"/>
                  <a:pt x="18814652" y="4528233"/>
                  <a:pt x="18962698" y="4627804"/>
                </a:cubicBezTo>
                <a:moveTo>
                  <a:pt x="18586528" y="4366498"/>
                </a:moveTo>
                <a:cubicBezTo>
                  <a:pt x="18174328" y="4266063"/>
                  <a:pt x="17576012" y="4182618"/>
                  <a:pt x="17200786" y="4158019"/>
                </a:cubicBezTo>
                <a:moveTo>
                  <a:pt x="18488356" y="2632764"/>
                </a:moveTo>
                <a:lnTo>
                  <a:pt x="18456418" y="3117653"/>
                </a:lnTo>
                <a:lnTo>
                  <a:pt x="17172310" y="3033485"/>
                </a:lnTo>
                <a:moveTo>
                  <a:pt x="18488356" y="2632764"/>
                </a:moveTo>
                <a:lnTo>
                  <a:pt x="18520136" y="2147874"/>
                </a:lnTo>
                <a:moveTo>
                  <a:pt x="18488356" y="2632764"/>
                </a:moveTo>
                <a:lnTo>
                  <a:pt x="17204090" y="2548596"/>
                </a:lnTo>
                <a:moveTo>
                  <a:pt x="18424638" y="3602118"/>
                </a:moveTo>
                <a:cubicBezTo>
                  <a:pt x="18414252" y="3760002"/>
                  <a:pt x="18400566" y="3919096"/>
                  <a:pt x="18402454" y="4077310"/>
                </a:cubicBezTo>
                <a:cubicBezTo>
                  <a:pt x="18142862" y="4060303"/>
                  <a:pt x="17820972" y="3995420"/>
                  <a:pt x="17125426" y="3949824"/>
                </a:cubicBezTo>
                <a:moveTo>
                  <a:pt x="18424638" y="3602118"/>
                </a:moveTo>
                <a:lnTo>
                  <a:pt x="18456418" y="3117684"/>
                </a:lnTo>
                <a:moveTo>
                  <a:pt x="18424638" y="3602118"/>
                </a:moveTo>
                <a:lnTo>
                  <a:pt x="17140372" y="3517934"/>
                </a:lnTo>
                <a:moveTo>
                  <a:pt x="18520136" y="2147874"/>
                </a:moveTo>
                <a:lnTo>
                  <a:pt x="17236028" y="2063691"/>
                </a:lnTo>
                <a:moveTo>
                  <a:pt x="18962698" y="4627804"/>
                </a:moveTo>
                <a:cubicBezTo>
                  <a:pt x="18452484" y="4476271"/>
                  <a:pt x="17899478" y="4393438"/>
                  <a:pt x="17358900" y="4323180"/>
                </a:cubicBezTo>
                <a:moveTo>
                  <a:pt x="18962698" y="4627804"/>
                </a:moveTo>
                <a:cubicBezTo>
                  <a:pt x="19316844" y="4721607"/>
                  <a:pt x="19735176" y="4843136"/>
                  <a:pt x="20096558" y="4954825"/>
                </a:cubicBezTo>
                <a:moveTo>
                  <a:pt x="20273552" y="5643966"/>
                </a:moveTo>
                <a:cubicBezTo>
                  <a:pt x="20016636" y="5426213"/>
                  <a:pt x="19872838" y="5181521"/>
                  <a:pt x="19539618" y="4997813"/>
                </a:cubicBezTo>
                <a:moveTo>
                  <a:pt x="20273552" y="5643966"/>
                </a:moveTo>
                <a:cubicBezTo>
                  <a:pt x="20516466" y="5929492"/>
                  <a:pt x="20651138" y="6314747"/>
                  <a:pt x="20666240" y="6669558"/>
                </a:cubicBezTo>
                <a:moveTo>
                  <a:pt x="20273552" y="5643966"/>
                </a:moveTo>
                <a:cubicBezTo>
                  <a:pt x="19906822" y="5476415"/>
                  <a:pt x="18967574" y="5169246"/>
                  <a:pt x="18261016" y="5022238"/>
                </a:cubicBezTo>
                <a:moveTo>
                  <a:pt x="18710344" y="8471883"/>
                </a:moveTo>
                <a:cubicBezTo>
                  <a:pt x="18556478" y="8541324"/>
                  <a:pt x="18429358" y="8603095"/>
                  <a:pt x="18303180" y="8681872"/>
                </a:cubicBezTo>
                <a:cubicBezTo>
                  <a:pt x="18818744" y="8637092"/>
                  <a:pt x="19114518" y="8613672"/>
                  <a:pt x="19487858" y="8602371"/>
                </a:cubicBezTo>
                <a:moveTo>
                  <a:pt x="20666084" y="6669542"/>
                </a:moveTo>
                <a:cubicBezTo>
                  <a:pt x="20601894" y="7064322"/>
                  <a:pt x="20421124" y="7381850"/>
                  <a:pt x="20142814" y="7635092"/>
                </a:cubicBezTo>
                <a:cubicBezTo>
                  <a:pt x="19912798" y="7819036"/>
                  <a:pt x="19631970" y="8035893"/>
                  <a:pt x="19330530" y="8179866"/>
                </a:cubicBezTo>
                <a:moveTo>
                  <a:pt x="18710188" y="8471868"/>
                </a:moveTo>
                <a:cubicBezTo>
                  <a:pt x="18917546" y="8365491"/>
                  <a:pt x="19136072" y="8285692"/>
                  <a:pt x="19330530" y="8179881"/>
                </a:cubicBezTo>
                <a:cubicBezTo>
                  <a:pt x="18705310" y="8351566"/>
                  <a:pt x="18042646" y="8354253"/>
                  <a:pt x="17402166" y="8385201"/>
                </a:cubicBezTo>
                <a:moveTo>
                  <a:pt x="18082764" y="8945975"/>
                </a:moveTo>
                <a:cubicBezTo>
                  <a:pt x="18090788" y="8781819"/>
                  <a:pt x="18303180" y="8681400"/>
                  <a:pt x="18303180" y="8681400"/>
                </a:cubicBezTo>
                <a:moveTo>
                  <a:pt x="18082764" y="8945975"/>
                </a:moveTo>
                <a:cubicBezTo>
                  <a:pt x="18062312" y="9102727"/>
                  <a:pt x="18053030" y="9261161"/>
                  <a:pt x="18042646" y="9418573"/>
                </a:cubicBezTo>
                <a:moveTo>
                  <a:pt x="18082764" y="8945975"/>
                </a:moveTo>
                <a:lnTo>
                  <a:pt x="16799444" y="8904669"/>
                </a:lnTo>
                <a:moveTo>
                  <a:pt x="17978928" y="10387896"/>
                </a:moveTo>
                <a:lnTo>
                  <a:pt x="18010866" y="9902991"/>
                </a:lnTo>
                <a:moveTo>
                  <a:pt x="17978928" y="10387896"/>
                </a:moveTo>
                <a:lnTo>
                  <a:pt x="16694821" y="10303712"/>
                </a:lnTo>
                <a:moveTo>
                  <a:pt x="18010866" y="9902991"/>
                </a:moveTo>
                <a:lnTo>
                  <a:pt x="18042646" y="9418558"/>
                </a:lnTo>
                <a:lnTo>
                  <a:pt x="16758537" y="9334389"/>
                </a:lnTo>
                <a:moveTo>
                  <a:pt x="18010866" y="9902991"/>
                </a:moveTo>
                <a:lnTo>
                  <a:pt x="16726601" y="9818807"/>
                </a:lnTo>
                <a:moveTo>
                  <a:pt x="20666240" y="6669558"/>
                </a:moveTo>
                <a:lnTo>
                  <a:pt x="18998410" y="6560226"/>
                </a:lnTo>
                <a:cubicBezTo>
                  <a:pt x="19071410" y="6022981"/>
                  <a:pt x="18680766" y="5479810"/>
                  <a:pt x="18261646" y="5022270"/>
                </a:cubicBezTo>
                <a:cubicBezTo>
                  <a:pt x="17022690" y="4759439"/>
                  <a:pt x="15696104" y="4672474"/>
                  <a:pt x="14385738" y="4808195"/>
                </a:cubicBezTo>
                <a:cubicBezTo>
                  <a:pt x="13764185" y="4875200"/>
                  <a:pt x="13115098" y="5020855"/>
                  <a:pt x="12486354" y="5165033"/>
                </a:cubicBezTo>
                <a:moveTo>
                  <a:pt x="18962698" y="4628276"/>
                </a:moveTo>
                <a:cubicBezTo>
                  <a:pt x="19153850" y="4751848"/>
                  <a:pt x="19357590" y="4863537"/>
                  <a:pt x="19539460" y="4998269"/>
                </a:cubicBezTo>
                <a:cubicBezTo>
                  <a:pt x="18914556" y="4832621"/>
                  <a:pt x="18305540" y="4612024"/>
                  <a:pt x="17654520" y="4542992"/>
                </a:cubicBezTo>
                <a:moveTo>
                  <a:pt x="16758537" y="9334389"/>
                </a:moveTo>
                <a:cubicBezTo>
                  <a:pt x="16767978" y="9190557"/>
                  <a:pt x="16773642" y="9046490"/>
                  <a:pt x="16800072" y="8904700"/>
                </a:cubicBezTo>
                <a:moveTo>
                  <a:pt x="16758537" y="9334389"/>
                </a:moveTo>
                <a:lnTo>
                  <a:pt x="16726601" y="9818807"/>
                </a:lnTo>
                <a:moveTo>
                  <a:pt x="16758537" y="9334389"/>
                </a:moveTo>
                <a:lnTo>
                  <a:pt x="15474273" y="9250206"/>
                </a:lnTo>
                <a:moveTo>
                  <a:pt x="16726601" y="9818807"/>
                </a:moveTo>
                <a:lnTo>
                  <a:pt x="16694821" y="10303712"/>
                </a:lnTo>
                <a:lnTo>
                  <a:pt x="15410602" y="10219528"/>
                </a:lnTo>
                <a:moveTo>
                  <a:pt x="17267806" y="1579257"/>
                </a:moveTo>
                <a:lnTo>
                  <a:pt x="17236028" y="2063691"/>
                </a:lnTo>
                <a:moveTo>
                  <a:pt x="17267806" y="1579257"/>
                </a:moveTo>
                <a:lnTo>
                  <a:pt x="17299588" y="1094351"/>
                </a:lnTo>
                <a:moveTo>
                  <a:pt x="17267806" y="1579257"/>
                </a:moveTo>
                <a:lnTo>
                  <a:pt x="15983542" y="1495075"/>
                </a:lnTo>
                <a:moveTo>
                  <a:pt x="17236028" y="2063691"/>
                </a:moveTo>
                <a:lnTo>
                  <a:pt x="17204090" y="2548596"/>
                </a:lnTo>
                <a:moveTo>
                  <a:pt x="17236028" y="2063691"/>
                </a:moveTo>
                <a:lnTo>
                  <a:pt x="15951762" y="1979523"/>
                </a:lnTo>
                <a:moveTo>
                  <a:pt x="16799444" y="8904669"/>
                </a:moveTo>
                <a:cubicBezTo>
                  <a:pt x="16806208" y="8803479"/>
                  <a:pt x="16902020" y="8707648"/>
                  <a:pt x="16902020" y="8707648"/>
                </a:cubicBezTo>
                <a:cubicBezTo>
                  <a:pt x="17401064" y="8736600"/>
                  <a:pt x="17938966" y="8716811"/>
                  <a:pt x="18303180" y="8681872"/>
                </a:cubicBezTo>
                <a:moveTo>
                  <a:pt x="16799444" y="8904669"/>
                </a:moveTo>
                <a:lnTo>
                  <a:pt x="15487866" y="8816367"/>
                </a:lnTo>
                <a:moveTo>
                  <a:pt x="17204090" y="2548596"/>
                </a:moveTo>
                <a:lnTo>
                  <a:pt x="15919982" y="2464396"/>
                </a:lnTo>
                <a:moveTo>
                  <a:pt x="17172310" y="3033501"/>
                </a:moveTo>
                <a:lnTo>
                  <a:pt x="17140372" y="3517934"/>
                </a:lnTo>
                <a:moveTo>
                  <a:pt x="17140372" y="3517934"/>
                </a:moveTo>
                <a:lnTo>
                  <a:pt x="15856264" y="3433766"/>
                </a:lnTo>
                <a:moveTo>
                  <a:pt x="16726601" y="9818807"/>
                </a:moveTo>
                <a:lnTo>
                  <a:pt x="15442492" y="9734623"/>
                </a:lnTo>
                <a:moveTo>
                  <a:pt x="17204090" y="2548580"/>
                </a:moveTo>
                <a:lnTo>
                  <a:pt x="17172310" y="3033485"/>
                </a:lnTo>
                <a:lnTo>
                  <a:pt x="15888202" y="2949301"/>
                </a:lnTo>
                <a:moveTo>
                  <a:pt x="17402166" y="8385673"/>
                </a:moveTo>
                <a:cubicBezTo>
                  <a:pt x="17653260" y="8263326"/>
                  <a:pt x="17771570" y="8190160"/>
                  <a:pt x="18066716" y="7989305"/>
                </a:cubicBezTo>
                <a:cubicBezTo>
                  <a:pt x="18542318" y="7588065"/>
                  <a:pt x="18944448" y="7143900"/>
                  <a:pt x="18998254" y="6560697"/>
                </a:cubicBezTo>
                <a:moveTo>
                  <a:pt x="16901864" y="8707648"/>
                </a:moveTo>
                <a:cubicBezTo>
                  <a:pt x="16967942" y="8634813"/>
                  <a:pt x="17080274" y="8564539"/>
                  <a:pt x="17080274" y="8564539"/>
                </a:cubicBezTo>
                <a:cubicBezTo>
                  <a:pt x="17222026" y="8475483"/>
                  <a:pt x="17402166" y="8385201"/>
                  <a:pt x="17402166" y="8385201"/>
                </a:cubicBezTo>
                <a:moveTo>
                  <a:pt x="17200630" y="4158019"/>
                </a:moveTo>
                <a:cubicBezTo>
                  <a:pt x="17171838" y="4110489"/>
                  <a:pt x="17138798" y="4037748"/>
                  <a:pt x="17124954" y="3949321"/>
                </a:cubicBezTo>
                <a:moveTo>
                  <a:pt x="17140530" y="3517934"/>
                </a:moveTo>
                <a:cubicBezTo>
                  <a:pt x="17131562" y="3614268"/>
                  <a:pt x="17115514" y="3840963"/>
                  <a:pt x="17125426" y="3949352"/>
                </a:cubicBezTo>
                <a:moveTo>
                  <a:pt x="17201730" y="4158098"/>
                </a:moveTo>
                <a:cubicBezTo>
                  <a:pt x="17261516" y="4239657"/>
                  <a:pt x="17302262" y="4282802"/>
                  <a:pt x="17358742" y="4323196"/>
                </a:cubicBezTo>
                <a:cubicBezTo>
                  <a:pt x="16736670" y="4270652"/>
                  <a:pt x="16113494" y="4230729"/>
                  <a:pt x="15489707" y="4211020"/>
                </a:cubicBezTo>
                <a:moveTo>
                  <a:pt x="17654676" y="4542552"/>
                </a:moveTo>
                <a:cubicBezTo>
                  <a:pt x="17526770" y="4444772"/>
                  <a:pt x="17463050" y="4407663"/>
                  <a:pt x="17359372" y="4322756"/>
                </a:cubicBezTo>
                <a:moveTo>
                  <a:pt x="18261488" y="5022254"/>
                </a:moveTo>
                <a:cubicBezTo>
                  <a:pt x="18060580" y="4859467"/>
                  <a:pt x="17900422" y="4703092"/>
                  <a:pt x="17654520" y="4542536"/>
                </a:cubicBezTo>
                <a:moveTo>
                  <a:pt x="10846386" y="1158336"/>
                </a:moveTo>
                <a:lnTo>
                  <a:pt x="10814575" y="1642772"/>
                </a:lnTo>
                <a:moveTo>
                  <a:pt x="10846386" y="1158336"/>
                </a:moveTo>
                <a:lnTo>
                  <a:pt x="10878229" y="673426"/>
                </a:lnTo>
                <a:moveTo>
                  <a:pt x="10846386" y="1158336"/>
                </a:moveTo>
                <a:lnTo>
                  <a:pt x="9562215" y="1074149"/>
                </a:lnTo>
                <a:moveTo>
                  <a:pt x="10846386" y="1158336"/>
                </a:moveTo>
                <a:lnTo>
                  <a:pt x="12130541" y="1242500"/>
                </a:lnTo>
                <a:moveTo>
                  <a:pt x="10814575" y="1642772"/>
                </a:moveTo>
                <a:lnTo>
                  <a:pt x="10782701" y="2127677"/>
                </a:lnTo>
                <a:moveTo>
                  <a:pt x="10814575" y="1642772"/>
                </a:moveTo>
                <a:lnTo>
                  <a:pt x="12098730" y="1726956"/>
                </a:lnTo>
                <a:moveTo>
                  <a:pt x="10814575" y="1642772"/>
                </a:moveTo>
                <a:lnTo>
                  <a:pt x="9530388" y="1558589"/>
                </a:lnTo>
                <a:moveTo>
                  <a:pt x="10305289" y="9397889"/>
                </a:moveTo>
                <a:lnTo>
                  <a:pt x="10273446" y="9882778"/>
                </a:lnTo>
                <a:lnTo>
                  <a:pt x="8989260" y="9798610"/>
                </a:lnTo>
                <a:moveTo>
                  <a:pt x="10555692" y="5519827"/>
                </a:moveTo>
                <a:cubicBezTo>
                  <a:pt x="10544160" y="5695519"/>
                  <a:pt x="10517886" y="5844350"/>
                  <a:pt x="10507424" y="6003648"/>
                </a:cubicBezTo>
                <a:moveTo>
                  <a:pt x="10555614" y="5519341"/>
                </a:moveTo>
                <a:cubicBezTo>
                  <a:pt x="10555614" y="5519341"/>
                  <a:pt x="10567822" y="5399226"/>
                  <a:pt x="10575783" y="5277870"/>
                </a:cubicBezTo>
                <a:lnTo>
                  <a:pt x="10591688" y="5035661"/>
                </a:lnTo>
                <a:cubicBezTo>
                  <a:pt x="10832070" y="5051426"/>
                  <a:pt x="11198942" y="5080645"/>
                  <a:pt x="11548855" y="5027347"/>
                </a:cubicBezTo>
                <a:moveTo>
                  <a:pt x="10337085" y="8913455"/>
                </a:moveTo>
                <a:lnTo>
                  <a:pt x="10305258" y="9397889"/>
                </a:lnTo>
                <a:lnTo>
                  <a:pt x="9021087" y="9313705"/>
                </a:lnTo>
                <a:moveTo>
                  <a:pt x="10337085" y="8913455"/>
                </a:moveTo>
                <a:lnTo>
                  <a:pt x="10368913" y="8428566"/>
                </a:lnTo>
                <a:moveTo>
                  <a:pt x="10337085" y="8913455"/>
                </a:moveTo>
                <a:lnTo>
                  <a:pt x="9052883" y="8829287"/>
                </a:lnTo>
                <a:moveTo>
                  <a:pt x="10464347" y="6974794"/>
                </a:moveTo>
                <a:lnTo>
                  <a:pt x="10432536" y="7459228"/>
                </a:lnTo>
                <a:lnTo>
                  <a:pt x="9148365" y="7375059"/>
                </a:lnTo>
                <a:lnTo>
                  <a:pt x="9116522" y="7859965"/>
                </a:lnTo>
                <a:moveTo>
                  <a:pt x="10782731" y="2127662"/>
                </a:moveTo>
                <a:lnTo>
                  <a:pt x="10750888" y="2612551"/>
                </a:lnTo>
                <a:moveTo>
                  <a:pt x="10750888" y="2612551"/>
                </a:moveTo>
                <a:lnTo>
                  <a:pt x="12035043" y="2696735"/>
                </a:lnTo>
                <a:moveTo>
                  <a:pt x="10750888" y="2612551"/>
                </a:moveTo>
                <a:lnTo>
                  <a:pt x="9466717" y="2528383"/>
                </a:lnTo>
                <a:moveTo>
                  <a:pt x="10687250" y="3581905"/>
                </a:moveTo>
                <a:lnTo>
                  <a:pt x="10655422" y="4066339"/>
                </a:lnTo>
                <a:moveTo>
                  <a:pt x="10687250" y="3581905"/>
                </a:moveTo>
                <a:lnTo>
                  <a:pt x="10719077" y="3096984"/>
                </a:lnTo>
                <a:moveTo>
                  <a:pt x="10687250" y="3581905"/>
                </a:moveTo>
                <a:lnTo>
                  <a:pt x="9403063" y="3497721"/>
                </a:lnTo>
                <a:moveTo>
                  <a:pt x="10655422" y="4066339"/>
                </a:moveTo>
                <a:lnTo>
                  <a:pt x="9371251" y="3982155"/>
                </a:lnTo>
                <a:moveTo>
                  <a:pt x="10655422" y="4066339"/>
                </a:moveTo>
                <a:lnTo>
                  <a:pt x="11939593" y="4150506"/>
                </a:lnTo>
                <a:moveTo>
                  <a:pt x="10368881" y="8428566"/>
                </a:moveTo>
                <a:lnTo>
                  <a:pt x="10400693" y="7944132"/>
                </a:lnTo>
                <a:lnTo>
                  <a:pt x="11684864" y="8028316"/>
                </a:lnTo>
                <a:moveTo>
                  <a:pt x="10368881" y="8428566"/>
                </a:moveTo>
                <a:lnTo>
                  <a:pt x="11653068" y="8512733"/>
                </a:lnTo>
                <a:moveTo>
                  <a:pt x="10368881" y="8428566"/>
                </a:moveTo>
                <a:lnTo>
                  <a:pt x="9084726" y="8344382"/>
                </a:lnTo>
                <a:moveTo>
                  <a:pt x="10491817" y="6490549"/>
                </a:moveTo>
                <a:cubicBezTo>
                  <a:pt x="10491817" y="6490549"/>
                  <a:pt x="10488198" y="6611245"/>
                  <a:pt x="10480222" y="6732585"/>
                </a:cubicBezTo>
                <a:lnTo>
                  <a:pt x="10464317" y="6974794"/>
                </a:lnTo>
                <a:lnTo>
                  <a:pt x="9180145" y="6890626"/>
                </a:lnTo>
                <a:moveTo>
                  <a:pt x="10507361" y="6003632"/>
                </a:moveTo>
                <a:cubicBezTo>
                  <a:pt x="10493548" y="6213997"/>
                  <a:pt x="10503444" y="6314386"/>
                  <a:pt x="10491943" y="6489606"/>
                </a:cubicBezTo>
                <a:cubicBezTo>
                  <a:pt x="10491943" y="6489606"/>
                  <a:pt x="10353966" y="6480568"/>
                  <a:pt x="10163458" y="6468073"/>
                </a:cubicBezTo>
                <a:lnTo>
                  <a:pt x="9212005" y="6405705"/>
                </a:lnTo>
                <a:moveTo>
                  <a:pt x="10507361" y="6003632"/>
                </a:moveTo>
                <a:lnTo>
                  <a:pt x="9243879" y="5920832"/>
                </a:lnTo>
                <a:moveTo>
                  <a:pt x="10507361" y="6003632"/>
                </a:moveTo>
                <a:lnTo>
                  <a:pt x="11123456" y="6044043"/>
                </a:lnTo>
                <a:moveTo>
                  <a:pt x="10782701" y="2127677"/>
                </a:moveTo>
                <a:lnTo>
                  <a:pt x="12066887" y="2211845"/>
                </a:lnTo>
                <a:moveTo>
                  <a:pt x="10782701" y="2127677"/>
                </a:moveTo>
                <a:lnTo>
                  <a:pt x="9498529" y="2043493"/>
                </a:lnTo>
                <a:moveTo>
                  <a:pt x="10750841" y="2612582"/>
                </a:moveTo>
                <a:lnTo>
                  <a:pt x="10719029" y="3097016"/>
                </a:lnTo>
                <a:lnTo>
                  <a:pt x="9434859" y="3012832"/>
                </a:lnTo>
                <a:moveTo>
                  <a:pt x="10623563" y="4551244"/>
                </a:moveTo>
                <a:lnTo>
                  <a:pt x="10591752" y="5035661"/>
                </a:lnTo>
                <a:lnTo>
                  <a:pt x="9307550" y="4951493"/>
                </a:lnTo>
                <a:lnTo>
                  <a:pt x="9275706" y="5436398"/>
                </a:lnTo>
                <a:moveTo>
                  <a:pt x="10623563" y="4551244"/>
                </a:moveTo>
                <a:lnTo>
                  <a:pt x="10655390" y="4066339"/>
                </a:lnTo>
                <a:moveTo>
                  <a:pt x="10623563" y="4551244"/>
                </a:moveTo>
                <a:lnTo>
                  <a:pt x="9339392" y="4467060"/>
                </a:lnTo>
                <a:moveTo>
                  <a:pt x="10432504" y="7459228"/>
                </a:moveTo>
                <a:lnTo>
                  <a:pt x="10400662" y="7944132"/>
                </a:lnTo>
                <a:lnTo>
                  <a:pt x="9116475" y="7859949"/>
                </a:lnTo>
                <a:moveTo>
                  <a:pt x="5662142" y="1780254"/>
                </a:moveTo>
                <a:cubicBezTo>
                  <a:pt x="5661451" y="2001826"/>
                  <a:pt x="5657045" y="2068815"/>
                  <a:pt x="5658194" y="2262267"/>
                </a:cubicBezTo>
                <a:moveTo>
                  <a:pt x="5662142" y="1780254"/>
                </a:moveTo>
                <a:cubicBezTo>
                  <a:pt x="5366902" y="1715262"/>
                  <a:pt x="4894730" y="1114507"/>
                  <a:pt x="4402830" y="1082261"/>
                </a:cubicBezTo>
                <a:moveTo>
                  <a:pt x="5662142" y="1780254"/>
                </a:moveTo>
                <a:cubicBezTo>
                  <a:pt x="5753786" y="1805088"/>
                  <a:pt x="6336921" y="1836241"/>
                  <a:pt x="6479129" y="1845561"/>
                </a:cubicBezTo>
                <a:lnTo>
                  <a:pt x="6930187" y="1875142"/>
                </a:lnTo>
                <a:moveTo>
                  <a:pt x="5658194" y="2262267"/>
                </a:moveTo>
                <a:cubicBezTo>
                  <a:pt x="5209165" y="2055926"/>
                  <a:pt x="4912304" y="1707105"/>
                  <a:pt x="4366723" y="1631817"/>
                </a:cubicBezTo>
                <a:moveTo>
                  <a:pt x="5658194" y="2262267"/>
                </a:moveTo>
                <a:cubicBezTo>
                  <a:pt x="5740618" y="2281333"/>
                  <a:pt x="5827447" y="2289821"/>
                  <a:pt x="5911822" y="2295353"/>
                </a:cubicBezTo>
                <a:lnTo>
                  <a:pt x="6898297" y="2360015"/>
                </a:lnTo>
                <a:lnTo>
                  <a:pt x="6930156" y="1875126"/>
                </a:lnTo>
                <a:moveTo>
                  <a:pt x="5455005" y="4698958"/>
                </a:moveTo>
                <a:lnTo>
                  <a:pt x="5486817" y="4214524"/>
                </a:lnTo>
                <a:lnTo>
                  <a:pt x="6771003" y="4298708"/>
                </a:lnTo>
                <a:moveTo>
                  <a:pt x="5455005" y="4698958"/>
                </a:moveTo>
                <a:lnTo>
                  <a:pt x="6739176" y="4783142"/>
                </a:lnTo>
                <a:moveTo>
                  <a:pt x="5455005" y="4698958"/>
                </a:moveTo>
                <a:lnTo>
                  <a:pt x="5254428" y="4685802"/>
                </a:lnTo>
                <a:cubicBezTo>
                  <a:pt x="4865467" y="4660308"/>
                  <a:pt x="4587831" y="4887224"/>
                  <a:pt x="4154818" y="4858838"/>
                </a:cubicBezTo>
                <a:moveTo>
                  <a:pt x="5455005" y="4698958"/>
                </a:moveTo>
                <a:lnTo>
                  <a:pt x="5391335" y="5668281"/>
                </a:lnTo>
                <a:lnTo>
                  <a:pt x="4107179" y="5584097"/>
                </a:lnTo>
                <a:moveTo>
                  <a:pt x="5200355" y="8576736"/>
                </a:moveTo>
                <a:lnTo>
                  <a:pt x="5168543" y="9061169"/>
                </a:lnTo>
                <a:lnTo>
                  <a:pt x="3884356" y="8976986"/>
                </a:lnTo>
                <a:moveTo>
                  <a:pt x="5200355" y="8576736"/>
                </a:moveTo>
                <a:lnTo>
                  <a:pt x="5232197" y="8091847"/>
                </a:lnTo>
                <a:moveTo>
                  <a:pt x="5200355" y="8576736"/>
                </a:moveTo>
                <a:lnTo>
                  <a:pt x="3916184" y="8492568"/>
                </a:lnTo>
                <a:moveTo>
                  <a:pt x="5658225" y="2262283"/>
                </a:moveTo>
                <a:cubicBezTo>
                  <a:pt x="5658194" y="2449087"/>
                  <a:pt x="5652908" y="2602602"/>
                  <a:pt x="5637521" y="2763912"/>
                </a:cubicBezTo>
                <a:lnTo>
                  <a:pt x="6866517" y="2844465"/>
                </a:lnTo>
                <a:moveTo>
                  <a:pt x="5592415" y="3263937"/>
                </a:moveTo>
                <a:cubicBezTo>
                  <a:pt x="5613214" y="3060614"/>
                  <a:pt x="5631338" y="2930534"/>
                  <a:pt x="5637489" y="2763896"/>
                </a:cubicBezTo>
                <a:lnTo>
                  <a:pt x="4298128" y="2676113"/>
                </a:lnTo>
                <a:moveTo>
                  <a:pt x="5592415" y="3263937"/>
                </a:moveTo>
                <a:cubicBezTo>
                  <a:pt x="5579797" y="3456022"/>
                  <a:pt x="5550314" y="3580648"/>
                  <a:pt x="5533291" y="3742335"/>
                </a:cubicBezTo>
                <a:moveTo>
                  <a:pt x="5592415" y="3263937"/>
                </a:moveTo>
                <a:cubicBezTo>
                  <a:pt x="5662882" y="3261957"/>
                  <a:pt x="5679433" y="3253171"/>
                  <a:pt x="5848183" y="3264220"/>
                </a:cubicBezTo>
                <a:lnTo>
                  <a:pt x="6834674" y="3328898"/>
                </a:lnTo>
                <a:moveTo>
                  <a:pt x="5709640" y="821626"/>
                </a:moveTo>
                <a:lnTo>
                  <a:pt x="5677828" y="1306056"/>
                </a:lnTo>
                <a:lnTo>
                  <a:pt x="5622638" y="1302440"/>
                </a:lnTo>
                <a:cubicBezTo>
                  <a:pt x="5587616" y="1300143"/>
                  <a:pt x="5549244" y="1283984"/>
                  <a:pt x="5501527" y="1263917"/>
                </a:cubicBezTo>
                <a:cubicBezTo>
                  <a:pt x="5167678" y="1064647"/>
                  <a:pt x="4864665" y="809525"/>
                  <a:pt x="4424446" y="752908"/>
                </a:cubicBezTo>
                <a:moveTo>
                  <a:pt x="5709640" y="821626"/>
                </a:moveTo>
                <a:lnTo>
                  <a:pt x="5741483" y="336712"/>
                </a:lnTo>
                <a:moveTo>
                  <a:pt x="5709640" y="821626"/>
                </a:moveTo>
                <a:lnTo>
                  <a:pt x="5509063" y="808462"/>
                </a:lnTo>
                <a:cubicBezTo>
                  <a:pt x="5146092" y="784671"/>
                  <a:pt x="4841081" y="519528"/>
                  <a:pt x="4441500" y="493335"/>
                </a:cubicBezTo>
                <a:moveTo>
                  <a:pt x="5136715" y="9546074"/>
                </a:moveTo>
                <a:lnTo>
                  <a:pt x="5168575" y="9061169"/>
                </a:lnTo>
                <a:moveTo>
                  <a:pt x="5136715" y="9546074"/>
                </a:moveTo>
                <a:lnTo>
                  <a:pt x="6420871" y="9630242"/>
                </a:lnTo>
                <a:lnTo>
                  <a:pt x="6452730" y="9145353"/>
                </a:lnTo>
                <a:lnTo>
                  <a:pt x="7736885" y="9229521"/>
                </a:lnTo>
                <a:moveTo>
                  <a:pt x="5136715" y="9546074"/>
                </a:moveTo>
                <a:lnTo>
                  <a:pt x="3852544" y="9461890"/>
                </a:lnTo>
                <a:moveTo>
                  <a:pt x="5486801" y="4214981"/>
                </a:moveTo>
                <a:lnTo>
                  <a:pt x="5491773" y="4139080"/>
                </a:lnTo>
                <a:cubicBezTo>
                  <a:pt x="5493283" y="4116132"/>
                  <a:pt x="5495548" y="4089931"/>
                  <a:pt x="5497892" y="4062315"/>
                </a:cubicBezTo>
                <a:cubicBezTo>
                  <a:pt x="5510605" y="3957761"/>
                  <a:pt x="5519840" y="3817198"/>
                  <a:pt x="5533276" y="3742335"/>
                </a:cubicBezTo>
                <a:cubicBezTo>
                  <a:pt x="5084168" y="3869569"/>
                  <a:pt x="4743051" y="4283855"/>
                  <a:pt x="4193442" y="4269945"/>
                </a:cubicBezTo>
                <a:moveTo>
                  <a:pt x="5327633" y="6638091"/>
                </a:moveTo>
                <a:lnTo>
                  <a:pt x="5359476" y="6153186"/>
                </a:lnTo>
                <a:lnTo>
                  <a:pt x="6643678" y="6237369"/>
                </a:lnTo>
                <a:moveTo>
                  <a:pt x="5327633" y="6638091"/>
                </a:moveTo>
                <a:lnTo>
                  <a:pt x="5295821" y="7122508"/>
                </a:lnTo>
                <a:moveTo>
                  <a:pt x="5327633" y="6638091"/>
                </a:moveTo>
                <a:lnTo>
                  <a:pt x="6611819" y="6722259"/>
                </a:lnTo>
                <a:moveTo>
                  <a:pt x="5327633" y="6638091"/>
                </a:moveTo>
                <a:lnTo>
                  <a:pt x="4043446" y="6553891"/>
                </a:lnTo>
                <a:moveTo>
                  <a:pt x="5295821" y="7122508"/>
                </a:moveTo>
                <a:lnTo>
                  <a:pt x="4011634" y="7038325"/>
                </a:lnTo>
                <a:moveTo>
                  <a:pt x="5295821" y="7122508"/>
                </a:moveTo>
                <a:lnTo>
                  <a:pt x="6579992" y="7206692"/>
                </a:lnTo>
                <a:moveTo>
                  <a:pt x="5391303" y="5668281"/>
                </a:moveTo>
                <a:lnTo>
                  <a:pt x="5359460" y="6153186"/>
                </a:lnTo>
                <a:lnTo>
                  <a:pt x="4075304" y="6069002"/>
                </a:lnTo>
                <a:moveTo>
                  <a:pt x="5676774" y="1305997"/>
                </a:moveTo>
                <a:cubicBezTo>
                  <a:pt x="5669647" y="1463154"/>
                  <a:pt x="5653285" y="1622999"/>
                  <a:pt x="5661592" y="1780223"/>
                </a:cubicBezTo>
                <a:moveTo>
                  <a:pt x="5295774" y="7122508"/>
                </a:moveTo>
                <a:lnTo>
                  <a:pt x="5263931" y="7607414"/>
                </a:lnTo>
                <a:lnTo>
                  <a:pt x="3979775" y="7523230"/>
                </a:lnTo>
                <a:moveTo>
                  <a:pt x="1666131" y="3477068"/>
                </a:moveTo>
                <a:lnTo>
                  <a:pt x="1697943" y="2992651"/>
                </a:lnTo>
                <a:moveTo>
                  <a:pt x="1666131" y="3477068"/>
                </a:moveTo>
                <a:lnTo>
                  <a:pt x="1634272" y="3961989"/>
                </a:lnTo>
                <a:moveTo>
                  <a:pt x="1666131" y="3477068"/>
                </a:moveTo>
                <a:lnTo>
                  <a:pt x="381954" y="3392900"/>
                </a:lnTo>
                <a:moveTo>
                  <a:pt x="1666131" y="3477068"/>
                </a:moveTo>
                <a:lnTo>
                  <a:pt x="2652607" y="3541731"/>
                </a:lnTo>
                <a:cubicBezTo>
                  <a:pt x="2687093" y="3543994"/>
                  <a:pt x="2872724" y="3549574"/>
                  <a:pt x="2934679" y="3571987"/>
                </a:cubicBezTo>
                <a:moveTo>
                  <a:pt x="1697943" y="2992651"/>
                </a:moveTo>
                <a:lnTo>
                  <a:pt x="1729801" y="2507730"/>
                </a:lnTo>
                <a:moveTo>
                  <a:pt x="1697943" y="2992651"/>
                </a:moveTo>
                <a:lnTo>
                  <a:pt x="403160" y="2907760"/>
                </a:lnTo>
                <a:moveTo>
                  <a:pt x="1602492" y="4446422"/>
                </a:moveTo>
                <a:lnTo>
                  <a:pt x="1634304" y="3961989"/>
                </a:lnTo>
                <a:moveTo>
                  <a:pt x="1602492" y="4446422"/>
                </a:moveTo>
                <a:lnTo>
                  <a:pt x="2886663" y="4530606"/>
                </a:lnTo>
                <a:moveTo>
                  <a:pt x="1602492" y="4446422"/>
                </a:moveTo>
                <a:lnTo>
                  <a:pt x="318315" y="4362239"/>
                </a:lnTo>
                <a:moveTo>
                  <a:pt x="1347818" y="8324201"/>
                </a:moveTo>
                <a:lnTo>
                  <a:pt x="1379664" y="7839312"/>
                </a:lnTo>
                <a:moveTo>
                  <a:pt x="1347818" y="8324201"/>
                </a:moveTo>
                <a:lnTo>
                  <a:pt x="2631997" y="8408384"/>
                </a:lnTo>
                <a:lnTo>
                  <a:pt x="2663840" y="7923495"/>
                </a:lnTo>
                <a:moveTo>
                  <a:pt x="1347818" y="8324201"/>
                </a:moveTo>
                <a:lnTo>
                  <a:pt x="63640" y="8240033"/>
                </a:lnTo>
                <a:moveTo>
                  <a:pt x="1411411" y="7354878"/>
                </a:moveTo>
                <a:lnTo>
                  <a:pt x="1443258" y="6869973"/>
                </a:lnTo>
                <a:lnTo>
                  <a:pt x="2727447" y="6954157"/>
                </a:lnTo>
                <a:moveTo>
                  <a:pt x="1411411" y="7354878"/>
                </a:moveTo>
                <a:lnTo>
                  <a:pt x="1379615" y="7839312"/>
                </a:lnTo>
                <a:moveTo>
                  <a:pt x="1411411" y="7354878"/>
                </a:moveTo>
                <a:lnTo>
                  <a:pt x="127234" y="7270695"/>
                </a:lnTo>
                <a:moveTo>
                  <a:pt x="1793456" y="1538423"/>
                </a:moveTo>
                <a:lnTo>
                  <a:pt x="1825315" y="1053519"/>
                </a:lnTo>
                <a:moveTo>
                  <a:pt x="1793456" y="1538423"/>
                </a:moveTo>
                <a:lnTo>
                  <a:pt x="509285" y="1454241"/>
                </a:lnTo>
                <a:moveTo>
                  <a:pt x="1793456" y="1538423"/>
                </a:moveTo>
                <a:lnTo>
                  <a:pt x="2244530" y="1567988"/>
                </a:lnTo>
                <a:cubicBezTo>
                  <a:pt x="2787908" y="1603604"/>
                  <a:pt x="2932571" y="1632399"/>
                  <a:pt x="3063877" y="1613223"/>
                </a:cubicBezTo>
                <a:moveTo>
                  <a:pt x="1825315" y="1053519"/>
                </a:moveTo>
                <a:lnTo>
                  <a:pt x="1857095" y="569070"/>
                </a:lnTo>
                <a:moveTo>
                  <a:pt x="1825315" y="1053519"/>
                </a:moveTo>
                <a:lnTo>
                  <a:pt x="541117" y="969340"/>
                </a:lnTo>
                <a:moveTo>
                  <a:pt x="1315958" y="8808634"/>
                </a:moveTo>
                <a:lnTo>
                  <a:pt x="1284111" y="9293539"/>
                </a:lnTo>
                <a:lnTo>
                  <a:pt x="2568295" y="9377707"/>
                </a:lnTo>
                <a:moveTo>
                  <a:pt x="1538806" y="5415746"/>
                </a:moveTo>
                <a:lnTo>
                  <a:pt x="1570617" y="4931312"/>
                </a:lnTo>
                <a:moveTo>
                  <a:pt x="1538806" y="5415746"/>
                </a:moveTo>
                <a:lnTo>
                  <a:pt x="1506961" y="5900650"/>
                </a:lnTo>
                <a:moveTo>
                  <a:pt x="1538806" y="5415746"/>
                </a:moveTo>
                <a:lnTo>
                  <a:pt x="254622" y="5331577"/>
                </a:lnTo>
                <a:moveTo>
                  <a:pt x="1570617" y="4931312"/>
                </a:moveTo>
                <a:lnTo>
                  <a:pt x="1602461" y="4446407"/>
                </a:lnTo>
                <a:moveTo>
                  <a:pt x="1570617" y="4931312"/>
                </a:moveTo>
                <a:lnTo>
                  <a:pt x="286431" y="4847128"/>
                </a:lnTo>
                <a:moveTo>
                  <a:pt x="1729786" y="2507761"/>
                </a:moveTo>
                <a:lnTo>
                  <a:pt x="1761597" y="2023328"/>
                </a:lnTo>
                <a:cubicBezTo>
                  <a:pt x="1979166" y="2037584"/>
                  <a:pt x="2196718" y="2051840"/>
                  <a:pt x="2414287" y="2066111"/>
                </a:cubicBezTo>
                <a:cubicBezTo>
                  <a:pt x="2523063" y="2073247"/>
                  <a:pt x="2631855" y="2080367"/>
                  <a:pt x="2740663" y="2087031"/>
                </a:cubicBezTo>
                <a:cubicBezTo>
                  <a:pt x="2822914" y="2092423"/>
                  <a:pt x="2923603" y="2109382"/>
                  <a:pt x="3004360" y="2088776"/>
                </a:cubicBezTo>
                <a:moveTo>
                  <a:pt x="1729786" y="2507761"/>
                </a:moveTo>
                <a:lnTo>
                  <a:pt x="2958782" y="2588330"/>
                </a:lnTo>
                <a:moveTo>
                  <a:pt x="1729786" y="2507761"/>
                </a:moveTo>
                <a:lnTo>
                  <a:pt x="434989" y="2422886"/>
                </a:lnTo>
                <a:moveTo>
                  <a:pt x="1475135" y="6385540"/>
                </a:moveTo>
                <a:lnTo>
                  <a:pt x="1443319" y="6869973"/>
                </a:lnTo>
                <a:lnTo>
                  <a:pt x="159142" y="6785789"/>
                </a:lnTo>
                <a:moveTo>
                  <a:pt x="1475135" y="6385540"/>
                </a:moveTo>
                <a:lnTo>
                  <a:pt x="1506961" y="5900650"/>
                </a:lnTo>
                <a:moveTo>
                  <a:pt x="1475135" y="6385540"/>
                </a:moveTo>
                <a:lnTo>
                  <a:pt x="190938" y="6301372"/>
                </a:lnTo>
                <a:moveTo>
                  <a:pt x="1857095" y="569070"/>
                </a:moveTo>
                <a:lnTo>
                  <a:pt x="1888954" y="84169"/>
                </a:lnTo>
                <a:moveTo>
                  <a:pt x="1857095" y="569070"/>
                </a:moveTo>
                <a:lnTo>
                  <a:pt x="3141266" y="653251"/>
                </a:lnTo>
                <a:lnTo>
                  <a:pt x="3173109" y="168350"/>
                </a:lnTo>
                <a:moveTo>
                  <a:pt x="1857095" y="569070"/>
                </a:moveTo>
                <a:lnTo>
                  <a:pt x="572924" y="484891"/>
                </a:lnTo>
                <a:moveTo>
                  <a:pt x="1379615" y="7839312"/>
                </a:moveTo>
                <a:lnTo>
                  <a:pt x="95437" y="7755128"/>
                </a:lnTo>
                <a:moveTo>
                  <a:pt x="1379615" y="7839312"/>
                </a:moveTo>
                <a:lnTo>
                  <a:pt x="2663793" y="7923495"/>
                </a:lnTo>
                <a:moveTo>
                  <a:pt x="1634272" y="3961989"/>
                </a:moveTo>
                <a:lnTo>
                  <a:pt x="2918475" y="4046173"/>
                </a:lnTo>
                <a:moveTo>
                  <a:pt x="1634272" y="3961989"/>
                </a:moveTo>
                <a:lnTo>
                  <a:pt x="350101" y="3877805"/>
                </a:lnTo>
                <a:moveTo>
                  <a:pt x="1506961" y="5900650"/>
                </a:moveTo>
                <a:lnTo>
                  <a:pt x="222779" y="5816467"/>
                </a:lnTo>
                <a:moveTo>
                  <a:pt x="1506961" y="5900650"/>
                </a:moveTo>
                <a:lnTo>
                  <a:pt x="2791118" y="5984834"/>
                </a:lnTo>
                <a:moveTo>
                  <a:pt x="1793441" y="1538407"/>
                </a:moveTo>
                <a:lnTo>
                  <a:pt x="1761597" y="2023296"/>
                </a:lnTo>
                <a:lnTo>
                  <a:pt x="477423" y="1939128"/>
                </a:lnTo>
                <a:moveTo>
                  <a:pt x="1347747" y="8324185"/>
                </a:moveTo>
                <a:lnTo>
                  <a:pt x="1315932" y="8808618"/>
                </a:lnTo>
                <a:lnTo>
                  <a:pt x="31754" y="8724434"/>
                </a:lnTo>
                <a:moveTo>
                  <a:pt x="2918475" y="4046173"/>
                </a:moveTo>
                <a:lnTo>
                  <a:pt x="2886663" y="4530606"/>
                </a:lnTo>
                <a:moveTo>
                  <a:pt x="2918475" y="4046173"/>
                </a:moveTo>
                <a:lnTo>
                  <a:pt x="2923446" y="3970272"/>
                </a:lnTo>
                <a:cubicBezTo>
                  <a:pt x="2936268" y="3774918"/>
                  <a:pt x="2932414" y="3696062"/>
                  <a:pt x="2934176" y="3571956"/>
                </a:cubicBezTo>
                <a:moveTo>
                  <a:pt x="2886663" y="4530606"/>
                </a:moveTo>
                <a:lnTo>
                  <a:pt x="3087240" y="4543731"/>
                </a:lnTo>
                <a:cubicBezTo>
                  <a:pt x="3444909" y="4575182"/>
                  <a:pt x="3702171" y="4829179"/>
                  <a:pt x="4154818" y="4858838"/>
                </a:cubicBezTo>
                <a:moveTo>
                  <a:pt x="2958782" y="2588330"/>
                </a:moveTo>
                <a:cubicBezTo>
                  <a:pt x="2969276" y="2428560"/>
                  <a:pt x="2978479" y="2288484"/>
                  <a:pt x="3003841" y="2088289"/>
                </a:cubicBezTo>
                <a:cubicBezTo>
                  <a:pt x="3030382" y="1960174"/>
                  <a:pt x="3042701" y="1772757"/>
                  <a:pt x="3062980" y="1609875"/>
                </a:cubicBezTo>
                <a:moveTo>
                  <a:pt x="2958782" y="2588330"/>
                </a:moveTo>
                <a:cubicBezTo>
                  <a:pt x="2949578" y="2728406"/>
                  <a:pt x="2947659" y="2895295"/>
                  <a:pt x="2938062" y="3089943"/>
                </a:cubicBezTo>
                <a:cubicBezTo>
                  <a:pt x="3368746" y="3299789"/>
                  <a:pt x="3715591" y="3698954"/>
                  <a:pt x="4229533" y="3720409"/>
                </a:cubicBezTo>
                <a:lnTo>
                  <a:pt x="4298128" y="2676113"/>
                </a:lnTo>
                <a:moveTo>
                  <a:pt x="2958782" y="2588330"/>
                </a:moveTo>
                <a:lnTo>
                  <a:pt x="4298128" y="2676113"/>
                </a:lnTo>
                <a:moveTo>
                  <a:pt x="3141329" y="653273"/>
                </a:moveTo>
                <a:lnTo>
                  <a:pt x="3109502" y="1137705"/>
                </a:lnTo>
                <a:moveTo>
                  <a:pt x="3109502" y="1137705"/>
                </a:moveTo>
                <a:cubicBezTo>
                  <a:pt x="3109502" y="1137705"/>
                  <a:pt x="3091236" y="1415528"/>
                  <a:pt x="3063043" y="1609891"/>
                </a:cubicBezTo>
                <a:cubicBezTo>
                  <a:pt x="3310976" y="1583784"/>
                  <a:pt x="3894456" y="1048938"/>
                  <a:pt x="4402830" y="1082261"/>
                </a:cubicBezTo>
                <a:moveTo>
                  <a:pt x="3109502" y="1137705"/>
                </a:moveTo>
                <a:lnTo>
                  <a:pt x="1825331" y="1053526"/>
                </a:lnTo>
                <a:moveTo>
                  <a:pt x="2938125" y="3089943"/>
                </a:moveTo>
                <a:cubicBezTo>
                  <a:pt x="2947360" y="3225115"/>
                  <a:pt x="2935057" y="3412516"/>
                  <a:pt x="2934176" y="3571956"/>
                </a:cubicBezTo>
                <a:moveTo>
                  <a:pt x="2934176" y="3571956"/>
                </a:moveTo>
                <a:cubicBezTo>
                  <a:pt x="3410281" y="3796089"/>
                  <a:pt x="3681781" y="4214289"/>
                  <a:pt x="4193489" y="4269945"/>
                </a:cubicBezTo>
                <a:lnTo>
                  <a:pt x="4229580" y="3720393"/>
                </a:lnTo>
                <a:moveTo>
                  <a:pt x="2854836" y="5015496"/>
                </a:moveTo>
                <a:lnTo>
                  <a:pt x="2823024" y="5499929"/>
                </a:lnTo>
                <a:moveTo>
                  <a:pt x="2854836" y="5015496"/>
                </a:moveTo>
                <a:lnTo>
                  <a:pt x="2886695" y="4530606"/>
                </a:lnTo>
                <a:moveTo>
                  <a:pt x="2854836" y="5015496"/>
                </a:moveTo>
                <a:lnTo>
                  <a:pt x="1570665" y="4931328"/>
                </a:lnTo>
                <a:moveTo>
                  <a:pt x="2823024" y="5499929"/>
                </a:moveTo>
                <a:lnTo>
                  <a:pt x="4107179" y="5584097"/>
                </a:lnTo>
                <a:moveTo>
                  <a:pt x="2823024" y="5499929"/>
                </a:moveTo>
                <a:lnTo>
                  <a:pt x="1538853" y="5415746"/>
                </a:lnTo>
                <a:moveTo>
                  <a:pt x="2663793" y="7923495"/>
                </a:moveTo>
                <a:lnTo>
                  <a:pt x="2695604" y="7439062"/>
                </a:lnTo>
                <a:lnTo>
                  <a:pt x="3979775" y="7523230"/>
                </a:lnTo>
                <a:moveTo>
                  <a:pt x="2663793" y="7923495"/>
                </a:moveTo>
                <a:lnTo>
                  <a:pt x="3947948" y="8007663"/>
                </a:lnTo>
                <a:lnTo>
                  <a:pt x="3979775" y="7523230"/>
                </a:lnTo>
                <a:moveTo>
                  <a:pt x="2568295" y="9377707"/>
                </a:moveTo>
                <a:lnTo>
                  <a:pt x="2600138" y="8892802"/>
                </a:lnTo>
                <a:lnTo>
                  <a:pt x="3884340" y="8976986"/>
                </a:lnTo>
                <a:lnTo>
                  <a:pt x="3916152" y="8492552"/>
                </a:lnTo>
                <a:moveTo>
                  <a:pt x="2568295" y="9377707"/>
                </a:moveTo>
                <a:lnTo>
                  <a:pt x="3852450" y="9461875"/>
                </a:lnTo>
                <a:lnTo>
                  <a:pt x="3884293" y="8976986"/>
                </a:lnTo>
                <a:moveTo>
                  <a:pt x="2822961" y="5499929"/>
                </a:moveTo>
                <a:lnTo>
                  <a:pt x="2791118" y="5984834"/>
                </a:lnTo>
                <a:moveTo>
                  <a:pt x="2791118" y="5984834"/>
                </a:moveTo>
                <a:lnTo>
                  <a:pt x="2759275" y="6469723"/>
                </a:lnTo>
                <a:moveTo>
                  <a:pt x="2791118" y="5984834"/>
                </a:moveTo>
                <a:lnTo>
                  <a:pt x="4075304" y="6069002"/>
                </a:lnTo>
                <a:moveTo>
                  <a:pt x="2759275" y="6469723"/>
                </a:moveTo>
                <a:lnTo>
                  <a:pt x="2727447" y="6954157"/>
                </a:lnTo>
                <a:moveTo>
                  <a:pt x="2759275" y="6469723"/>
                </a:moveTo>
                <a:lnTo>
                  <a:pt x="1475099" y="6385555"/>
                </a:lnTo>
                <a:moveTo>
                  <a:pt x="2759275" y="6469723"/>
                </a:moveTo>
                <a:lnTo>
                  <a:pt x="4043446" y="6553891"/>
                </a:lnTo>
                <a:moveTo>
                  <a:pt x="2727479" y="6954157"/>
                </a:moveTo>
                <a:lnTo>
                  <a:pt x="2695636" y="7439062"/>
                </a:lnTo>
                <a:lnTo>
                  <a:pt x="1411460" y="7354878"/>
                </a:lnTo>
                <a:moveTo>
                  <a:pt x="2727447" y="6954157"/>
                </a:moveTo>
                <a:lnTo>
                  <a:pt x="4011634" y="7038325"/>
                </a:lnTo>
                <a:moveTo>
                  <a:pt x="4298128" y="2676113"/>
                </a:moveTo>
                <a:lnTo>
                  <a:pt x="4366723" y="1631817"/>
                </a:lnTo>
                <a:moveTo>
                  <a:pt x="4043446" y="6553891"/>
                </a:moveTo>
                <a:lnTo>
                  <a:pt x="4011634" y="7038325"/>
                </a:lnTo>
                <a:moveTo>
                  <a:pt x="4043446" y="6553891"/>
                </a:moveTo>
                <a:lnTo>
                  <a:pt x="4075304" y="6069002"/>
                </a:lnTo>
                <a:moveTo>
                  <a:pt x="4011634" y="7038325"/>
                </a:moveTo>
                <a:lnTo>
                  <a:pt x="3979775" y="7523230"/>
                </a:lnTo>
                <a:moveTo>
                  <a:pt x="4457312" y="252523"/>
                </a:moveTo>
                <a:lnTo>
                  <a:pt x="4441500" y="493335"/>
                </a:lnTo>
                <a:moveTo>
                  <a:pt x="4441500" y="493335"/>
                </a:moveTo>
                <a:cubicBezTo>
                  <a:pt x="3970288" y="462446"/>
                  <a:pt x="3762176" y="693947"/>
                  <a:pt x="3341890" y="666397"/>
                </a:cubicBezTo>
                <a:lnTo>
                  <a:pt x="3141314" y="653248"/>
                </a:lnTo>
                <a:moveTo>
                  <a:pt x="4193505" y="4269945"/>
                </a:moveTo>
                <a:lnTo>
                  <a:pt x="4171904" y="4598837"/>
                </a:lnTo>
                <a:moveTo>
                  <a:pt x="4402830" y="1082261"/>
                </a:moveTo>
                <a:lnTo>
                  <a:pt x="4424415" y="753372"/>
                </a:lnTo>
                <a:cubicBezTo>
                  <a:pt x="4004680" y="725857"/>
                  <a:pt x="3684204" y="972102"/>
                  <a:pt x="3289752" y="1119395"/>
                </a:cubicBezTo>
                <a:cubicBezTo>
                  <a:pt x="3220355" y="1145431"/>
                  <a:pt x="3109439" y="1138162"/>
                  <a:pt x="3109439" y="1138162"/>
                </a:cubicBezTo>
                <a:moveTo>
                  <a:pt x="4366723" y="1631817"/>
                </a:moveTo>
                <a:cubicBezTo>
                  <a:pt x="3854086" y="1590684"/>
                  <a:pt x="3461082" y="1894286"/>
                  <a:pt x="3003872" y="2088273"/>
                </a:cubicBezTo>
                <a:moveTo>
                  <a:pt x="4402766" y="1082272"/>
                </a:moveTo>
                <a:lnTo>
                  <a:pt x="4366676" y="1631817"/>
                </a:lnTo>
                <a:moveTo>
                  <a:pt x="4107148" y="5584097"/>
                </a:moveTo>
                <a:lnTo>
                  <a:pt x="4075304" y="6069002"/>
                </a:lnTo>
                <a:moveTo>
                  <a:pt x="4136254" y="5141363"/>
                </a:moveTo>
                <a:lnTo>
                  <a:pt x="4107179" y="5584097"/>
                </a:lnTo>
                <a:moveTo>
                  <a:pt x="4136254" y="5141363"/>
                </a:moveTo>
                <a:lnTo>
                  <a:pt x="4154818" y="4858838"/>
                </a:lnTo>
                <a:moveTo>
                  <a:pt x="4136254" y="5141363"/>
                </a:moveTo>
                <a:cubicBezTo>
                  <a:pt x="4432360" y="5160774"/>
                  <a:pt x="4743963" y="5139303"/>
                  <a:pt x="4901023" y="5149598"/>
                </a:cubicBezTo>
                <a:lnTo>
                  <a:pt x="5423193" y="5183816"/>
                </a:lnTo>
                <a:moveTo>
                  <a:pt x="4136254" y="5141363"/>
                </a:moveTo>
                <a:cubicBezTo>
                  <a:pt x="3793987" y="5118934"/>
                  <a:pt x="3618063" y="5071136"/>
                  <a:pt x="3509586" y="5059317"/>
                </a:cubicBezTo>
                <a:cubicBezTo>
                  <a:pt x="3292143" y="5035174"/>
                  <a:pt x="3072923" y="5029751"/>
                  <a:pt x="2854836" y="5015464"/>
                </a:cubicBezTo>
                <a:moveTo>
                  <a:pt x="3948026" y="8007663"/>
                </a:moveTo>
                <a:lnTo>
                  <a:pt x="3916184" y="8492568"/>
                </a:lnTo>
                <a:moveTo>
                  <a:pt x="3916184" y="8492568"/>
                </a:moveTo>
                <a:lnTo>
                  <a:pt x="2632012" y="8408369"/>
                </a:lnTo>
                <a:lnTo>
                  <a:pt x="2600201" y="8892802"/>
                </a:lnTo>
                <a:lnTo>
                  <a:pt x="1316024" y="8808634"/>
                </a:lnTo>
                <a:moveTo>
                  <a:pt x="4154818" y="4858838"/>
                </a:moveTo>
                <a:lnTo>
                  <a:pt x="4171888" y="4598837"/>
                </a:lnTo>
                <a:moveTo>
                  <a:pt x="4441469" y="493350"/>
                </a:moveTo>
                <a:lnTo>
                  <a:pt x="4424383" y="753369"/>
                </a:lnTo>
                <a:moveTo>
                  <a:pt x="4171888" y="4598837"/>
                </a:moveTo>
                <a:cubicBezTo>
                  <a:pt x="4665409" y="4655184"/>
                  <a:pt x="5160991" y="4193149"/>
                  <a:pt x="5486817" y="4214493"/>
                </a:cubicBezTo>
                <a:moveTo>
                  <a:pt x="4171888" y="4598837"/>
                </a:moveTo>
                <a:cubicBezTo>
                  <a:pt x="3763308" y="4596055"/>
                  <a:pt x="3251726" y="4067989"/>
                  <a:pt x="2918475" y="4046141"/>
                </a:cubicBezTo>
                <a:moveTo>
                  <a:pt x="6516337" y="8176030"/>
                </a:moveTo>
                <a:lnTo>
                  <a:pt x="6484494" y="8660920"/>
                </a:lnTo>
                <a:lnTo>
                  <a:pt x="5200323" y="8576751"/>
                </a:lnTo>
                <a:moveTo>
                  <a:pt x="6516337" y="8176030"/>
                </a:moveTo>
                <a:lnTo>
                  <a:pt x="6548180" y="7691597"/>
                </a:lnTo>
                <a:lnTo>
                  <a:pt x="7832335" y="7775781"/>
                </a:lnTo>
                <a:moveTo>
                  <a:pt x="6516337" y="8176030"/>
                </a:moveTo>
                <a:lnTo>
                  <a:pt x="5232182" y="8091847"/>
                </a:lnTo>
                <a:moveTo>
                  <a:pt x="6516337" y="8176030"/>
                </a:moveTo>
                <a:lnTo>
                  <a:pt x="7800540" y="8260199"/>
                </a:lnTo>
                <a:moveTo>
                  <a:pt x="6484447" y="8660904"/>
                </a:moveTo>
                <a:lnTo>
                  <a:pt x="6452635" y="9145338"/>
                </a:lnTo>
                <a:lnTo>
                  <a:pt x="5168449" y="9061154"/>
                </a:lnTo>
                <a:moveTo>
                  <a:pt x="6707364" y="5268031"/>
                </a:moveTo>
                <a:lnTo>
                  <a:pt x="6675537" y="5752465"/>
                </a:lnTo>
                <a:moveTo>
                  <a:pt x="6675537" y="5752465"/>
                </a:moveTo>
                <a:lnTo>
                  <a:pt x="6643678" y="6237369"/>
                </a:lnTo>
                <a:moveTo>
                  <a:pt x="6675537" y="5752465"/>
                </a:moveTo>
                <a:lnTo>
                  <a:pt x="7959724" y="5836648"/>
                </a:lnTo>
                <a:moveTo>
                  <a:pt x="6675537" y="5752465"/>
                </a:moveTo>
                <a:lnTo>
                  <a:pt x="5391366" y="5668297"/>
                </a:lnTo>
                <a:moveTo>
                  <a:pt x="6739145" y="4783126"/>
                </a:moveTo>
                <a:lnTo>
                  <a:pt x="6707301" y="5268031"/>
                </a:lnTo>
                <a:lnTo>
                  <a:pt x="5423115" y="5183847"/>
                </a:lnTo>
                <a:moveTo>
                  <a:pt x="6771003" y="4298708"/>
                </a:moveTo>
                <a:lnTo>
                  <a:pt x="6802846" y="3813819"/>
                </a:lnTo>
                <a:lnTo>
                  <a:pt x="8087017" y="3897971"/>
                </a:lnTo>
                <a:lnTo>
                  <a:pt x="8118845" y="3413538"/>
                </a:lnTo>
                <a:moveTo>
                  <a:pt x="6771003" y="4298708"/>
                </a:moveTo>
                <a:lnTo>
                  <a:pt x="6739176" y="4783142"/>
                </a:lnTo>
                <a:moveTo>
                  <a:pt x="6962031" y="1390234"/>
                </a:moveTo>
                <a:lnTo>
                  <a:pt x="6930187" y="1875142"/>
                </a:lnTo>
                <a:moveTo>
                  <a:pt x="6962031" y="1390234"/>
                </a:moveTo>
                <a:lnTo>
                  <a:pt x="6993842" y="905794"/>
                </a:lnTo>
                <a:moveTo>
                  <a:pt x="6962031" y="1390234"/>
                </a:moveTo>
                <a:lnTo>
                  <a:pt x="5677875" y="1306052"/>
                </a:lnTo>
                <a:moveTo>
                  <a:pt x="6962031" y="1390234"/>
                </a:moveTo>
                <a:lnTo>
                  <a:pt x="8246217" y="1474414"/>
                </a:lnTo>
                <a:moveTo>
                  <a:pt x="6930187" y="1875142"/>
                </a:moveTo>
                <a:lnTo>
                  <a:pt x="8214374" y="1959310"/>
                </a:lnTo>
                <a:lnTo>
                  <a:pt x="8246217" y="1474414"/>
                </a:lnTo>
                <a:moveTo>
                  <a:pt x="7025685" y="420894"/>
                </a:moveTo>
                <a:lnTo>
                  <a:pt x="6993842" y="905794"/>
                </a:lnTo>
                <a:moveTo>
                  <a:pt x="6993842" y="905794"/>
                </a:moveTo>
                <a:lnTo>
                  <a:pt x="5709671" y="821615"/>
                </a:lnTo>
                <a:moveTo>
                  <a:pt x="6993842" y="905794"/>
                </a:moveTo>
                <a:lnTo>
                  <a:pt x="8278013" y="989967"/>
                </a:lnTo>
                <a:lnTo>
                  <a:pt x="8309856" y="505066"/>
                </a:lnTo>
                <a:moveTo>
                  <a:pt x="6739176" y="4783142"/>
                </a:moveTo>
                <a:lnTo>
                  <a:pt x="8023347" y="4867310"/>
                </a:lnTo>
                <a:moveTo>
                  <a:pt x="6611819" y="6722259"/>
                </a:moveTo>
                <a:lnTo>
                  <a:pt x="6579992" y="7206692"/>
                </a:lnTo>
                <a:moveTo>
                  <a:pt x="6611819" y="6722259"/>
                </a:moveTo>
                <a:lnTo>
                  <a:pt x="6643647" y="6237369"/>
                </a:lnTo>
                <a:moveTo>
                  <a:pt x="6611819" y="6722259"/>
                </a:moveTo>
                <a:lnTo>
                  <a:pt x="7895990" y="6806442"/>
                </a:lnTo>
                <a:moveTo>
                  <a:pt x="6579992" y="7206692"/>
                </a:moveTo>
                <a:lnTo>
                  <a:pt x="6548133" y="7691613"/>
                </a:lnTo>
                <a:lnTo>
                  <a:pt x="5263978" y="7607414"/>
                </a:lnTo>
                <a:lnTo>
                  <a:pt x="5232150" y="8091847"/>
                </a:lnTo>
                <a:lnTo>
                  <a:pt x="3947979" y="8007663"/>
                </a:lnTo>
                <a:moveTo>
                  <a:pt x="6643678" y="6237369"/>
                </a:moveTo>
                <a:lnTo>
                  <a:pt x="7927849" y="6321553"/>
                </a:lnTo>
                <a:moveTo>
                  <a:pt x="6898344" y="2360031"/>
                </a:moveTo>
                <a:lnTo>
                  <a:pt x="6866517" y="2844465"/>
                </a:lnTo>
                <a:moveTo>
                  <a:pt x="6866517" y="2844465"/>
                </a:moveTo>
                <a:lnTo>
                  <a:pt x="8150688" y="2928648"/>
                </a:lnTo>
                <a:moveTo>
                  <a:pt x="6866517" y="2844465"/>
                </a:moveTo>
                <a:lnTo>
                  <a:pt x="6802862" y="3813787"/>
                </a:lnTo>
                <a:moveTo>
                  <a:pt x="7832335" y="7775781"/>
                </a:moveTo>
                <a:lnTo>
                  <a:pt x="7864178" y="7290876"/>
                </a:lnTo>
                <a:moveTo>
                  <a:pt x="7832335" y="7775781"/>
                </a:moveTo>
                <a:lnTo>
                  <a:pt x="7800540" y="8260199"/>
                </a:lnTo>
                <a:moveTo>
                  <a:pt x="7832335" y="7775781"/>
                </a:moveTo>
                <a:lnTo>
                  <a:pt x="9116522" y="7859965"/>
                </a:lnTo>
                <a:moveTo>
                  <a:pt x="7864178" y="7290876"/>
                </a:moveTo>
                <a:lnTo>
                  <a:pt x="7895990" y="6806442"/>
                </a:lnTo>
                <a:moveTo>
                  <a:pt x="7864178" y="7290876"/>
                </a:moveTo>
                <a:lnTo>
                  <a:pt x="6580023" y="7206692"/>
                </a:lnTo>
                <a:moveTo>
                  <a:pt x="7864178" y="7290876"/>
                </a:moveTo>
                <a:lnTo>
                  <a:pt x="9148365" y="7375028"/>
                </a:lnTo>
                <a:lnTo>
                  <a:pt x="9180177" y="6890626"/>
                </a:lnTo>
                <a:moveTo>
                  <a:pt x="8023347" y="4867310"/>
                </a:moveTo>
                <a:lnTo>
                  <a:pt x="7991504" y="5352199"/>
                </a:lnTo>
                <a:lnTo>
                  <a:pt x="6707317" y="5268031"/>
                </a:lnTo>
                <a:moveTo>
                  <a:pt x="8023347" y="4867310"/>
                </a:moveTo>
                <a:lnTo>
                  <a:pt x="8055159" y="4382892"/>
                </a:lnTo>
                <a:moveTo>
                  <a:pt x="8023347" y="4867310"/>
                </a:moveTo>
                <a:lnTo>
                  <a:pt x="9307518" y="4951493"/>
                </a:lnTo>
                <a:lnTo>
                  <a:pt x="9339345" y="4467060"/>
                </a:lnTo>
                <a:moveTo>
                  <a:pt x="8150735" y="2928633"/>
                </a:moveTo>
                <a:lnTo>
                  <a:pt x="8118892" y="3413522"/>
                </a:lnTo>
                <a:moveTo>
                  <a:pt x="8118892" y="3413522"/>
                </a:moveTo>
                <a:lnTo>
                  <a:pt x="6834705" y="3329354"/>
                </a:lnTo>
                <a:moveTo>
                  <a:pt x="8118892" y="3413522"/>
                </a:moveTo>
                <a:lnTo>
                  <a:pt x="9403063" y="3497721"/>
                </a:lnTo>
                <a:moveTo>
                  <a:pt x="7927849" y="6321553"/>
                </a:moveTo>
                <a:lnTo>
                  <a:pt x="7895990" y="6806442"/>
                </a:lnTo>
                <a:moveTo>
                  <a:pt x="7927849" y="6321553"/>
                </a:moveTo>
                <a:lnTo>
                  <a:pt x="7959692" y="5836632"/>
                </a:lnTo>
                <a:moveTo>
                  <a:pt x="7895990" y="6806442"/>
                </a:moveTo>
                <a:lnTo>
                  <a:pt x="9180177" y="6890626"/>
                </a:lnTo>
                <a:moveTo>
                  <a:pt x="7736885" y="9229521"/>
                </a:moveTo>
                <a:lnTo>
                  <a:pt x="7705010" y="9714426"/>
                </a:lnTo>
                <a:moveTo>
                  <a:pt x="7736885" y="9229521"/>
                </a:moveTo>
                <a:lnTo>
                  <a:pt x="9021040" y="9313690"/>
                </a:lnTo>
                <a:moveTo>
                  <a:pt x="7736885" y="9229521"/>
                </a:moveTo>
                <a:lnTo>
                  <a:pt x="7800540" y="8260199"/>
                </a:lnTo>
                <a:moveTo>
                  <a:pt x="8087049" y="3897987"/>
                </a:moveTo>
                <a:lnTo>
                  <a:pt x="8055206" y="4382892"/>
                </a:lnTo>
                <a:moveTo>
                  <a:pt x="8055206" y="4382892"/>
                </a:moveTo>
                <a:lnTo>
                  <a:pt x="6771019" y="4298708"/>
                </a:lnTo>
                <a:moveTo>
                  <a:pt x="8055206" y="4382892"/>
                </a:moveTo>
                <a:lnTo>
                  <a:pt x="9339392" y="4467060"/>
                </a:lnTo>
                <a:moveTo>
                  <a:pt x="7959724" y="5836648"/>
                </a:moveTo>
                <a:lnTo>
                  <a:pt x="7991535" y="5352214"/>
                </a:lnTo>
                <a:lnTo>
                  <a:pt x="9275706" y="5436398"/>
                </a:lnTo>
                <a:moveTo>
                  <a:pt x="7959724" y="5836648"/>
                </a:moveTo>
                <a:lnTo>
                  <a:pt x="9243879" y="5920832"/>
                </a:lnTo>
                <a:moveTo>
                  <a:pt x="7705010" y="9714426"/>
                </a:moveTo>
                <a:lnTo>
                  <a:pt x="6420839" y="9630242"/>
                </a:lnTo>
                <a:moveTo>
                  <a:pt x="7705010" y="9714426"/>
                </a:moveTo>
                <a:lnTo>
                  <a:pt x="8989196" y="9798594"/>
                </a:lnTo>
                <a:lnTo>
                  <a:pt x="9021040" y="9313690"/>
                </a:lnTo>
                <a:moveTo>
                  <a:pt x="8246217" y="1474414"/>
                </a:moveTo>
                <a:lnTo>
                  <a:pt x="8278029" y="989981"/>
                </a:lnTo>
                <a:lnTo>
                  <a:pt x="9562184" y="1074155"/>
                </a:lnTo>
                <a:moveTo>
                  <a:pt x="7800540" y="8260199"/>
                </a:moveTo>
                <a:lnTo>
                  <a:pt x="9084726" y="8344382"/>
                </a:lnTo>
                <a:moveTo>
                  <a:pt x="8182500" y="2444199"/>
                </a:moveTo>
                <a:lnTo>
                  <a:pt x="8214343" y="1959294"/>
                </a:lnTo>
                <a:lnTo>
                  <a:pt x="9498529" y="2043493"/>
                </a:lnTo>
                <a:moveTo>
                  <a:pt x="8182500" y="2444199"/>
                </a:moveTo>
                <a:lnTo>
                  <a:pt x="8150688" y="2928648"/>
                </a:lnTo>
                <a:moveTo>
                  <a:pt x="8182500" y="2444199"/>
                </a:moveTo>
                <a:lnTo>
                  <a:pt x="9466686" y="2528399"/>
                </a:lnTo>
                <a:moveTo>
                  <a:pt x="8182500" y="2444199"/>
                </a:moveTo>
                <a:lnTo>
                  <a:pt x="6898329" y="2360015"/>
                </a:lnTo>
                <a:moveTo>
                  <a:pt x="8150688" y="2928648"/>
                </a:moveTo>
                <a:lnTo>
                  <a:pt x="9434859" y="3012832"/>
                </a:lnTo>
                <a:moveTo>
                  <a:pt x="9275706" y="5436398"/>
                </a:moveTo>
                <a:lnTo>
                  <a:pt x="9243879" y="5920832"/>
                </a:lnTo>
                <a:moveTo>
                  <a:pt x="9243879" y="5920832"/>
                </a:moveTo>
                <a:lnTo>
                  <a:pt x="9212035" y="6405721"/>
                </a:lnTo>
                <a:moveTo>
                  <a:pt x="9212035" y="6405721"/>
                </a:moveTo>
                <a:lnTo>
                  <a:pt x="9180177" y="6890626"/>
                </a:lnTo>
                <a:moveTo>
                  <a:pt x="9212035" y="6405721"/>
                </a:moveTo>
                <a:lnTo>
                  <a:pt x="7927865" y="6321538"/>
                </a:lnTo>
                <a:moveTo>
                  <a:pt x="9371235" y="3982171"/>
                </a:moveTo>
                <a:lnTo>
                  <a:pt x="9339392" y="4467060"/>
                </a:lnTo>
                <a:moveTo>
                  <a:pt x="9562184" y="1074155"/>
                </a:moveTo>
                <a:lnTo>
                  <a:pt x="9530372" y="1558589"/>
                </a:lnTo>
                <a:moveTo>
                  <a:pt x="9562184" y="1074155"/>
                </a:moveTo>
                <a:lnTo>
                  <a:pt x="9594027" y="589247"/>
                </a:lnTo>
                <a:moveTo>
                  <a:pt x="9530372" y="1558589"/>
                </a:moveTo>
                <a:lnTo>
                  <a:pt x="9498529" y="2043493"/>
                </a:lnTo>
                <a:moveTo>
                  <a:pt x="9530372" y="1558589"/>
                </a:moveTo>
                <a:lnTo>
                  <a:pt x="8246186" y="1474408"/>
                </a:lnTo>
                <a:moveTo>
                  <a:pt x="9116522" y="7859965"/>
                </a:moveTo>
                <a:lnTo>
                  <a:pt x="9084726" y="8344382"/>
                </a:lnTo>
                <a:moveTo>
                  <a:pt x="9403063" y="3497721"/>
                </a:moveTo>
                <a:lnTo>
                  <a:pt x="9371251" y="3982155"/>
                </a:lnTo>
                <a:moveTo>
                  <a:pt x="9403063" y="3497721"/>
                </a:moveTo>
                <a:lnTo>
                  <a:pt x="9434921" y="3012801"/>
                </a:lnTo>
                <a:moveTo>
                  <a:pt x="9371251" y="3982155"/>
                </a:moveTo>
                <a:lnTo>
                  <a:pt x="8087081" y="3897971"/>
                </a:lnTo>
                <a:moveTo>
                  <a:pt x="9498529" y="2043493"/>
                </a:moveTo>
                <a:lnTo>
                  <a:pt x="9466686" y="2528399"/>
                </a:lnTo>
                <a:moveTo>
                  <a:pt x="9466686" y="2528399"/>
                </a:moveTo>
                <a:lnTo>
                  <a:pt x="9434859" y="3012832"/>
                </a:lnTo>
                <a:moveTo>
                  <a:pt x="9021040" y="9313690"/>
                </a:moveTo>
                <a:lnTo>
                  <a:pt x="9052851" y="8829272"/>
                </a:lnTo>
                <a:moveTo>
                  <a:pt x="9084726" y="8344382"/>
                </a:moveTo>
                <a:lnTo>
                  <a:pt x="9052883" y="8829287"/>
                </a:lnTo>
                <a:moveTo>
                  <a:pt x="9052883" y="8829287"/>
                </a:moveTo>
                <a:lnTo>
                  <a:pt x="6484525" y="8660920"/>
                </a:lnTo>
                <a:moveTo>
                  <a:pt x="11589397" y="9482057"/>
                </a:moveTo>
                <a:lnTo>
                  <a:pt x="11621209" y="8997623"/>
                </a:lnTo>
                <a:moveTo>
                  <a:pt x="11589397" y="9482057"/>
                </a:moveTo>
                <a:lnTo>
                  <a:pt x="11557539" y="9966962"/>
                </a:lnTo>
                <a:lnTo>
                  <a:pt x="10273352" y="9882778"/>
                </a:lnTo>
                <a:moveTo>
                  <a:pt x="11589397" y="9482057"/>
                </a:moveTo>
                <a:lnTo>
                  <a:pt x="12873584" y="9566240"/>
                </a:lnTo>
                <a:moveTo>
                  <a:pt x="11589397" y="9482057"/>
                </a:moveTo>
                <a:lnTo>
                  <a:pt x="10305227" y="9397873"/>
                </a:lnTo>
                <a:moveTo>
                  <a:pt x="11621209" y="8997623"/>
                </a:moveTo>
                <a:lnTo>
                  <a:pt x="11653068" y="8512733"/>
                </a:lnTo>
                <a:moveTo>
                  <a:pt x="11621209" y="8997623"/>
                </a:moveTo>
                <a:lnTo>
                  <a:pt x="10337038" y="8913455"/>
                </a:lnTo>
                <a:moveTo>
                  <a:pt x="12098730" y="1726956"/>
                </a:moveTo>
                <a:lnTo>
                  <a:pt x="12066887" y="2211845"/>
                </a:lnTo>
                <a:moveTo>
                  <a:pt x="12098730" y="1726956"/>
                </a:moveTo>
                <a:lnTo>
                  <a:pt x="12130541" y="1242500"/>
                </a:lnTo>
                <a:moveTo>
                  <a:pt x="12098730" y="1726956"/>
                </a:moveTo>
                <a:lnTo>
                  <a:pt x="13382917" y="1811140"/>
                </a:lnTo>
                <a:moveTo>
                  <a:pt x="12066887" y="2211845"/>
                </a:moveTo>
                <a:lnTo>
                  <a:pt x="12035043" y="2696735"/>
                </a:lnTo>
                <a:moveTo>
                  <a:pt x="12066887" y="2211845"/>
                </a:moveTo>
                <a:lnTo>
                  <a:pt x="13351074" y="2296029"/>
                </a:lnTo>
                <a:lnTo>
                  <a:pt x="13382917" y="1811140"/>
                </a:lnTo>
                <a:moveTo>
                  <a:pt x="11684864" y="8028316"/>
                </a:moveTo>
                <a:lnTo>
                  <a:pt x="11700769" y="7786092"/>
                </a:lnTo>
                <a:cubicBezTo>
                  <a:pt x="11708731" y="7664751"/>
                  <a:pt x="11645721" y="7561345"/>
                  <a:pt x="11645721" y="7561345"/>
                </a:cubicBezTo>
                <a:moveTo>
                  <a:pt x="11684864" y="8028316"/>
                </a:moveTo>
                <a:lnTo>
                  <a:pt x="11653068" y="8512733"/>
                </a:lnTo>
                <a:moveTo>
                  <a:pt x="12162401" y="757600"/>
                </a:moveTo>
                <a:lnTo>
                  <a:pt x="12130541" y="1242500"/>
                </a:lnTo>
                <a:moveTo>
                  <a:pt x="12130541" y="1242500"/>
                </a:moveTo>
                <a:lnTo>
                  <a:pt x="13414713" y="1326681"/>
                </a:lnTo>
                <a:moveTo>
                  <a:pt x="11971389" y="3666073"/>
                </a:moveTo>
                <a:lnTo>
                  <a:pt x="11939593" y="4150506"/>
                </a:lnTo>
                <a:moveTo>
                  <a:pt x="11971389" y="3666073"/>
                </a:moveTo>
                <a:lnTo>
                  <a:pt x="10687203" y="3581889"/>
                </a:lnTo>
                <a:moveTo>
                  <a:pt x="11971389" y="3666073"/>
                </a:moveTo>
                <a:lnTo>
                  <a:pt x="12035043" y="2696750"/>
                </a:lnTo>
                <a:moveTo>
                  <a:pt x="11939562" y="4150506"/>
                </a:moveTo>
                <a:lnTo>
                  <a:pt x="11923656" y="4392731"/>
                </a:lnTo>
                <a:cubicBezTo>
                  <a:pt x="11915679" y="4514071"/>
                  <a:pt x="11839674" y="4608362"/>
                  <a:pt x="11839674" y="4608362"/>
                </a:cubicBezTo>
                <a:moveTo>
                  <a:pt x="11939593" y="4150506"/>
                </a:moveTo>
                <a:lnTo>
                  <a:pt x="12272294" y="4172322"/>
                </a:lnTo>
                <a:cubicBezTo>
                  <a:pt x="12530610" y="4182665"/>
                  <a:pt x="12814744" y="4213990"/>
                  <a:pt x="13140632" y="4177462"/>
                </a:cubicBezTo>
                <a:moveTo>
                  <a:pt x="11123456" y="6044043"/>
                </a:moveTo>
                <a:cubicBezTo>
                  <a:pt x="11111908" y="6219734"/>
                  <a:pt x="11124101" y="6399324"/>
                  <a:pt x="11191500" y="6598074"/>
                </a:cubicBezTo>
                <a:cubicBezTo>
                  <a:pt x="10929801" y="6549836"/>
                  <a:pt x="10727667" y="6511642"/>
                  <a:pt x="10491927" y="6490078"/>
                </a:cubicBezTo>
                <a:moveTo>
                  <a:pt x="11123456" y="6044043"/>
                </a:moveTo>
                <a:lnTo>
                  <a:pt x="11503937" y="6068971"/>
                </a:lnTo>
                <a:moveTo>
                  <a:pt x="11646287" y="7561361"/>
                </a:moveTo>
                <a:cubicBezTo>
                  <a:pt x="11572296" y="7413945"/>
                  <a:pt x="11506029" y="7278805"/>
                  <a:pt x="11412797" y="7108001"/>
                </a:cubicBezTo>
                <a:cubicBezTo>
                  <a:pt x="11288272" y="7064542"/>
                  <a:pt x="11223674" y="7057956"/>
                  <a:pt x="11130048" y="7039111"/>
                </a:cubicBezTo>
                <a:cubicBezTo>
                  <a:pt x="11036422" y="7020281"/>
                  <a:pt x="10940909" y="7014009"/>
                  <a:pt x="10846071" y="7005444"/>
                </a:cubicBezTo>
                <a:cubicBezTo>
                  <a:pt x="10718935" y="6993813"/>
                  <a:pt x="10591736" y="6983124"/>
                  <a:pt x="10464379" y="6974779"/>
                </a:cubicBezTo>
                <a:moveTo>
                  <a:pt x="11191531" y="6598058"/>
                </a:moveTo>
                <a:cubicBezTo>
                  <a:pt x="11264594" y="6808470"/>
                  <a:pt x="11334700" y="6974448"/>
                  <a:pt x="11412813" y="7107545"/>
                </a:cubicBezTo>
                <a:cubicBezTo>
                  <a:pt x="11640780" y="7182723"/>
                  <a:pt x="11842978" y="7251959"/>
                  <a:pt x="12088126" y="7357425"/>
                </a:cubicBezTo>
                <a:moveTo>
                  <a:pt x="12035043" y="2696735"/>
                </a:moveTo>
                <a:lnTo>
                  <a:pt x="13319230" y="2780918"/>
                </a:lnTo>
                <a:moveTo>
                  <a:pt x="11840162" y="4608393"/>
                </a:moveTo>
                <a:cubicBezTo>
                  <a:pt x="11747654" y="4742999"/>
                  <a:pt x="11684817" y="4864040"/>
                  <a:pt x="11549389" y="5027378"/>
                </a:cubicBezTo>
                <a:moveTo>
                  <a:pt x="11263368" y="5504110"/>
                </a:moveTo>
                <a:cubicBezTo>
                  <a:pt x="11162599" y="5699826"/>
                  <a:pt x="11137694" y="5827595"/>
                  <a:pt x="11123440" y="6044498"/>
                </a:cubicBezTo>
                <a:moveTo>
                  <a:pt x="11549436" y="5027394"/>
                </a:moveTo>
                <a:cubicBezTo>
                  <a:pt x="11442658" y="5168130"/>
                  <a:pt x="11370523" y="5300802"/>
                  <a:pt x="11263415" y="5503623"/>
                </a:cubicBezTo>
                <a:cubicBezTo>
                  <a:pt x="11433156" y="5475237"/>
                  <a:pt x="11595439" y="5438819"/>
                  <a:pt x="11752593" y="5391241"/>
                </a:cubicBezTo>
                <a:cubicBezTo>
                  <a:pt x="11916859" y="5154046"/>
                  <a:pt x="12064763" y="5019771"/>
                  <a:pt x="12251684" y="4867812"/>
                </a:cubicBezTo>
                <a:cubicBezTo>
                  <a:pt x="12599850" y="4751832"/>
                  <a:pt x="12974384" y="4729325"/>
                  <a:pt x="13275399" y="4617321"/>
                </a:cubicBezTo>
                <a:moveTo>
                  <a:pt x="13140664" y="4177494"/>
                </a:moveTo>
                <a:cubicBezTo>
                  <a:pt x="13039628" y="4287564"/>
                  <a:pt x="12912711" y="4402508"/>
                  <a:pt x="12761818" y="4492837"/>
                </a:cubicBezTo>
                <a:moveTo>
                  <a:pt x="11661721" y="6773813"/>
                </a:moveTo>
                <a:cubicBezTo>
                  <a:pt x="11570550" y="6612094"/>
                  <a:pt x="11483815" y="6325970"/>
                  <a:pt x="11503858" y="6069442"/>
                </a:cubicBezTo>
                <a:moveTo>
                  <a:pt x="12905427" y="9081823"/>
                </a:moveTo>
                <a:lnTo>
                  <a:pt x="12937271" y="8596917"/>
                </a:lnTo>
                <a:moveTo>
                  <a:pt x="12905427" y="9081823"/>
                </a:moveTo>
                <a:lnTo>
                  <a:pt x="14190133" y="9166037"/>
                </a:lnTo>
                <a:moveTo>
                  <a:pt x="12905427" y="9081823"/>
                </a:moveTo>
                <a:lnTo>
                  <a:pt x="11621240" y="8997639"/>
                </a:lnTo>
                <a:moveTo>
                  <a:pt x="12251620" y="4868269"/>
                </a:moveTo>
                <a:cubicBezTo>
                  <a:pt x="12427576" y="4720774"/>
                  <a:pt x="12519944" y="4653424"/>
                  <a:pt x="12762275" y="4493340"/>
                </a:cubicBezTo>
                <a:moveTo>
                  <a:pt x="11503937" y="6068971"/>
                </a:moveTo>
                <a:cubicBezTo>
                  <a:pt x="11514651" y="5857002"/>
                  <a:pt x="11607427" y="5604766"/>
                  <a:pt x="11752562" y="5391257"/>
                </a:cubicBezTo>
                <a:moveTo>
                  <a:pt x="11503937" y="6068971"/>
                </a:moveTo>
                <a:lnTo>
                  <a:pt x="11995302" y="6101176"/>
                </a:lnTo>
                <a:moveTo>
                  <a:pt x="13319215" y="2780934"/>
                </a:moveTo>
                <a:lnTo>
                  <a:pt x="13287403" y="3265368"/>
                </a:lnTo>
                <a:lnTo>
                  <a:pt x="10719045" y="3097000"/>
                </a:lnTo>
                <a:moveTo>
                  <a:pt x="12879185" y="8157877"/>
                </a:moveTo>
                <a:cubicBezTo>
                  <a:pt x="12879185" y="8157877"/>
                  <a:pt x="12961074" y="8233353"/>
                  <a:pt x="12953113" y="8354693"/>
                </a:cubicBezTo>
                <a:lnTo>
                  <a:pt x="12937192" y="8596917"/>
                </a:lnTo>
                <a:lnTo>
                  <a:pt x="11653021" y="8512733"/>
                </a:lnTo>
                <a:moveTo>
                  <a:pt x="13351074" y="2296013"/>
                </a:moveTo>
                <a:lnTo>
                  <a:pt x="13319230" y="2780918"/>
                </a:lnTo>
                <a:moveTo>
                  <a:pt x="13319230" y="2780918"/>
                </a:moveTo>
                <a:lnTo>
                  <a:pt x="14603952" y="2865118"/>
                </a:lnTo>
                <a:lnTo>
                  <a:pt x="14635795" y="2380244"/>
                </a:lnTo>
                <a:moveTo>
                  <a:pt x="13382917" y="1811140"/>
                </a:moveTo>
                <a:lnTo>
                  <a:pt x="13414713" y="1326681"/>
                </a:lnTo>
                <a:moveTo>
                  <a:pt x="13382917" y="1811140"/>
                </a:moveTo>
                <a:lnTo>
                  <a:pt x="14667607" y="1895339"/>
                </a:lnTo>
                <a:moveTo>
                  <a:pt x="13287451" y="3265336"/>
                </a:moveTo>
                <a:lnTo>
                  <a:pt x="13255607" y="3750241"/>
                </a:lnTo>
                <a:lnTo>
                  <a:pt x="11971436" y="3666057"/>
                </a:lnTo>
                <a:moveTo>
                  <a:pt x="13140585" y="4177934"/>
                </a:moveTo>
                <a:cubicBezTo>
                  <a:pt x="13140585" y="4177934"/>
                  <a:pt x="13231646" y="4113806"/>
                  <a:pt x="13239622" y="3992450"/>
                </a:cubicBezTo>
                <a:lnTo>
                  <a:pt x="13255529" y="3750241"/>
                </a:lnTo>
                <a:cubicBezTo>
                  <a:pt x="13572324" y="3771004"/>
                  <a:pt x="13888977" y="3794140"/>
                  <a:pt x="14206023" y="3811147"/>
                </a:cubicBezTo>
                <a:cubicBezTo>
                  <a:pt x="14394565" y="3821143"/>
                  <a:pt x="14533910" y="3825576"/>
                  <a:pt x="14533910" y="3825576"/>
                </a:cubicBezTo>
                <a:cubicBezTo>
                  <a:pt x="14515550" y="3983412"/>
                  <a:pt x="14406348" y="4023304"/>
                  <a:pt x="14311810" y="4099440"/>
                </a:cubicBezTo>
                <a:moveTo>
                  <a:pt x="12544864" y="7795774"/>
                </a:moveTo>
                <a:cubicBezTo>
                  <a:pt x="12713283" y="7957854"/>
                  <a:pt x="12784505" y="8017566"/>
                  <a:pt x="12879217" y="8157877"/>
                </a:cubicBezTo>
                <a:cubicBezTo>
                  <a:pt x="13224252" y="8227538"/>
                  <a:pt x="13645685" y="8302212"/>
                  <a:pt x="14029580" y="8388549"/>
                </a:cubicBezTo>
                <a:moveTo>
                  <a:pt x="12545383" y="7795805"/>
                </a:moveTo>
                <a:cubicBezTo>
                  <a:pt x="12356071" y="7635187"/>
                  <a:pt x="12267920" y="7549416"/>
                  <a:pt x="12088126" y="7357425"/>
                </a:cubicBezTo>
                <a:moveTo>
                  <a:pt x="12088126" y="7357425"/>
                </a:moveTo>
                <a:cubicBezTo>
                  <a:pt x="11960581" y="7246489"/>
                  <a:pt x="11789393" y="7005192"/>
                  <a:pt x="11661799" y="6773325"/>
                </a:cubicBezTo>
                <a:moveTo>
                  <a:pt x="12088126" y="7357425"/>
                </a:moveTo>
                <a:cubicBezTo>
                  <a:pt x="12418262" y="7515984"/>
                  <a:pt x="12786661" y="7587185"/>
                  <a:pt x="13070307" y="7739410"/>
                </a:cubicBezTo>
                <a:moveTo>
                  <a:pt x="12873584" y="9566240"/>
                </a:moveTo>
                <a:lnTo>
                  <a:pt x="12905396" y="9081806"/>
                </a:lnTo>
                <a:moveTo>
                  <a:pt x="12873584" y="9566240"/>
                </a:moveTo>
                <a:lnTo>
                  <a:pt x="14158290" y="9650455"/>
                </a:lnTo>
                <a:moveTo>
                  <a:pt x="12873631" y="9566240"/>
                </a:moveTo>
                <a:lnTo>
                  <a:pt x="12841773" y="10051145"/>
                </a:lnTo>
                <a:lnTo>
                  <a:pt x="11557601" y="9966962"/>
                </a:lnTo>
                <a:moveTo>
                  <a:pt x="13446556" y="841781"/>
                </a:moveTo>
                <a:lnTo>
                  <a:pt x="13414713" y="1326681"/>
                </a:lnTo>
                <a:moveTo>
                  <a:pt x="14190133" y="9166037"/>
                </a:moveTo>
                <a:lnTo>
                  <a:pt x="14206039" y="8923813"/>
                </a:lnTo>
                <a:cubicBezTo>
                  <a:pt x="14214000" y="8802473"/>
                  <a:pt x="14214503" y="8689589"/>
                  <a:pt x="14214503" y="8689589"/>
                </a:cubicBezTo>
                <a:moveTo>
                  <a:pt x="14190133" y="9166037"/>
                </a:moveTo>
                <a:lnTo>
                  <a:pt x="14158290" y="9650455"/>
                </a:lnTo>
                <a:moveTo>
                  <a:pt x="14190133" y="9166037"/>
                </a:moveTo>
                <a:lnTo>
                  <a:pt x="15474273" y="9250206"/>
                </a:lnTo>
                <a:moveTo>
                  <a:pt x="14603889" y="2865133"/>
                </a:moveTo>
                <a:lnTo>
                  <a:pt x="14572062" y="3349567"/>
                </a:lnTo>
                <a:moveTo>
                  <a:pt x="14572062" y="3349567"/>
                </a:moveTo>
                <a:lnTo>
                  <a:pt x="13287355" y="3265352"/>
                </a:lnTo>
                <a:moveTo>
                  <a:pt x="14572062" y="3349567"/>
                </a:moveTo>
                <a:lnTo>
                  <a:pt x="15856264" y="3433766"/>
                </a:lnTo>
                <a:moveTo>
                  <a:pt x="14731277" y="925990"/>
                </a:moveTo>
                <a:lnTo>
                  <a:pt x="14699434" y="1410890"/>
                </a:lnTo>
                <a:moveTo>
                  <a:pt x="14699434" y="1410890"/>
                </a:moveTo>
                <a:lnTo>
                  <a:pt x="14667607" y="1895339"/>
                </a:lnTo>
                <a:moveTo>
                  <a:pt x="14699434" y="1410890"/>
                </a:moveTo>
                <a:lnTo>
                  <a:pt x="15983542" y="1495075"/>
                </a:lnTo>
                <a:moveTo>
                  <a:pt x="14699434" y="1410890"/>
                </a:moveTo>
                <a:lnTo>
                  <a:pt x="13414728" y="1326676"/>
                </a:lnTo>
                <a:moveTo>
                  <a:pt x="14029580" y="8388549"/>
                </a:moveTo>
                <a:cubicBezTo>
                  <a:pt x="13853232" y="8290408"/>
                  <a:pt x="13815819" y="8235255"/>
                  <a:pt x="13647070" y="8118803"/>
                </a:cubicBezTo>
                <a:moveTo>
                  <a:pt x="14029580" y="8388549"/>
                </a:moveTo>
                <a:cubicBezTo>
                  <a:pt x="14485484" y="8498415"/>
                  <a:pt x="14918922" y="8536719"/>
                  <a:pt x="15397386" y="8603361"/>
                </a:cubicBezTo>
                <a:moveTo>
                  <a:pt x="14126447" y="10135345"/>
                </a:moveTo>
                <a:lnTo>
                  <a:pt x="14158290" y="9650455"/>
                </a:lnTo>
                <a:moveTo>
                  <a:pt x="14126447" y="10135345"/>
                </a:moveTo>
                <a:lnTo>
                  <a:pt x="15410602" y="10219528"/>
                </a:lnTo>
                <a:moveTo>
                  <a:pt x="14126447" y="10135345"/>
                </a:moveTo>
                <a:lnTo>
                  <a:pt x="12841741" y="10051145"/>
                </a:lnTo>
                <a:moveTo>
                  <a:pt x="14158290" y="9650455"/>
                </a:moveTo>
                <a:lnTo>
                  <a:pt x="15442445" y="9734623"/>
                </a:lnTo>
                <a:moveTo>
                  <a:pt x="14667607" y="1895339"/>
                </a:moveTo>
                <a:lnTo>
                  <a:pt x="15951762" y="1979523"/>
                </a:lnTo>
                <a:moveTo>
                  <a:pt x="14667638" y="1895339"/>
                </a:moveTo>
                <a:lnTo>
                  <a:pt x="14635795" y="2380244"/>
                </a:lnTo>
                <a:moveTo>
                  <a:pt x="14635795" y="2380244"/>
                </a:moveTo>
                <a:lnTo>
                  <a:pt x="13351089" y="2296029"/>
                </a:lnTo>
                <a:moveTo>
                  <a:pt x="14030052" y="8388596"/>
                </a:moveTo>
                <a:cubicBezTo>
                  <a:pt x="14113971" y="8474084"/>
                  <a:pt x="14217020" y="8527885"/>
                  <a:pt x="14214425" y="8689101"/>
                </a:cubicBezTo>
                <a:lnTo>
                  <a:pt x="12937176" y="8596886"/>
                </a:lnTo>
                <a:moveTo>
                  <a:pt x="14572109" y="3349551"/>
                </a:moveTo>
                <a:lnTo>
                  <a:pt x="14556188" y="3591776"/>
                </a:lnTo>
                <a:cubicBezTo>
                  <a:pt x="14548226" y="3713116"/>
                  <a:pt x="14533957" y="3825104"/>
                  <a:pt x="14533957" y="3825104"/>
                </a:cubicBezTo>
                <a:cubicBezTo>
                  <a:pt x="14972806" y="3853867"/>
                  <a:pt x="15465950" y="3842896"/>
                  <a:pt x="15812999" y="3865656"/>
                </a:cubicBezTo>
                <a:cubicBezTo>
                  <a:pt x="15778701" y="3966909"/>
                  <a:pt x="15751169" y="4019217"/>
                  <a:pt x="15695947" y="4065002"/>
                </a:cubicBezTo>
                <a:cubicBezTo>
                  <a:pt x="15202331" y="4075471"/>
                  <a:pt x="14777830" y="4047650"/>
                  <a:pt x="14311842" y="4099440"/>
                </a:cubicBezTo>
                <a:moveTo>
                  <a:pt x="11994799" y="6101616"/>
                </a:moveTo>
                <a:cubicBezTo>
                  <a:pt x="11996514" y="6505434"/>
                  <a:pt x="12175899" y="6898312"/>
                  <a:pt x="12359705" y="7093871"/>
                </a:cubicBezTo>
                <a:cubicBezTo>
                  <a:pt x="12590882" y="7371570"/>
                  <a:pt x="12830634" y="7583491"/>
                  <a:pt x="13070307" y="7739882"/>
                </a:cubicBezTo>
                <a:moveTo>
                  <a:pt x="12486354" y="5165033"/>
                </a:moveTo>
                <a:cubicBezTo>
                  <a:pt x="12743631" y="4996509"/>
                  <a:pt x="12974353" y="4729325"/>
                  <a:pt x="13275368" y="4617305"/>
                </a:cubicBezTo>
                <a:moveTo>
                  <a:pt x="12486354" y="5165033"/>
                </a:moveTo>
                <a:cubicBezTo>
                  <a:pt x="12200427" y="5250270"/>
                  <a:pt x="12017722" y="5305581"/>
                  <a:pt x="11752027" y="5391210"/>
                </a:cubicBezTo>
                <a:moveTo>
                  <a:pt x="13275368" y="4617305"/>
                </a:moveTo>
                <a:cubicBezTo>
                  <a:pt x="13537900" y="4498542"/>
                  <a:pt x="13688809" y="4399741"/>
                  <a:pt x="13897330" y="4316485"/>
                </a:cubicBezTo>
                <a:moveTo>
                  <a:pt x="13275368" y="4617305"/>
                </a:moveTo>
                <a:cubicBezTo>
                  <a:pt x="13894924" y="4507360"/>
                  <a:pt x="14487875" y="4405070"/>
                  <a:pt x="15121623" y="4395796"/>
                </a:cubicBezTo>
                <a:moveTo>
                  <a:pt x="11995302" y="6101176"/>
                </a:moveTo>
                <a:cubicBezTo>
                  <a:pt x="12001470" y="5747749"/>
                  <a:pt x="12143206" y="5463904"/>
                  <a:pt x="12486872" y="5165065"/>
                </a:cubicBezTo>
                <a:moveTo>
                  <a:pt x="11995302" y="6101176"/>
                </a:moveTo>
                <a:lnTo>
                  <a:pt x="13443441" y="6196111"/>
                </a:lnTo>
                <a:cubicBezTo>
                  <a:pt x="13446524" y="5654276"/>
                  <a:pt x="13907966" y="5119892"/>
                  <a:pt x="14385691" y="4808195"/>
                </a:cubicBezTo>
                <a:cubicBezTo>
                  <a:pt x="14631658" y="4649762"/>
                  <a:pt x="14853191" y="4523109"/>
                  <a:pt x="15121623" y="4395796"/>
                </a:cubicBezTo>
                <a:moveTo>
                  <a:pt x="13897330" y="4316485"/>
                </a:moveTo>
                <a:cubicBezTo>
                  <a:pt x="14036660" y="4247972"/>
                  <a:pt x="14196395" y="4169053"/>
                  <a:pt x="14311857" y="4098984"/>
                </a:cubicBezTo>
                <a:moveTo>
                  <a:pt x="13897330" y="4316485"/>
                </a:moveTo>
                <a:cubicBezTo>
                  <a:pt x="13516346" y="4372440"/>
                  <a:pt x="13124175" y="4436143"/>
                  <a:pt x="12762306" y="4492884"/>
                </a:cubicBezTo>
                <a:cubicBezTo>
                  <a:pt x="12452922" y="4553994"/>
                  <a:pt x="12164493" y="4596259"/>
                  <a:pt x="11840209" y="4608409"/>
                </a:cubicBezTo>
                <a:moveTo>
                  <a:pt x="13647557" y="8119305"/>
                </a:moveTo>
                <a:cubicBezTo>
                  <a:pt x="13451842" y="8007663"/>
                  <a:pt x="13301877" y="7856679"/>
                  <a:pt x="13070260" y="7739866"/>
                </a:cubicBezTo>
                <a:moveTo>
                  <a:pt x="15121623" y="4395796"/>
                </a:moveTo>
                <a:cubicBezTo>
                  <a:pt x="15226041" y="4347590"/>
                  <a:pt x="15383117" y="4260483"/>
                  <a:pt x="15490320" y="4210579"/>
                </a:cubicBezTo>
                <a:moveTo>
                  <a:pt x="15121623" y="4395796"/>
                </a:moveTo>
                <a:cubicBezTo>
                  <a:pt x="15831092" y="4353814"/>
                  <a:pt x="16956456" y="4396063"/>
                  <a:pt x="17654676" y="4542536"/>
                </a:cubicBezTo>
                <a:moveTo>
                  <a:pt x="15489786" y="4210564"/>
                </a:moveTo>
                <a:cubicBezTo>
                  <a:pt x="15577951" y="4166460"/>
                  <a:pt x="15633000" y="4123488"/>
                  <a:pt x="15695475" y="4065002"/>
                </a:cubicBezTo>
                <a:moveTo>
                  <a:pt x="14871157" y="8200471"/>
                </a:moveTo>
                <a:cubicBezTo>
                  <a:pt x="15024268" y="8279201"/>
                  <a:pt x="15115456" y="8359518"/>
                  <a:pt x="15212479" y="8432228"/>
                </a:cubicBezTo>
                <a:cubicBezTo>
                  <a:pt x="15913846" y="8512090"/>
                  <a:pt x="16415407" y="8544954"/>
                  <a:pt x="17080274" y="8565010"/>
                </a:cubicBezTo>
                <a:moveTo>
                  <a:pt x="14196065" y="7695574"/>
                </a:moveTo>
                <a:cubicBezTo>
                  <a:pt x="13763350" y="7321840"/>
                  <a:pt x="13372675" y="6778653"/>
                  <a:pt x="13443425" y="6196566"/>
                </a:cubicBezTo>
                <a:moveTo>
                  <a:pt x="14196065" y="7695574"/>
                </a:moveTo>
                <a:cubicBezTo>
                  <a:pt x="13503084" y="7535804"/>
                  <a:pt x="12931371" y="7371759"/>
                  <a:pt x="12359657" y="7093855"/>
                </a:cubicBezTo>
                <a:moveTo>
                  <a:pt x="14196065" y="7695574"/>
                </a:moveTo>
                <a:cubicBezTo>
                  <a:pt x="15477577" y="7998830"/>
                  <a:pt x="16804162" y="8085796"/>
                  <a:pt x="18066716" y="7989289"/>
                </a:cubicBezTo>
                <a:moveTo>
                  <a:pt x="14196048" y="7695558"/>
                </a:moveTo>
                <a:cubicBezTo>
                  <a:pt x="14419296" y="7882865"/>
                  <a:pt x="14622328" y="8037338"/>
                  <a:pt x="14871692" y="8200488"/>
                </a:cubicBezTo>
                <a:cubicBezTo>
                  <a:pt x="14049246" y="8088704"/>
                  <a:pt x="13586499" y="7944966"/>
                  <a:pt x="13070244" y="7739850"/>
                </a:cubicBezTo>
                <a:moveTo>
                  <a:pt x="15397921" y="8603409"/>
                </a:moveTo>
                <a:cubicBezTo>
                  <a:pt x="15328839" y="8519351"/>
                  <a:pt x="15293676" y="8494942"/>
                  <a:pt x="15213046" y="8432244"/>
                </a:cubicBezTo>
                <a:moveTo>
                  <a:pt x="15397921" y="8603409"/>
                </a:moveTo>
                <a:cubicBezTo>
                  <a:pt x="15397921" y="8603409"/>
                  <a:pt x="15483130" y="8693220"/>
                  <a:pt x="15487834" y="8816336"/>
                </a:cubicBezTo>
                <a:lnTo>
                  <a:pt x="14214487" y="8689086"/>
                </a:lnTo>
                <a:moveTo>
                  <a:pt x="15397921" y="8603409"/>
                </a:moveTo>
                <a:cubicBezTo>
                  <a:pt x="15872626" y="8661831"/>
                  <a:pt x="16402820" y="8688582"/>
                  <a:pt x="16902492" y="8707695"/>
                </a:cubicBezTo>
                <a:moveTo>
                  <a:pt x="15410602" y="10219528"/>
                </a:moveTo>
                <a:lnTo>
                  <a:pt x="15442445" y="9734623"/>
                </a:lnTo>
                <a:moveTo>
                  <a:pt x="15442445" y="9734623"/>
                </a:moveTo>
                <a:lnTo>
                  <a:pt x="15474273" y="9250206"/>
                </a:lnTo>
                <a:moveTo>
                  <a:pt x="15474273" y="9250206"/>
                </a:moveTo>
                <a:cubicBezTo>
                  <a:pt x="15483759" y="9105917"/>
                  <a:pt x="15498060" y="8960986"/>
                  <a:pt x="15487866" y="8816336"/>
                </a:cubicBezTo>
                <a:moveTo>
                  <a:pt x="15888044" y="2949333"/>
                </a:moveTo>
                <a:lnTo>
                  <a:pt x="15856264" y="3433766"/>
                </a:lnTo>
                <a:moveTo>
                  <a:pt x="15856264" y="3433766"/>
                </a:moveTo>
                <a:cubicBezTo>
                  <a:pt x="15846824" y="3578054"/>
                  <a:pt x="15842576" y="3723631"/>
                  <a:pt x="15812999" y="3865671"/>
                </a:cubicBezTo>
                <a:lnTo>
                  <a:pt x="17124954" y="3949352"/>
                </a:lnTo>
                <a:moveTo>
                  <a:pt x="15919982" y="2464396"/>
                </a:moveTo>
                <a:lnTo>
                  <a:pt x="15888044" y="2949301"/>
                </a:lnTo>
                <a:lnTo>
                  <a:pt x="14603921" y="2865118"/>
                </a:lnTo>
                <a:moveTo>
                  <a:pt x="15919982" y="2464396"/>
                </a:moveTo>
                <a:lnTo>
                  <a:pt x="15951762" y="1979523"/>
                </a:lnTo>
                <a:moveTo>
                  <a:pt x="15919982" y="2464396"/>
                </a:moveTo>
                <a:lnTo>
                  <a:pt x="14635747" y="2380244"/>
                </a:lnTo>
                <a:moveTo>
                  <a:pt x="16015479" y="1010175"/>
                </a:moveTo>
                <a:lnTo>
                  <a:pt x="15983542" y="1495075"/>
                </a:lnTo>
                <a:moveTo>
                  <a:pt x="15951762" y="1979523"/>
                </a:moveTo>
                <a:lnTo>
                  <a:pt x="15983542" y="1495086"/>
                </a:lnTo>
                <a:moveTo>
                  <a:pt x="24431722" y="10323878"/>
                </a:moveTo>
                <a:lnTo>
                  <a:pt x="24442890" y="10324617"/>
                </a:lnTo>
                <a:moveTo>
                  <a:pt x="24474672" y="9840199"/>
                </a:moveTo>
                <a:lnTo>
                  <a:pt x="24463658" y="9839460"/>
                </a:lnTo>
                <a:moveTo>
                  <a:pt x="11684880" y="8028300"/>
                </a:moveTo>
                <a:cubicBezTo>
                  <a:pt x="11895022" y="8042069"/>
                  <a:pt x="12369051" y="8070785"/>
                  <a:pt x="12879185" y="8158364"/>
                </a:cubicBezTo>
                <a:moveTo>
                  <a:pt x="20674580" y="8617586"/>
                </a:moveTo>
                <a:lnTo>
                  <a:pt x="20341988" y="8595770"/>
                </a:lnTo>
                <a:cubicBezTo>
                  <a:pt x="20054866" y="8576956"/>
                  <a:pt x="19729040" y="8587141"/>
                  <a:pt x="19488328" y="8602418"/>
                </a:cubicBezTo>
                <a:moveTo>
                  <a:pt x="11646271" y="7561376"/>
                </a:moveTo>
                <a:cubicBezTo>
                  <a:pt x="12028640" y="7638676"/>
                  <a:pt x="12246743" y="7693436"/>
                  <a:pt x="12545352" y="7796293"/>
                </a:cubicBezTo>
                <a:moveTo>
                  <a:pt x="10432568" y="7459228"/>
                </a:moveTo>
                <a:cubicBezTo>
                  <a:pt x="10833737" y="7485523"/>
                  <a:pt x="11250341" y="7487881"/>
                  <a:pt x="11645783" y="7560874"/>
                </a:cubicBezTo>
                <a:moveTo>
                  <a:pt x="19877714" y="8295736"/>
                </a:moveTo>
                <a:cubicBezTo>
                  <a:pt x="19360108" y="8388361"/>
                  <a:pt x="19115936" y="8411890"/>
                  <a:pt x="18710818" y="8471900"/>
                </a:cubicBezTo>
                <a:moveTo>
                  <a:pt x="12545414" y="7795821"/>
                </a:moveTo>
                <a:cubicBezTo>
                  <a:pt x="12938812" y="7916187"/>
                  <a:pt x="13113634" y="7980818"/>
                  <a:pt x="13647621" y="8118850"/>
                </a:cubicBezTo>
                <a:moveTo>
                  <a:pt x="18710188" y="8471883"/>
                </a:moveTo>
                <a:cubicBezTo>
                  <a:pt x="18160170" y="8553914"/>
                  <a:pt x="17625572" y="8563109"/>
                  <a:pt x="17080274" y="8564539"/>
                </a:cubicBezTo>
                <a:moveTo>
                  <a:pt x="20800442" y="8170357"/>
                </a:moveTo>
                <a:cubicBezTo>
                  <a:pt x="20474932" y="8185257"/>
                  <a:pt x="20238310" y="8226201"/>
                  <a:pt x="19877714" y="8295264"/>
                </a:cubicBezTo>
                <a:moveTo>
                  <a:pt x="13647557" y="8119337"/>
                </a:moveTo>
                <a:cubicBezTo>
                  <a:pt x="14179372" y="8290643"/>
                  <a:pt x="14704311" y="8355636"/>
                  <a:pt x="15213031" y="8432275"/>
                </a:cubicBezTo>
                <a:moveTo>
                  <a:pt x="24570168" y="8385956"/>
                </a:moveTo>
                <a:lnTo>
                  <a:pt x="24558998" y="8385217"/>
                </a:lnTo>
                <a:moveTo>
                  <a:pt x="11191453" y="6598058"/>
                </a:moveTo>
                <a:cubicBezTo>
                  <a:pt x="11397914" y="6659577"/>
                  <a:pt x="11512259" y="6703775"/>
                  <a:pt x="11661705" y="6773325"/>
                </a:cubicBezTo>
                <a:moveTo>
                  <a:pt x="11661752" y="6773797"/>
                </a:moveTo>
                <a:cubicBezTo>
                  <a:pt x="11943148" y="6895279"/>
                  <a:pt x="12096276" y="6957552"/>
                  <a:pt x="12360192" y="7093886"/>
                </a:cubicBezTo>
                <a:moveTo>
                  <a:pt x="21415434" y="7277170"/>
                </a:moveTo>
                <a:cubicBezTo>
                  <a:pt x="21278718" y="7298782"/>
                  <a:pt x="21106444" y="7333125"/>
                  <a:pt x="20922056" y="7397268"/>
                </a:cubicBezTo>
                <a:moveTo>
                  <a:pt x="20922686" y="7397316"/>
                </a:moveTo>
                <a:cubicBezTo>
                  <a:pt x="20627224" y="7489940"/>
                  <a:pt x="20428046" y="7537108"/>
                  <a:pt x="20142814" y="7635564"/>
                </a:cubicBezTo>
                <a:moveTo>
                  <a:pt x="24622718" y="7415894"/>
                </a:moveTo>
                <a:lnTo>
                  <a:pt x="24633886" y="7416633"/>
                </a:lnTo>
                <a:moveTo>
                  <a:pt x="20142814" y="7635108"/>
                </a:moveTo>
                <a:cubicBezTo>
                  <a:pt x="19805030" y="7748008"/>
                  <a:pt x="18872548" y="7914615"/>
                  <a:pt x="18066244" y="7988802"/>
                </a:cubicBezTo>
                <a:moveTo>
                  <a:pt x="24665668" y="6931728"/>
                </a:moveTo>
                <a:lnTo>
                  <a:pt x="24654654" y="6931005"/>
                </a:lnTo>
                <a:moveTo>
                  <a:pt x="18998254" y="6560194"/>
                </a:moveTo>
                <a:cubicBezTo>
                  <a:pt x="17124166" y="6459947"/>
                  <a:pt x="15319918" y="6341672"/>
                  <a:pt x="13443409" y="6196079"/>
                </a:cubicBezTo>
                <a:moveTo>
                  <a:pt x="9275737" y="5436398"/>
                </a:moveTo>
                <a:lnTo>
                  <a:pt x="10227192" y="5498766"/>
                </a:lnTo>
                <a:cubicBezTo>
                  <a:pt x="10417700" y="5511246"/>
                  <a:pt x="10555661" y="5520299"/>
                  <a:pt x="10555661" y="5520299"/>
                </a:cubicBezTo>
                <a:moveTo>
                  <a:pt x="10555676" y="5519796"/>
                </a:moveTo>
                <a:cubicBezTo>
                  <a:pt x="10790220" y="5527168"/>
                  <a:pt x="11036438" y="5551310"/>
                  <a:pt x="11263383" y="5504063"/>
                </a:cubicBezTo>
                <a:moveTo>
                  <a:pt x="24761164" y="5477971"/>
                </a:moveTo>
                <a:lnTo>
                  <a:pt x="24749994" y="5477249"/>
                </a:lnTo>
                <a:moveTo>
                  <a:pt x="15489769" y="4210548"/>
                </a:moveTo>
                <a:cubicBezTo>
                  <a:pt x="14977762" y="4248978"/>
                  <a:pt x="14447096" y="4214194"/>
                  <a:pt x="13896795" y="4316454"/>
                </a:cubicBezTo>
                <a:moveTo>
                  <a:pt x="11840225" y="4608393"/>
                </a:moveTo>
                <a:cubicBezTo>
                  <a:pt x="11840225" y="4608393"/>
                  <a:pt x="11736420" y="4614774"/>
                  <a:pt x="11564650" y="4609163"/>
                </a:cubicBezTo>
                <a:cubicBezTo>
                  <a:pt x="11479032" y="4606365"/>
                  <a:pt x="10623579" y="4550772"/>
                  <a:pt x="10623579" y="4550772"/>
                </a:cubicBezTo>
                <a:moveTo>
                  <a:pt x="17200786" y="4157957"/>
                </a:moveTo>
                <a:cubicBezTo>
                  <a:pt x="16699226" y="4126505"/>
                  <a:pt x="16197666" y="4094112"/>
                  <a:pt x="15695475" y="4064971"/>
                </a:cubicBezTo>
                <a:moveTo>
                  <a:pt x="24792944" y="4993051"/>
                </a:moveTo>
                <a:lnTo>
                  <a:pt x="24781932" y="4992328"/>
                </a:lnTo>
                <a:moveTo>
                  <a:pt x="14311291" y="4099408"/>
                </a:moveTo>
                <a:cubicBezTo>
                  <a:pt x="13919514" y="4133013"/>
                  <a:pt x="13491913" y="4152031"/>
                  <a:pt x="13140600" y="4177934"/>
                </a:cubicBezTo>
                <a:moveTo>
                  <a:pt x="5533323" y="3742335"/>
                </a:moveTo>
                <a:cubicBezTo>
                  <a:pt x="5601697" y="3723757"/>
                  <a:pt x="5708680" y="3742068"/>
                  <a:pt x="5816937" y="3749157"/>
                </a:cubicBezTo>
                <a:lnTo>
                  <a:pt x="6803413" y="3813819"/>
                </a:lnTo>
                <a:moveTo>
                  <a:pt x="17402166" y="8385657"/>
                </a:moveTo>
                <a:cubicBezTo>
                  <a:pt x="16570374" y="8400321"/>
                  <a:pt x="15721277" y="8344665"/>
                  <a:pt x="14871708" y="8200471"/>
                </a:cubicBezTo>
                <a:moveTo>
                  <a:pt x="21113996" y="7756165"/>
                </a:moveTo>
                <a:cubicBezTo>
                  <a:pt x="20895784" y="7806320"/>
                  <a:pt x="20741758" y="7839045"/>
                  <a:pt x="20402560" y="7924564"/>
                </a:cubicBezTo>
                <a:moveTo>
                  <a:pt x="24729384" y="5962405"/>
                </a:moveTo>
                <a:lnTo>
                  <a:pt x="24718214" y="5961666"/>
                </a:lnTo>
                <a:moveTo>
                  <a:pt x="12251605" y="4868284"/>
                </a:moveTo>
                <a:cubicBezTo>
                  <a:pt x="12003735" y="4901448"/>
                  <a:pt x="11785333" y="4981231"/>
                  <a:pt x="11549373" y="5027865"/>
                </a:cubicBezTo>
                <a:moveTo>
                  <a:pt x="4229596" y="3720409"/>
                </a:moveTo>
                <a:cubicBezTo>
                  <a:pt x="4780038" y="3721666"/>
                  <a:pt x="5123044" y="3367736"/>
                  <a:pt x="5592446" y="3263937"/>
                </a:cubicBezTo>
                <a:moveTo>
                  <a:pt x="1697927" y="2992635"/>
                </a:moveTo>
                <a:lnTo>
                  <a:pt x="2684403" y="3057297"/>
                </a:lnTo>
                <a:cubicBezTo>
                  <a:pt x="2848904" y="3068080"/>
                  <a:pt x="2903450" y="3081534"/>
                  <a:pt x="2938046" y="3090399"/>
                </a:cubicBezTo>
                <a:moveTo>
                  <a:pt x="24824882" y="4508602"/>
                </a:moveTo>
                <a:lnTo>
                  <a:pt x="24813712" y="4507879"/>
                </a:lnTo>
                <a:moveTo>
                  <a:pt x="24888442" y="3539279"/>
                </a:moveTo>
                <a:lnTo>
                  <a:pt x="24877430" y="3538556"/>
                </a:lnTo>
                <a:moveTo>
                  <a:pt x="24920380" y="3054405"/>
                </a:moveTo>
                <a:lnTo>
                  <a:pt x="24909210" y="3053682"/>
                </a:lnTo>
                <a:moveTo>
                  <a:pt x="24984098" y="2085067"/>
                </a:moveTo>
                <a:lnTo>
                  <a:pt x="24972926" y="2084328"/>
                </a:lnTo>
              </a:path>
            </a:pathLst>
          </a:custGeom>
          <a:noFill/>
          <a:ln w="50800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" name="Прямоугольник с двумя скругленными соседними углами 1">
            <a:extLst>
              <a:ext uri="{FF2B5EF4-FFF2-40B4-BE49-F238E27FC236}">
                <a16:creationId xmlns:a16="http://schemas.microsoft.com/office/drawing/2014/main" id="{D14AB6AF-FA24-2897-A6B0-51568448997D}"/>
              </a:ext>
            </a:extLst>
          </p:cNvPr>
          <p:cNvSpPr/>
          <p:nvPr userDrawn="1"/>
        </p:nvSpPr>
        <p:spPr>
          <a:xfrm rot="16200000">
            <a:off x="11780856" y="-330904"/>
            <a:ext cx="13715999" cy="14377805"/>
          </a:xfrm>
          <a:prstGeom prst="round2SameRect">
            <a:avLst>
              <a:gd name="adj1" fmla="val 10785"/>
              <a:gd name="adj2" fmla="val 0"/>
            </a:avLst>
          </a:prstGeom>
          <a:solidFill>
            <a:schemeClr val="accent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sp>
        <p:nvSpPr>
          <p:cNvPr id="21" name="Заголовок 20">
            <a:extLst>
              <a:ext uri="{FF2B5EF4-FFF2-40B4-BE49-F238E27FC236}">
                <a16:creationId xmlns:a16="http://schemas.microsoft.com/office/drawing/2014/main" id="{7436C6E8-2BF2-A7DD-A6E8-F7A22E55E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2338" y="2896152"/>
            <a:ext cx="9082271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ru-RU" dirty="0"/>
              <a:t>Образец заголовка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0B5DD7B7-D74A-DCA7-1664-C6D4D552E8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391" y="-806452"/>
            <a:ext cx="1752600" cy="1612900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6D06A438-3294-83DB-4466-2B9B1D473DA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12525" y="11814853"/>
            <a:ext cx="2794000" cy="2794000"/>
          </a:xfrm>
          <a:prstGeom prst="rect">
            <a:avLst/>
          </a:prstGeom>
        </p:spPr>
      </p:pic>
      <p:sp>
        <p:nvSpPr>
          <p:cNvPr id="4" name="Текст 11">
            <a:extLst>
              <a:ext uri="{FF2B5EF4-FFF2-40B4-BE49-F238E27FC236}">
                <a16:creationId xmlns:a16="http://schemas.microsoft.com/office/drawing/2014/main" id="{FB35FDBA-707E-E9DF-589B-D71AF7CBF8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477138" y="2896152"/>
            <a:ext cx="9419476" cy="88639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20000" indent="-720000" algn="l" defTabSz="1828595" rtl="0" eaLnBrk="1" latinLnBrk="0" hangingPunct="1">
              <a:lnSpc>
                <a:spcPct val="90000"/>
              </a:lnSpc>
              <a:spcAft>
                <a:spcPts val="5000"/>
              </a:spcAft>
              <a:buClr>
                <a:schemeClr val="tx1"/>
              </a:buClr>
              <a:buSzPct val="100000"/>
              <a:buFont typeface="YS Text Regular" pitchFamily="2" charset="-52"/>
              <a:buChar char="—"/>
              <a:defRPr lang="ru-RU" sz="3200" kern="1200" dirty="0">
                <a:solidFill>
                  <a:schemeClr val="tx1"/>
                </a:solidFill>
                <a:latin typeface="YS Text Regular" pitchFamily="2" charset="77"/>
                <a:ea typeface="YS Text Wide Text Regular" pitchFamily="34" charset="-122"/>
                <a:cs typeface="YS Text Wide Text Regular" pitchFamily="34" charset="-12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298163858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о списком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">
            <a:extLst>
              <a:ext uri="{FF2B5EF4-FFF2-40B4-BE49-F238E27FC236}">
                <a16:creationId xmlns:a16="http://schemas.microsoft.com/office/drawing/2014/main" id="{9C3AE1D4-CB79-A20E-0E5B-B52A872E6127}"/>
              </a:ext>
            </a:extLst>
          </p:cNvPr>
          <p:cNvSpPr/>
          <p:nvPr userDrawn="1"/>
        </p:nvSpPr>
        <p:spPr>
          <a:xfrm rot="18826977" flipH="1">
            <a:off x="-3285558" y="2682102"/>
            <a:ext cx="37651226" cy="16275492"/>
          </a:xfrm>
          <a:custGeom>
            <a:avLst/>
            <a:gdLst>
              <a:gd name="connsiteX0" fmla="*/ 24781932 w 25004707"/>
              <a:gd name="connsiteY0" fmla="*/ 4992328 h 10808782"/>
              <a:gd name="connsiteX1" fmla="*/ 24813712 w 25004707"/>
              <a:gd name="connsiteY1" fmla="*/ 4507894 h 10808782"/>
              <a:gd name="connsiteX2" fmla="*/ 24781932 w 25004707"/>
              <a:gd name="connsiteY2" fmla="*/ 4992328 h 10808782"/>
              <a:gd name="connsiteX3" fmla="*/ 24749994 w 25004707"/>
              <a:gd name="connsiteY3" fmla="*/ 5477249 h 10808782"/>
              <a:gd name="connsiteX4" fmla="*/ 24781932 w 25004707"/>
              <a:gd name="connsiteY4" fmla="*/ 4992328 h 10808782"/>
              <a:gd name="connsiteX5" fmla="*/ 23497668 w 25004707"/>
              <a:gd name="connsiteY5" fmla="*/ 4908160 h 10808782"/>
              <a:gd name="connsiteX6" fmla="*/ 23465886 w 25004707"/>
              <a:gd name="connsiteY6" fmla="*/ 5393065 h 10808782"/>
              <a:gd name="connsiteX7" fmla="*/ 24813712 w 25004707"/>
              <a:gd name="connsiteY7" fmla="*/ 4507894 h 10808782"/>
              <a:gd name="connsiteX8" fmla="*/ 24845492 w 25004707"/>
              <a:gd name="connsiteY8" fmla="*/ 4022989 h 10808782"/>
              <a:gd name="connsiteX9" fmla="*/ 24813712 w 25004707"/>
              <a:gd name="connsiteY9" fmla="*/ 4507894 h 10808782"/>
              <a:gd name="connsiteX10" fmla="*/ 23529446 w 25004707"/>
              <a:gd name="connsiteY10" fmla="*/ 4423711 h 10808782"/>
              <a:gd name="connsiteX11" fmla="*/ 24718214 w 25004707"/>
              <a:gd name="connsiteY11" fmla="*/ 5961666 h 10808782"/>
              <a:gd name="connsiteX12" fmla="*/ 24686276 w 25004707"/>
              <a:gd name="connsiteY12" fmla="*/ 6446571 h 10808782"/>
              <a:gd name="connsiteX13" fmla="*/ 23402168 w 25004707"/>
              <a:gd name="connsiteY13" fmla="*/ 6362388 h 10808782"/>
              <a:gd name="connsiteX14" fmla="*/ 24718214 w 25004707"/>
              <a:gd name="connsiteY14" fmla="*/ 5961666 h 10808782"/>
              <a:gd name="connsiteX15" fmla="*/ 24749994 w 25004707"/>
              <a:gd name="connsiteY15" fmla="*/ 5477249 h 10808782"/>
              <a:gd name="connsiteX16" fmla="*/ 24718214 w 25004707"/>
              <a:gd name="connsiteY16" fmla="*/ 5961666 h 10808782"/>
              <a:gd name="connsiteX17" fmla="*/ 23433948 w 25004707"/>
              <a:gd name="connsiteY17" fmla="*/ 5877498 h 10808782"/>
              <a:gd name="connsiteX18" fmla="*/ 24749994 w 25004707"/>
              <a:gd name="connsiteY18" fmla="*/ 5477249 h 10808782"/>
              <a:gd name="connsiteX19" fmla="*/ 23465886 w 25004707"/>
              <a:gd name="connsiteY19" fmla="*/ 5393065 h 10808782"/>
              <a:gd name="connsiteX20" fmla="*/ 24940990 w 25004707"/>
              <a:gd name="connsiteY20" fmla="*/ 2568777 h 10808782"/>
              <a:gd name="connsiteX21" fmla="*/ 24909210 w 25004707"/>
              <a:gd name="connsiteY21" fmla="*/ 3053682 h 10808782"/>
              <a:gd name="connsiteX22" fmla="*/ 23624944 w 25004707"/>
              <a:gd name="connsiteY22" fmla="*/ 2969499 h 10808782"/>
              <a:gd name="connsiteX23" fmla="*/ 24877430 w 25004707"/>
              <a:gd name="connsiteY23" fmla="*/ 3538571 h 10808782"/>
              <a:gd name="connsiteX24" fmla="*/ 24845492 w 25004707"/>
              <a:gd name="connsiteY24" fmla="*/ 4023005 h 10808782"/>
              <a:gd name="connsiteX25" fmla="*/ 24845492 w 25004707"/>
              <a:gd name="connsiteY25" fmla="*/ 4023005 h 10808782"/>
              <a:gd name="connsiteX26" fmla="*/ 24856664 w 25004707"/>
              <a:gd name="connsiteY26" fmla="*/ 4023744 h 10808782"/>
              <a:gd name="connsiteX27" fmla="*/ 24845492 w 25004707"/>
              <a:gd name="connsiteY27" fmla="*/ 4023005 h 10808782"/>
              <a:gd name="connsiteX28" fmla="*/ 23561384 w 25004707"/>
              <a:gd name="connsiteY28" fmla="*/ 3938837 h 10808782"/>
              <a:gd name="connsiteX29" fmla="*/ 24940990 w 25004707"/>
              <a:gd name="connsiteY29" fmla="*/ 2568777 h 10808782"/>
              <a:gd name="connsiteX30" fmla="*/ 23656882 w 25004707"/>
              <a:gd name="connsiteY30" fmla="*/ 2484594 h 10808782"/>
              <a:gd name="connsiteX31" fmla="*/ 23624944 w 25004707"/>
              <a:gd name="connsiteY31" fmla="*/ 2969499 h 10808782"/>
              <a:gd name="connsiteX32" fmla="*/ 24940990 w 25004707"/>
              <a:gd name="connsiteY32" fmla="*/ 2568777 h 10808782"/>
              <a:gd name="connsiteX33" fmla="*/ 24952160 w 25004707"/>
              <a:gd name="connsiteY33" fmla="*/ 2569500 h 10808782"/>
              <a:gd name="connsiteX34" fmla="*/ 24940990 w 25004707"/>
              <a:gd name="connsiteY34" fmla="*/ 2568777 h 10808782"/>
              <a:gd name="connsiteX35" fmla="*/ 25004708 w 25004707"/>
              <a:gd name="connsiteY35" fmla="*/ 1599423 h 10808782"/>
              <a:gd name="connsiteX36" fmla="*/ 5763304 w 25004707"/>
              <a:gd name="connsiteY36" fmla="*/ 338142 h 10808782"/>
              <a:gd name="connsiteX37" fmla="*/ 631905 w 25004707"/>
              <a:gd name="connsiteY37" fmla="*/ 1774 h 10808782"/>
              <a:gd name="connsiteX38" fmla="*/ 604841 w 25004707"/>
              <a:gd name="connsiteY38" fmla="*/ 0 h 10808782"/>
              <a:gd name="connsiteX39" fmla="*/ 0 w 25004707"/>
              <a:gd name="connsiteY39" fmla="*/ 9209356 h 10808782"/>
              <a:gd name="connsiteX40" fmla="*/ 1284177 w 25004707"/>
              <a:gd name="connsiteY40" fmla="*/ 9293539 h 10808782"/>
              <a:gd name="connsiteX41" fmla="*/ 24909210 w 25004707"/>
              <a:gd name="connsiteY41" fmla="*/ 3053651 h 10808782"/>
              <a:gd name="connsiteX42" fmla="*/ 24877430 w 25004707"/>
              <a:gd name="connsiteY42" fmla="*/ 3538556 h 10808782"/>
              <a:gd name="connsiteX43" fmla="*/ 23593164 w 25004707"/>
              <a:gd name="connsiteY43" fmla="*/ 3454388 h 10808782"/>
              <a:gd name="connsiteX44" fmla="*/ 24590780 w 25004707"/>
              <a:gd name="connsiteY44" fmla="*/ 7900799 h 10808782"/>
              <a:gd name="connsiteX45" fmla="*/ 24622718 w 25004707"/>
              <a:gd name="connsiteY45" fmla="*/ 7415910 h 10808782"/>
              <a:gd name="connsiteX46" fmla="*/ 24590780 w 25004707"/>
              <a:gd name="connsiteY46" fmla="*/ 7900799 h 10808782"/>
              <a:gd name="connsiteX47" fmla="*/ 23306672 w 25004707"/>
              <a:gd name="connsiteY47" fmla="*/ 7816615 h 10808782"/>
              <a:gd name="connsiteX48" fmla="*/ 23274890 w 25004707"/>
              <a:gd name="connsiteY48" fmla="*/ 8301049 h 10808782"/>
              <a:gd name="connsiteX49" fmla="*/ 21990782 w 25004707"/>
              <a:gd name="connsiteY49" fmla="*/ 8216849 h 10808782"/>
              <a:gd name="connsiteX50" fmla="*/ 21466882 w 25004707"/>
              <a:gd name="connsiteY50" fmla="*/ 8182522 h 10808782"/>
              <a:gd name="connsiteX51" fmla="*/ 20799970 w 25004707"/>
              <a:gd name="connsiteY51" fmla="*/ 8169870 h 10808782"/>
              <a:gd name="connsiteX52" fmla="*/ 24590780 w 25004707"/>
              <a:gd name="connsiteY52" fmla="*/ 7900799 h 10808782"/>
              <a:gd name="connsiteX53" fmla="*/ 24601948 w 25004707"/>
              <a:gd name="connsiteY53" fmla="*/ 7901538 h 10808782"/>
              <a:gd name="connsiteX54" fmla="*/ 24622718 w 25004707"/>
              <a:gd name="connsiteY54" fmla="*/ 7415910 h 10808782"/>
              <a:gd name="connsiteX55" fmla="*/ 24654496 w 25004707"/>
              <a:gd name="connsiteY55" fmla="*/ 6931005 h 10808782"/>
              <a:gd name="connsiteX56" fmla="*/ 24622718 w 25004707"/>
              <a:gd name="connsiteY56" fmla="*/ 7415910 h 10808782"/>
              <a:gd name="connsiteX57" fmla="*/ 23338452 w 25004707"/>
              <a:gd name="connsiteY57" fmla="*/ 7331710 h 10808782"/>
              <a:gd name="connsiteX58" fmla="*/ 24558998 w 25004707"/>
              <a:gd name="connsiteY58" fmla="*/ 8385232 h 10808782"/>
              <a:gd name="connsiteX59" fmla="*/ 24527218 w 25004707"/>
              <a:gd name="connsiteY59" fmla="*/ 8870137 h 10808782"/>
              <a:gd name="connsiteX60" fmla="*/ 23242952 w 25004707"/>
              <a:gd name="connsiteY60" fmla="*/ 8785953 h 10808782"/>
              <a:gd name="connsiteX61" fmla="*/ 24558998 w 25004707"/>
              <a:gd name="connsiteY61" fmla="*/ 8385232 h 10808782"/>
              <a:gd name="connsiteX62" fmla="*/ 24590780 w 25004707"/>
              <a:gd name="connsiteY62" fmla="*/ 7900799 h 10808782"/>
              <a:gd name="connsiteX63" fmla="*/ 24558998 w 25004707"/>
              <a:gd name="connsiteY63" fmla="*/ 8385232 h 10808782"/>
              <a:gd name="connsiteX64" fmla="*/ 23274890 w 25004707"/>
              <a:gd name="connsiteY64" fmla="*/ 8301049 h 10808782"/>
              <a:gd name="connsiteX65" fmla="*/ 23242952 w 25004707"/>
              <a:gd name="connsiteY65" fmla="*/ 8785953 h 10808782"/>
              <a:gd name="connsiteX66" fmla="*/ 24654496 w 25004707"/>
              <a:gd name="connsiteY66" fmla="*/ 6931005 h 10808782"/>
              <a:gd name="connsiteX67" fmla="*/ 24686434 w 25004707"/>
              <a:gd name="connsiteY67" fmla="*/ 6446571 h 10808782"/>
              <a:gd name="connsiteX68" fmla="*/ 24697448 w 25004707"/>
              <a:gd name="connsiteY68" fmla="*/ 6447294 h 10808782"/>
              <a:gd name="connsiteX69" fmla="*/ 24654496 w 25004707"/>
              <a:gd name="connsiteY69" fmla="*/ 6931005 h 10808782"/>
              <a:gd name="connsiteX70" fmla="*/ 23370388 w 25004707"/>
              <a:gd name="connsiteY70" fmla="*/ 6846837 h 10808782"/>
              <a:gd name="connsiteX71" fmla="*/ 24463500 w 25004707"/>
              <a:gd name="connsiteY71" fmla="*/ 9839444 h 10808782"/>
              <a:gd name="connsiteX72" fmla="*/ 24431722 w 25004707"/>
              <a:gd name="connsiteY72" fmla="*/ 10323878 h 10808782"/>
              <a:gd name="connsiteX73" fmla="*/ 23147614 w 25004707"/>
              <a:gd name="connsiteY73" fmla="*/ 10239694 h 10808782"/>
              <a:gd name="connsiteX74" fmla="*/ 23338608 w 25004707"/>
              <a:gd name="connsiteY74" fmla="*/ 7331726 h 10808782"/>
              <a:gd name="connsiteX75" fmla="*/ 23306672 w 25004707"/>
              <a:gd name="connsiteY75" fmla="*/ 7816631 h 10808782"/>
              <a:gd name="connsiteX76" fmla="*/ 22022564 w 25004707"/>
              <a:gd name="connsiteY76" fmla="*/ 7732447 h 10808782"/>
              <a:gd name="connsiteX77" fmla="*/ 23242952 w 25004707"/>
              <a:gd name="connsiteY77" fmla="*/ 8785953 h 10808782"/>
              <a:gd name="connsiteX78" fmla="*/ 23211172 w 25004707"/>
              <a:gd name="connsiteY78" fmla="*/ 9270371 h 10808782"/>
              <a:gd name="connsiteX79" fmla="*/ 23242952 w 25004707"/>
              <a:gd name="connsiteY79" fmla="*/ 8785953 h 10808782"/>
              <a:gd name="connsiteX80" fmla="*/ 21958844 w 25004707"/>
              <a:gd name="connsiteY80" fmla="*/ 8701770 h 10808782"/>
              <a:gd name="connsiteX81" fmla="*/ 23433948 w 25004707"/>
              <a:gd name="connsiteY81" fmla="*/ 5877498 h 10808782"/>
              <a:gd name="connsiteX82" fmla="*/ 23465886 w 25004707"/>
              <a:gd name="connsiteY82" fmla="*/ 5393065 h 10808782"/>
              <a:gd name="connsiteX83" fmla="*/ 23433948 w 25004707"/>
              <a:gd name="connsiteY83" fmla="*/ 5877498 h 10808782"/>
              <a:gd name="connsiteX84" fmla="*/ 22149840 w 25004707"/>
              <a:gd name="connsiteY84" fmla="*/ 5793299 h 10808782"/>
              <a:gd name="connsiteX85" fmla="*/ 22138828 w 25004707"/>
              <a:gd name="connsiteY85" fmla="*/ 6277685 h 10808782"/>
              <a:gd name="connsiteX86" fmla="*/ 23465886 w 25004707"/>
              <a:gd name="connsiteY86" fmla="*/ 5393065 h 10808782"/>
              <a:gd name="connsiteX87" fmla="*/ 22181622 w 25004707"/>
              <a:gd name="connsiteY87" fmla="*/ 5308881 h 10808782"/>
              <a:gd name="connsiteX88" fmla="*/ 23115676 w 25004707"/>
              <a:gd name="connsiteY88" fmla="*/ 10724599 h 10808782"/>
              <a:gd name="connsiteX89" fmla="*/ 23147614 w 25004707"/>
              <a:gd name="connsiteY89" fmla="*/ 10239709 h 10808782"/>
              <a:gd name="connsiteX90" fmla="*/ 23115676 w 25004707"/>
              <a:gd name="connsiteY90" fmla="*/ 10724599 h 10808782"/>
              <a:gd name="connsiteX91" fmla="*/ 24399940 w 25004707"/>
              <a:gd name="connsiteY91" fmla="*/ 10808782 h 10808782"/>
              <a:gd name="connsiteX92" fmla="*/ 24431722 w 25004707"/>
              <a:gd name="connsiteY92" fmla="*/ 10323878 h 10808782"/>
              <a:gd name="connsiteX93" fmla="*/ 23115676 w 25004707"/>
              <a:gd name="connsiteY93" fmla="*/ 10724599 h 10808782"/>
              <a:gd name="connsiteX94" fmla="*/ 21831568 w 25004707"/>
              <a:gd name="connsiteY94" fmla="*/ 10640431 h 10808782"/>
              <a:gd name="connsiteX95" fmla="*/ 23147614 w 25004707"/>
              <a:gd name="connsiteY95" fmla="*/ 10239709 h 10808782"/>
              <a:gd name="connsiteX96" fmla="*/ 23179392 w 25004707"/>
              <a:gd name="connsiteY96" fmla="*/ 9755261 h 10808782"/>
              <a:gd name="connsiteX97" fmla="*/ 23147614 w 25004707"/>
              <a:gd name="connsiteY97" fmla="*/ 10239709 h 10808782"/>
              <a:gd name="connsiteX98" fmla="*/ 21863348 w 25004707"/>
              <a:gd name="connsiteY98" fmla="*/ 10155526 h 10808782"/>
              <a:gd name="connsiteX99" fmla="*/ 23720600 w 25004707"/>
              <a:gd name="connsiteY99" fmla="*/ 1515244 h 10808782"/>
              <a:gd name="connsiteX100" fmla="*/ 23688662 w 25004707"/>
              <a:gd name="connsiteY100" fmla="*/ 2000144 h 10808782"/>
              <a:gd name="connsiteX101" fmla="*/ 23688662 w 25004707"/>
              <a:gd name="connsiteY101" fmla="*/ 2000144 h 10808782"/>
              <a:gd name="connsiteX102" fmla="*/ 24972772 w 25004707"/>
              <a:gd name="connsiteY102" fmla="*/ 2084312 h 10808782"/>
              <a:gd name="connsiteX103" fmla="*/ 23688662 w 25004707"/>
              <a:gd name="connsiteY103" fmla="*/ 2000144 h 10808782"/>
              <a:gd name="connsiteX104" fmla="*/ 22404554 w 25004707"/>
              <a:gd name="connsiteY104" fmla="*/ 1915976 h 10808782"/>
              <a:gd name="connsiteX105" fmla="*/ 23179392 w 25004707"/>
              <a:gd name="connsiteY105" fmla="*/ 9755261 h 10808782"/>
              <a:gd name="connsiteX106" fmla="*/ 23211172 w 25004707"/>
              <a:gd name="connsiteY106" fmla="*/ 9270387 h 10808782"/>
              <a:gd name="connsiteX107" fmla="*/ 23179392 w 25004707"/>
              <a:gd name="connsiteY107" fmla="*/ 9755261 h 10808782"/>
              <a:gd name="connsiteX108" fmla="*/ 21895126 w 25004707"/>
              <a:gd name="connsiteY108" fmla="*/ 9671092 h 10808782"/>
              <a:gd name="connsiteX109" fmla="*/ 21863348 w 25004707"/>
              <a:gd name="connsiteY109" fmla="*/ 10155526 h 10808782"/>
              <a:gd name="connsiteX110" fmla="*/ 23179392 w 25004707"/>
              <a:gd name="connsiteY110" fmla="*/ 9755261 h 10808782"/>
              <a:gd name="connsiteX111" fmla="*/ 24463500 w 25004707"/>
              <a:gd name="connsiteY111" fmla="*/ 9839460 h 10808782"/>
              <a:gd name="connsiteX112" fmla="*/ 24495438 w 25004707"/>
              <a:gd name="connsiteY112" fmla="*/ 9354555 h 10808782"/>
              <a:gd name="connsiteX113" fmla="*/ 24506452 w 25004707"/>
              <a:gd name="connsiteY113" fmla="*/ 9355294 h 10808782"/>
              <a:gd name="connsiteX114" fmla="*/ 23593164 w 25004707"/>
              <a:gd name="connsiteY114" fmla="*/ 3454388 h 10808782"/>
              <a:gd name="connsiteX115" fmla="*/ 23625102 w 25004707"/>
              <a:gd name="connsiteY115" fmla="*/ 2969483 h 10808782"/>
              <a:gd name="connsiteX116" fmla="*/ 23593164 w 25004707"/>
              <a:gd name="connsiteY116" fmla="*/ 3454388 h 10808782"/>
              <a:gd name="connsiteX117" fmla="*/ 22309056 w 25004707"/>
              <a:gd name="connsiteY117" fmla="*/ 3370204 h 10808782"/>
              <a:gd name="connsiteX118" fmla="*/ 23624944 w 25004707"/>
              <a:gd name="connsiteY118" fmla="*/ 2969499 h 10808782"/>
              <a:gd name="connsiteX119" fmla="*/ 22340836 w 25004707"/>
              <a:gd name="connsiteY119" fmla="*/ 2885315 h 10808782"/>
              <a:gd name="connsiteX120" fmla="*/ 23593164 w 25004707"/>
              <a:gd name="connsiteY120" fmla="*/ 3454388 h 10808782"/>
              <a:gd name="connsiteX121" fmla="*/ 23561384 w 25004707"/>
              <a:gd name="connsiteY121" fmla="*/ 3938821 h 10808782"/>
              <a:gd name="connsiteX122" fmla="*/ 22277118 w 25004707"/>
              <a:gd name="connsiteY122" fmla="*/ 3854653 h 10808782"/>
              <a:gd name="connsiteX123" fmla="*/ 23434106 w 25004707"/>
              <a:gd name="connsiteY123" fmla="*/ 5877482 h 10808782"/>
              <a:gd name="connsiteX124" fmla="*/ 23402168 w 25004707"/>
              <a:gd name="connsiteY124" fmla="*/ 6362388 h 10808782"/>
              <a:gd name="connsiteX125" fmla="*/ 22450808 w 25004707"/>
              <a:gd name="connsiteY125" fmla="*/ 6300020 h 10808782"/>
              <a:gd name="connsiteX126" fmla="*/ 22138828 w 25004707"/>
              <a:gd name="connsiteY126" fmla="*/ 6277685 h 10808782"/>
              <a:gd name="connsiteX127" fmla="*/ 23370388 w 25004707"/>
              <a:gd name="connsiteY127" fmla="*/ 6846837 h 10808782"/>
              <a:gd name="connsiteX128" fmla="*/ 23402168 w 25004707"/>
              <a:gd name="connsiteY128" fmla="*/ 6362404 h 10808782"/>
              <a:gd name="connsiteX129" fmla="*/ 23370388 w 25004707"/>
              <a:gd name="connsiteY129" fmla="*/ 6846837 h 10808782"/>
              <a:gd name="connsiteX130" fmla="*/ 23338452 w 25004707"/>
              <a:gd name="connsiteY130" fmla="*/ 7331710 h 10808782"/>
              <a:gd name="connsiteX131" fmla="*/ 23370388 w 25004707"/>
              <a:gd name="connsiteY131" fmla="*/ 6846837 h 10808782"/>
              <a:gd name="connsiteX132" fmla="*/ 22133950 w 25004707"/>
              <a:gd name="connsiteY132" fmla="*/ 6765781 h 10808782"/>
              <a:gd name="connsiteX133" fmla="*/ 23529604 w 25004707"/>
              <a:gd name="connsiteY133" fmla="*/ 4423711 h 10808782"/>
              <a:gd name="connsiteX134" fmla="*/ 23561384 w 25004707"/>
              <a:gd name="connsiteY134" fmla="*/ 3938806 h 10808782"/>
              <a:gd name="connsiteX135" fmla="*/ 23529604 w 25004707"/>
              <a:gd name="connsiteY135" fmla="*/ 4423711 h 10808782"/>
              <a:gd name="connsiteX136" fmla="*/ 23497668 w 25004707"/>
              <a:gd name="connsiteY136" fmla="*/ 4908160 h 10808782"/>
              <a:gd name="connsiteX137" fmla="*/ 22213560 w 25004707"/>
              <a:gd name="connsiteY137" fmla="*/ 4823976 h 10808782"/>
              <a:gd name="connsiteX138" fmla="*/ 23529604 w 25004707"/>
              <a:gd name="connsiteY138" fmla="*/ 4423711 h 10808782"/>
              <a:gd name="connsiteX139" fmla="*/ 22245338 w 25004707"/>
              <a:gd name="connsiteY139" fmla="*/ 4339527 h 10808782"/>
              <a:gd name="connsiteX140" fmla="*/ 23338452 w 25004707"/>
              <a:gd name="connsiteY140" fmla="*/ 7331710 h 10808782"/>
              <a:gd name="connsiteX141" fmla="*/ 22387090 w 25004707"/>
              <a:gd name="connsiteY141" fmla="*/ 7269358 h 10808782"/>
              <a:gd name="connsiteX142" fmla="*/ 22074952 w 25004707"/>
              <a:gd name="connsiteY142" fmla="*/ 7250780 h 10808782"/>
              <a:gd name="connsiteX143" fmla="*/ 23688662 w 25004707"/>
              <a:gd name="connsiteY143" fmla="*/ 2000160 h 10808782"/>
              <a:gd name="connsiteX144" fmla="*/ 23656882 w 25004707"/>
              <a:gd name="connsiteY144" fmla="*/ 2484594 h 10808782"/>
              <a:gd name="connsiteX145" fmla="*/ 22372618 w 25004707"/>
              <a:gd name="connsiteY145" fmla="*/ 2400410 h 10808782"/>
              <a:gd name="connsiteX146" fmla="*/ 23211172 w 25004707"/>
              <a:gd name="connsiteY146" fmla="*/ 9270371 h 10808782"/>
              <a:gd name="connsiteX147" fmla="*/ 24495438 w 25004707"/>
              <a:gd name="connsiteY147" fmla="*/ 9354555 h 10808782"/>
              <a:gd name="connsiteX148" fmla="*/ 24527218 w 25004707"/>
              <a:gd name="connsiteY148" fmla="*/ 8870122 h 10808782"/>
              <a:gd name="connsiteX149" fmla="*/ 24538388 w 25004707"/>
              <a:gd name="connsiteY149" fmla="*/ 8870860 h 10808782"/>
              <a:gd name="connsiteX150" fmla="*/ 23211172 w 25004707"/>
              <a:gd name="connsiteY150" fmla="*/ 9270371 h 10808782"/>
              <a:gd name="connsiteX151" fmla="*/ 21927064 w 25004707"/>
              <a:gd name="connsiteY151" fmla="*/ 9186203 h 10808782"/>
              <a:gd name="connsiteX152" fmla="*/ 21831568 w 25004707"/>
              <a:gd name="connsiteY152" fmla="*/ 10640431 h 10808782"/>
              <a:gd name="connsiteX153" fmla="*/ 21863348 w 25004707"/>
              <a:gd name="connsiteY153" fmla="*/ 10155526 h 10808782"/>
              <a:gd name="connsiteX154" fmla="*/ 21831568 w 25004707"/>
              <a:gd name="connsiteY154" fmla="*/ 10640431 h 10808782"/>
              <a:gd name="connsiteX155" fmla="*/ 20547302 w 25004707"/>
              <a:gd name="connsiteY155" fmla="*/ 10556248 h 10808782"/>
              <a:gd name="connsiteX156" fmla="*/ 21863348 w 25004707"/>
              <a:gd name="connsiteY156" fmla="*/ 10155526 h 10808782"/>
              <a:gd name="connsiteX157" fmla="*/ 20579240 w 25004707"/>
              <a:gd name="connsiteY157" fmla="*/ 10071342 h 10808782"/>
              <a:gd name="connsiteX158" fmla="*/ 22340836 w 25004707"/>
              <a:gd name="connsiteY158" fmla="*/ 2885299 h 10808782"/>
              <a:gd name="connsiteX159" fmla="*/ 22308898 w 25004707"/>
              <a:gd name="connsiteY159" fmla="*/ 3370204 h 10808782"/>
              <a:gd name="connsiteX160" fmla="*/ 21024790 w 25004707"/>
              <a:gd name="connsiteY160" fmla="*/ 3286020 h 10808782"/>
              <a:gd name="connsiteX161" fmla="*/ 22277118 w 25004707"/>
              <a:gd name="connsiteY161" fmla="*/ 3854653 h 10808782"/>
              <a:gd name="connsiteX162" fmla="*/ 22308898 w 25004707"/>
              <a:gd name="connsiteY162" fmla="*/ 3370220 h 10808782"/>
              <a:gd name="connsiteX163" fmla="*/ 22277118 w 25004707"/>
              <a:gd name="connsiteY163" fmla="*/ 3854653 h 10808782"/>
              <a:gd name="connsiteX164" fmla="*/ 20993010 w 25004707"/>
              <a:gd name="connsiteY164" fmla="*/ 3770469 h 10808782"/>
              <a:gd name="connsiteX165" fmla="*/ 21927064 w 25004707"/>
              <a:gd name="connsiteY165" fmla="*/ 9186203 h 10808782"/>
              <a:gd name="connsiteX166" fmla="*/ 21895126 w 25004707"/>
              <a:gd name="connsiteY166" fmla="*/ 9671109 h 10808782"/>
              <a:gd name="connsiteX167" fmla="*/ 20611018 w 25004707"/>
              <a:gd name="connsiteY167" fmla="*/ 9586925 h 10808782"/>
              <a:gd name="connsiteX168" fmla="*/ 21927064 w 25004707"/>
              <a:gd name="connsiteY168" fmla="*/ 9186203 h 10808782"/>
              <a:gd name="connsiteX169" fmla="*/ 21958844 w 25004707"/>
              <a:gd name="connsiteY169" fmla="*/ 8701770 h 10808782"/>
              <a:gd name="connsiteX170" fmla="*/ 21927064 w 25004707"/>
              <a:gd name="connsiteY170" fmla="*/ 9186203 h 10808782"/>
              <a:gd name="connsiteX171" fmla="*/ 20642800 w 25004707"/>
              <a:gd name="connsiteY171" fmla="*/ 9102019 h 10808782"/>
              <a:gd name="connsiteX172" fmla="*/ 22436334 w 25004707"/>
              <a:gd name="connsiteY172" fmla="*/ 1431070 h 10808782"/>
              <a:gd name="connsiteX173" fmla="*/ 22404554 w 25004707"/>
              <a:gd name="connsiteY173" fmla="*/ 1915976 h 10808782"/>
              <a:gd name="connsiteX174" fmla="*/ 22404554 w 25004707"/>
              <a:gd name="connsiteY174" fmla="*/ 1915976 h 10808782"/>
              <a:gd name="connsiteX175" fmla="*/ 21120288 w 25004707"/>
              <a:gd name="connsiteY175" fmla="*/ 1831793 h 10808782"/>
              <a:gd name="connsiteX176" fmla="*/ 22022564 w 25004707"/>
              <a:gd name="connsiteY176" fmla="*/ 7732431 h 10808782"/>
              <a:gd name="connsiteX177" fmla="*/ 22074952 w 25004707"/>
              <a:gd name="connsiteY177" fmla="*/ 7250780 h 10808782"/>
              <a:gd name="connsiteX178" fmla="*/ 22022564 w 25004707"/>
              <a:gd name="connsiteY178" fmla="*/ 7732431 h 10808782"/>
              <a:gd name="connsiteX179" fmla="*/ 21113838 w 25004707"/>
              <a:gd name="connsiteY179" fmla="*/ 7756637 h 10808782"/>
              <a:gd name="connsiteX180" fmla="*/ 22022564 w 25004707"/>
              <a:gd name="connsiteY180" fmla="*/ 7732431 h 10808782"/>
              <a:gd name="connsiteX181" fmla="*/ 21958844 w 25004707"/>
              <a:gd name="connsiteY181" fmla="*/ 8701770 h 10808782"/>
              <a:gd name="connsiteX182" fmla="*/ 22181622 w 25004707"/>
              <a:gd name="connsiteY182" fmla="*/ 5308897 h 10808782"/>
              <a:gd name="connsiteX183" fmla="*/ 22149840 w 25004707"/>
              <a:gd name="connsiteY183" fmla="*/ 5793330 h 10808782"/>
              <a:gd name="connsiteX184" fmla="*/ 21252128 w 25004707"/>
              <a:gd name="connsiteY184" fmla="*/ 5650708 h 10808782"/>
              <a:gd name="connsiteX185" fmla="*/ 21488592 w 25004707"/>
              <a:gd name="connsiteY185" fmla="*/ 6165430 h 10808782"/>
              <a:gd name="connsiteX186" fmla="*/ 21015036 w 25004707"/>
              <a:gd name="connsiteY186" fmla="*/ 5981942 h 10808782"/>
              <a:gd name="connsiteX187" fmla="*/ 22074952 w 25004707"/>
              <a:gd name="connsiteY187" fmla="*/ 7250780 h 10808782"/>
              <a:gd name="connsiteX188" fmla="*/ 22133950 w 25004707"/>
              <a:gd name="connsiteY188" fmla="*/ 6766253 h 10808782"/>
              <a:gd name="connsiteX189" fmla="*/ 22138828 w 25004707"/>
              <a:gd name="connsiteY189" fmla="*/ 6277685 h 10808782"/>
              <a:gd name="connsiteX190" fmla="*/ 22133950 w 25004707"/>
              <a:gd name="connsiteY190" fmla="*/ 6765781 h 10808782"/>
              <a:gd name="connsiteX191" fmla="*/ 21562380 w 25004707"/>
              <a:gd name="connsiteY191" fmla="*/ 6728310 h 10808782"/>
              <a:gd name="connsiteX192" fmla="*/ 22138828 w 25004707"/>
              <a:gd name="connsiteY192" fmla="*/ 6277685 h 10808782"/>
              <a:gd name="connsiteX193" fmla="*/ 21488592 w 25004707"/>
              <a:gd name="connsiteY193" fmla="*/ 6165414 h 10808782"/>
              <a:gd name="connsiteX194" fmla="*/ 22245338 w 25004707"/>
              <a:gd name="connsiteY194" fmla="*/ 4339527 h 10808782"/>
              <a:gd name="connsiteX195" fmla="*/ 22277276 w 25004707"/>
              <a:gd name="connsiteY195" fmla="*/ 3854622 h 10808782"/>
              <a:gd name="connsiteX196" fmla="*/ 22245338 w 25004707"/>
              <a:gd name="connsiteY196" fmla="*/ 4339527 h 10808782"/>
              <a:gd name="connsiteX197" fmla="*/ 20961230 w 25004707"/>
              <a:gd name="connsiteY197" fmla="*/ 4255359 h 10808782"/>
              <a:gd name="connsiteX198" fmla="*/ 21958844 w 25004707"/>
              <a:gd name="connsiteY198" fmla="*/ 8701770 h 10808782"/>
              <a:gd name="connsiteX199" fmla="*/ 20674580 w 25004707"/>
              <a:gd name="connsiteY199" fmla="*/ 8617586 h 10808782"/>
              <a:gd name="connsiteX200" fmla="*/ 20642800 w 25004707"/>
              <a:gd name="connsiteY200" fmla="*/ 9102019 h 10808782"/>
              <a:gd name="connsiteX201" fmla="*/ 22181622 w 25004707"/>
              <a:gd name="connsiteY201" fmla="*/ 5308881 h 10808782"/>
              <a:gd name="connsiteX202" fmla="*/ 22213560 w 25004707"/>
              <a:gd name="connsiteY202" fmla="*/ 4823992 h 10808782"/>
              <a:gd name="connsiteX203" fmla="*/ 22181622 w 25004707"/>
              <a:gd name="connsiteY203" fmla="*/ 5308881 h 10808782"/>
              <a:gd name="connsiteX204" fmla="*/ 21849030 w 25004707"/>
              <a:gd name="connsiteY204" fmla="*/ 5287081 h 10808782"/>
              <a:gd name="connsiteX205" fmla="*/ 20995686 w 25004707"/>
              <a:gd name="connsiteY205" fmla="*/ 5199596 h 10808782"/>
              <a:gd name="connsiteX206" fmla="*/ 21252128 w 25004707"/>
              <a:gd name="connsiteY206" fmla="*/ 5651180 h 10808782"/>
              <a:gd name="connsiteX207" fmla="*/ 20568856 w 25004707"/>
              <a:gd name="connsiteY207" fmla="*/ 5391367 h 10808782"/>
              <a:gd name="connsiteX208" fmla="*/ 21015666 w 25004707"/>
              <a:gd name="connsiteY208" fmla="*/ 5981974 h 10808782"/>
              <a:gd name="connsiteX209" fmla="*/ 22245338 w 25004707"/>
              <a:gd name="connsiteY209" fmla="*/ 4339543 h 10808782"/>
              <a:gd name="connsiteX210" fmla="*/ 22213560 w 25004707"/>
              <a:gd name="connsiteY210" fmla="*/ 4823976 h 10808782"/>
              <a:gd name="connsiteX211" fmla="*/ 20929452 w 25004707"/>
              <a:gd name="connsiteY211" fmla="*/ 4739792 h 10808782"/>
              <a:gd name="connsiteX212" fmla="*/ 22372774 w 25004707"/>
              <a:gd name="connsiteY212" fmla="*/ 2400425 h 10808782"/>
              <a:gd name="connsiteX213" fmla="*/ 22340836 w 25004707"/>
              <a:gd name="connsiteY213" fmla="*/ 2885315 h 10808782"/>
              <a:gd name="connsiteX214" fmla="*/ 22340836 w 25004707"/>
              <a:gd name="connsiteY214" fmla="*/ 2885315 h 10808782"/>
              <a:gd name="connsiteX215" fmla="*/ 21056728 w 25004707"/>
              <a:gd name="connsiteY215" fmla="*/ 2801147 h 10808782"/>
              <a:gd name="connsiteX216" fmla="*/ 22404398 w 25004707"/>
              <a:gd name="connsiteY216" fmla="*/ 1915976 h 10808782"/>
              <a:gd name="connsiteX217" fmla="*/ 22372618 w 25004707"/>
              <a:gd name="connsiteY217" fmla="*/ 2400410 h 10808782"/>
              <a:gd name="connsiteX218" fmla="*/ 22372618 w 25004707"/>
              <a:gd name="connsiteY218" fmla="*/ 2400410 h 10808782"/>
              <a:gd name="connsiteX219" fmla="*/ 21088510 w 25004707"/>
              <a:gd name="connsiteY219" fmla="*/ 2316226 h 10808782"/>
              <a:gd name="connsiteX220" fmla="*/ 20579240 w 25004707"/>
              <a:gd name="connsiteY220" fmla="*/ 10071342 h 10808782"/>
              <a:gd name="connsiteX221" fmla="*/ 20611018 w 25004707"/>
              <a:gd name="connsiteY221" fmla="*/ 9586909 h 10808782"/>
              <a:gd name="connsiteX222" fmla="*/ 20579240 w 25004707"/>
              <a:gd name="connsiteY222" fmla="*/ 10071342 h 10808782"/>
              <a:gd name="connsiteX223" fmla="*/ 19294974 w 25004707"/>
              <a:gd name="connsiteY223" fmla="*/ 9987158 h 10808782"/>
              <a:gd name="connsiteX224" fmla="*/ 21562380 w 25004707"/>
              <a:gd name="connsiteY224" fmla="*/ 6728766 h 10808782"/>
              <a:gd name="connsiteX225" fmla="*/ 21415592 w 25004707"/>
              <a:gd name="connsiteY225" fmla="*/ 7277186 h 10808782"/>
              <a:gd name="connsiteX226" fmla="*/ 22074952 w 25004707"/>
              <a:gd name="connsiteY226" fmla="*/ 7250749 h 10808782"/>
              <a:gd name="connsiteX227" fmla="*/ 20993010 w 25004707"/>
              <a:gd name="connsiteY227" fmla="*/ 3770469 h 10808782"/>
              <a:gd name="connsiteX228" fmla="*/ 21024790 w 25004707"/>
              <a:gd name="connsiteY228" fmla="*/ 3286052 h 10808782"/>
              <a:gd name="connsiteX229" fmla="*/ 20993010 w 25004707"/>
              <a:gd name="connsiteY229" fmla="*/ 3770469 h 10808782"/>
              <a:gd name="connsiteX230" fmla="*/ 19708746 w 25004707"/>
              <a:gd name="connsiteY230" fmla="*/ 3686286 h 10808782"/>
              <a:gd name="connsiteX231" fmla="*/ 20929294 w 25004707"/>
              <a:gd name="connsiteY231" fmla="*/ 4739792 h 10808782"/>
              <a:gd name="connsiteX232" fmla="*/ 20995528 w 25004707"/>
              <a:gd name="connsiteY232" fmla="*/ 5199596 h 10808782"/>
              <a:gd name="connsiteX233" fmla="*/ 20097030 w 25004707"/>
              <a:gd name="connsiteY233" fmla="*/ 4955313 h 10808782"/>
              <a:gd name="connsiteX234" fmla="*/ 20642800 w 25004707"/>
              <a:gd name="connsiteY234" fmla="*/ 9102019 h 10808782"/>
              <a:gd name="connsiteX235" fmla="*/ 20611018 w 25004707"/>
              <a:gd name="connsiteY235" fmla="*/ 9586925 h 10808782"/>
              <a:gd name="connsiteX236" fmla="*/ 19326754 w 25004707"/>
              <a:gd name="connsiteY236" fmla="*/ 9502741 h 10808782"/>
              <a:gd name="connsiteX237" fmla="*/ 20642800 w 25004707"/>
              <a:gd name="connsiteY237" fmla="*/ 9102019 h 10808782"/>
              <a:gd name="connsiteX238" fmla="*/ 19358692 w 25004707"/>
              <a:gd name="connsiteY238" fmla="*/ 9017836 h 10808782"/>
              <a:gd name="connsiteX239" fmla="*/ 20961230 w 25004707"/>
              <a:gd name="connsiteY239" fmla="*/ 4255359 h 10808782"/>
              <a:gd name="connsiteX240" fmla="*/ 20929294 w 25004707"/>
              <a:gd name="connsiteY240" fmla="*/ 4739792 h 10808782"/>
              <a:gd name="connsiteX241" fmla="*/ 19750594 w 25004707"/>
              <a:gd name="connsiteY241" fmla="*/ 4599921 h 10808782"/>
              <a:gd name="connsiteX242" fmla="*/ 20961230 w 25004707"/>
              <a:gd name="connsiteY242" fmla="*/ 4255359 h 10808782"/>
              <a:gd name="connsiteX243" fmla="*/ 20993010 w 25004707"/>
              <a:gd name="connsiteY243" fmla="*/ 3770454 h 10808782"/>
              <a:gd name="connsiteX244" fmla="*/ 20961230 w 25004707"/>
              <a:gd name="connsiteY244" fmla="*/ 4255359 h 10808782"/>
              <a:gd name="connsiteX245" fmla="*/ 19676964 w 25004707"/>
              <a:gd name="connsiteY245" fmla="*/ 4171175 h 10808782"/>
              <a:gd name="connsiteX246" fmla="*/ 21120288 w 25004707"/>
              <a:gd name="connsiteY246" fmla="*/ 1831808 h 10808782"/>
              <a:gd name="connsiteX247" fmla="*/ 21088510 w 25004707"/>
              <a:gd name="connsiteY247" fmla="*/ 2316226 h 10808782"/>
              <a:gd name="connsiteX248" fmla="*/ 21088510 w 25004707"/>
              <a:gd name="connsiteY248" fmla="*/ 2316226 h 10808782"/>
              <a:gd name="connsiteX249" fmla="*/ 21056728 w 25004707"/>
              <a:gd name="connsiteY249" fmla="*/ 2801131 h 10808782"/>
              <a:gd name="connsiteX250" fmla="*/ 21088510 w 25004707"/>
              <a:gd name="connsiteY250" fmla="*/ 2316226 h 10808782"/>
              <a:gd name="connsiteX251" fmla="*/ 19804244 w 25004707"/>
              <a:gd name="connsiteY251" fmla="*/ 2232058 h 10808782"/>
              <a:gd name="connsiteX252" fmla="*/ 21152226 w 25004707"/>
              <a:gd name="connsiteY252" fmla="*/ 1346888 h 10808782"/>
              <a:gd name="connsiteX253" fmla="*/ 21120288 w 25004707"/>
              <a:gd name="connsiteY253" fmla="*/ 1831793 h 10808782"/>
              <a:gd name="connsiteX254" fmla="*/ 21120288 w 25004707"/>
              <a:gd name="connsiteY254" fmla="*/ 1831793 h 10808782"/>
              <a:gd name="connsiteX255" fmla="*/ 19836180 w 25004707"/>
              <a:gd name="connsiteY255" fmla="*/ 1747609 h 10808782"/>
              <a:gd name="connsiteX256" fmla="*/ 21056728 w 25004707"/>
              <a:gd name="connsiteY256" fmla="*/ 2801131 h 10808782"/>
              <a:gd name="connsiteX257" fmla="*/ 21024790 w 25004707"/>
              <a:gd name="connsiteY257" fmla="*/ 3286020 h 10808782"/>
              <a:gd name="connsiteX258" fmla="*/ 21056728 w 25004707"/>
              <a:gd name="connsiteY258" fmla="*/ 2801131 h 10808782"/>
              <a:gd name="connsiteX259" fmla="*/ 19772464 w 25004707"/>
              <a:gd name="connsiteY259" fmla="*/ 2716963 h 10808782"/>
              <a:gd name="connsiteX260" fmla="*/ 21024790 w 25004707"/>
              <a:gd name="connsiteY260" fmla="*/ 3286020 h 10808782"/>
              <a:gd name="connsiteX261" fmla="*/ 19740684 w 25004707"/>
              <a:gd name="connsiteY261" fmla="*/ 3201853 h 10808782"/>
              <a:gd name="connsiteX262" fmla="*/ 21488592 w 25004707"/>
              <a:gd name="connsiteY262" fmla="*/ 6165430 h 10808782"/>
              <a:gd name="connsiteX263" fmla="*/ 21562380 w 25004707"/>
              <a:gd name="connsiteY263" fmla="*/ 6728310 h 10808782"/>
              <a:gd name="connsiteX264" fmla="*/ 21184006 w 25004707"/>
              <a:gd name="connsiteY264" fmla="*/ 6703508 h 10808782"/>
              <a:gd name="connsiteX265" fmla="*/ 20674736 w 25004707"/>
              <a:gd name="connsiteY265" fmla="*/ 8617602 h 10808782"/>
              <a:gd name="connsiteX266" fmla="*/ 20690628 w 25004707"/>
              <a:gd name="connsiteY266" fmla="*/ 8375378 h 10808782"/>
              <a:gd name="connsiteX267" fmla="*/ 20800442 w 25004707"/>
              <a:gd name="connsiteY267" fmla="*/ 8170860 h 10808782"/>
              <a:gd name="connsiteX268" fmla="*/ 21113838 w 25004707"/>
              <a:gd name="connsiteY268" fmla="*/ 7756165 h 10808782"/>
              <a:gd name="connsiteX269" fmla="*/ 21415434 w 25004707"/>
              <a:gd name="connsiteY269" fmla="*/ 7276714 h 10808782"/>
              <a:gd name="connsiteX270" fmla="*/ 20579240 w 25004707"/>
              <a:gd name="connsiteY270" fmla="*/ 10071342 h 10808782"/>
              <a:gd name="connsiteX271" fmla="*/ 20547302 w 25004707"/>
              <a:gd name="connsiteY271" fmla="*/ 10556248 h 10808782"/>
              <a:gd name="connsiteX272" fmla="*/ 19263194 w 25004707"/>
              <a:gd name="connsiteY272" fmla="*/ 10472064 h 10808782"/>
              <a:gd name="connsiteX273" fmla="*/ 20800442 w 25004707"/>
              <a:gd name="connsiteY273" fmla="*/ 8170372 h 10808782"/>
              <a:gd name="connsiteX274" fmla="*/ 21113838 w 25004707"/>
              <a:gd name="connsiteY274" fmla="*/ 7756149 h 10808782"/>
              <a:gd name="connsiteX275" fmla="*/ 20096558 w 25004707"/>
              <a:gd name="connsiteY275" fmla="*/ 4954825 h 10808782"/>
              <a:gd name="connsiteX276" fmla="*/ 20568856 w 25004707"/>
              <a:gd name="connsiteY276" fmla="*/ 5391367 h 10808782"/>
              <a:gd name="connsiteX277" fmla="*/ 19539460 w 25004707"/>
              <a:gd name="connsiteY277" fmla="*/ 4997829 h 10808782"/>
              <a:gd name="connsiteX278" fmla="*/ 19676964 w 25004707"/>
              <a:gd name="connsiteY278" fmla="*/ 4170719 h 10808782"/>
              <a:gd name="connsiteX279" fmla="*/ 19750594 w 25004707"/>
              <a:gd name="connsiteY279" fmla="*/ 4599953 h 10808782"/>
              <a:gd name="connsiteX280" fmla="*/ 18586528 w 25004707"/>
              <a:gd name="connsiteY280" fmla="*/ 4366498 h 10808782"/>
              <a:gd name="connsiteX281" fmla="*/ 20097188 w 25004707"/>
              <a:gd name="connsiteY281" fmla="*/ 4954857 h 10808782"/>
              <a:gd name="connsiteX282" fmla="*/ 19751068 w 25004707"/>
              <a:gd name="connsiteY282" fmla="*/ 4599984 h 10808782"/>
              <a:gd name="connsiteX283" fmla="*/ 19772464 w 25004707"/>
              <a:gd name="connsiteY283" fmla="*/ 2716947 h 10808782"/>
              <a:gd name="connsiteX284" fmla="*/ 19740684 w 25004707"/>
              <a:gd name="connsiteY284" fmla="*/ 3201853 h 10808782"/>
              <a:gd name="connsiteX285" fmla="*/ 18456576 w 25004707"/>
              <a:gd name="connsiteY285" fmla="*/ 3117669 h 10808782"/>
              <a:gd name="connsiteX286" fmla="*/ 20922686 w 25004707"/>
              <a:gd name="connsiteY286" fmla="*/ 7397316 h 10808782"/>
              <a:gd name="connsiteX287" fmla="*/ 21184006 w 25004707"/>
              <a:gd name="connsiteY287" fmla="*/ 6703963 h 10808782"/>
              <a:gd name="connsiteX288" fmla="*/ 19877714 w 25004707"/>
              <a:gd name="connsiteY288" fmla="*/ 8295752 h 10808782"/>
              <a:gd name="connsiteX289" fmla="*/ 20403032 w 25004707"/>
              <a:gd name="connsiteY289" fmla="*/ 7924611 h 10808782"/>
              <a:gd name="connsiteX290" fmla="*/ 19740684 w 25004707"/>
              <a:gd name="connsiteY290" fmla="*/ 3201853 h 10808782"/>
              <a:gd name="connsiteX291" fmla="*/ 19708746 w 25004707"/>
              <a:gd name="connsiteY291" fmla="*/ 3686286 h 10808782"/>
              <a:gd name="connsiteX292" fmla="*/ 19708746 w 25004707"/>
              <a:gd name="connsiteY292" fmla="*/ 3686286 h 10808782"/>
              <a:gd name="connsiteX293" fmla="*/ 18424638 w 25004707"/>
              <a:gd name="connsiteY293" fmla="*/ 3602118 h 10808782"/>
              <a:gd name="connsiteX294" fmla="*/ 19804244 w 25004707"/>
              <a:gd name="connsiteY294" fmla="*/ 2232042 h 10808782"/>
              <a:gd name="connsiteX295" fmla="*/ 19772464 w 25004707"/>
              <a:gd name="connsiteY295" fmla="*/ 2716947 h 10808782"/>
              <a:gd name="connsiteX296" fmla="*/ 18488356 w 25004707"/>
              <a:gd name="connsiteY296" fmla="*/ 2632764 h 10808782"/>
              <a:gd name="connsiteX297" fmla="*/ 19804244 w 25004707"/>
              <a:gd name="connsiteY297" fmla="*/ 2232042 h 10808782"/>
              <a:gd name="connsiteX298" fmla="*/ 19836180 w 25004707"/>
              <a:gd name="connsiteY298" fmla="*/ 1747625 h 10808782"/>
              <a:gd name="connsiteX299" fmla="*/ 19804244 w 25004707"/>
              <a:gd name="connsiteY299" fmla="*/ 2232042 h 10808782"/>
              <a:gd name="connsiteX300" fmla="*/ 18520136 w 25004707"/>
              <a:gd name="connsiteY300" fmla="*/ 2147874 h 10808782"/>
              <a:gd name="connsiteX301" fmla="*/ 19676964 w 25004707"/>
              <a:gd name="connsiteY301" fmla="*/ 4171175 h 10808782"/>
              <a:gd name="connsiteX302" fmla="*/ 19708902 w 25004707"/>
              <a:gd name="connsiteY302" fmla="*/ 3686270 h 10808782"/>
              <a:gd name="connsiteX303" fmla="*/ 19676964 w 25004707"/>
              <a:gd name="connsiteY303" fmla="*/ 4171175 h 10808782"/>
              <a:gd name="connsiteX304" fmla="*/ 19344218 w 25004707"/>
              <a:gd name="connsiteY304" fmla="*/ 4149359 h 10808782"/>
              <a:gd name="connsiteX305" fmla="*/ 18402454 w 25004707"/>
              <a:gd name="connsiteY305" fmla="*/ 4077278 h 10808782"/>
              <a:gd name="connsiteX306" fmla="*/ 19326754 w 25004707"/>
              <a:gd name="connsiteY306" fmla="*/ 9502725 h 10808782"/>
              <a:gd name="connsiteX307" fmla="*/ 19294974 w 25004707"/>
              <a:gd name="connsiteY307" fmla="*/ 9987158 h 10808782"/>
              <a:gd name="connsiteX308" fmla="*/ 18010866 w 25004707"/>
              <a:gd name="connsiteY308" fmla="*/ 9902991 h 10808782"/>
              <a:gd name="connsiteX309" fmla="*/ 19263194 w 25004707"/>
              <a:gd name="connsiteY309" fmla="*/ 10472064 h 10808782"/>
              <a:gd name="connsiteX310" fmla="*/ 19294974 w 25004707"/>
              <a:gd name="connsiteY310" fmla="*/ 9987175 h 10808782"/>
              <a:gd name="connsiteX311" fmla="*/ 19263194 w 25004707"/>
              <a:gd name="connsiteY311" fmla="*/ 10472064 h 10808782"/>
              <a:gd name="connsiteX312" fmla="*/ 17978928 w 25004707"/>
              <a:gd name="connsiteY312" fmla="*/ 10387896 h 10808782"/>
              <a:gd name="connsiteX313" fmla="*/ 19326754 w 25004707"/>
              <a:gd name="connsiteY313" fmla="*/ 9502741 h 10808782"/>
              <a:gd name="connsiteX314" fmla="*/ 19358692 w 25004707"/>
              <a:gd name="connsiteY314" fmla="*/ 9017852 h 10808782"/>
              <a:gd name="connsiteX315" fmla="*/ 19326754 w 25004707"/>
              <a:gd name="connsiteY315" fmla="*/ 9502741 h 10808782"/>
              <a:gd name="connsiteX316" fmla="*/ 18042646 w 25004707"/>
              <a:gd name="connsiteY316" fmla="*/ 9418573 h 10808782"/>
              <a:gd name="connsiteX317" fmla="*/ 19358692 w 25004707"/>
              <a:gd name="connsiteY317" fmla="*/ 9017852 h 10808782"/>
              <a:gd name="connsiteX318" fmla="*/ 19487700 w 25004707"/>
              <a:gd name="connsiteY318" fmla="*/ 8601900 h 10808782"/>
              <a:gd name="connsiteX319" fmla="*/ 19358692 w 25004707"/>
              <a:gd name="connsiteY319" fmla="*/ 9017852 h 10808782"/>
              <a:gd name="connsiteX320" fmla="*/ 18082764 w 25004707"/>
              <a:gd name="connsiteY320" fmla="*/ 8945975 h 10808782"/>
              <a:gd name="connsiteX321" fmla="*/ 21015666 w 25004707"/>
              <a:gd name="connsiteY321" fmla="*/ 5981974 h 10808782"/>
              <a:gd name="connsiteX322" fmla="*/ 21184006 w 25004707"/>
              <a:gd name="connsiteY322" fmla="*/ 6703508 h 10808782"/>
              <a:gd name="connsiteX323" fmla="*/ 21015666 w 25004707"/>
              <a:gd name="connsiteY323" fmla="*/ 5981974 h 10808782"/>
              <a:gd name="connsiteX324" fmla="*/ 20273552 w 25004707"/>
              <a:gd name="connsiteY324" fmla="*/ 5643966 h 10808782"/>
              <a:gd name="connsiteX325" fmla="*/ 21184006 w 25004707"/>
              <a:gd name="connsiteY325" fmla="*/ 6703508 h 10808782"/>
              <a:gd name="connsiteX326" fmla="*/ 20666240 w 25004707"/>
              <a:gd name="connsiteY326" fmla="*/ 6669558 h 10808782"/>
              <a:gd name="connsiteX327" fmla="*/ 19487700 w 25004707"/>
              <a:gd name="connsiteY327" fmla="*/ 8602388 h 10808782"/>
              <a:gd name="connsiteX328" fmla="*/ 19877244 w 25004707"/>
              <a:gd name="connsiteY328" fmla="*/ 8295720 h 10808782"/>
              <a:gd name="connsiteX329" fmla="*/ 20922686 w 25004707"/>
              <a:gd name="connsiteY329" fmla="*/ 7397331 h 10808782"/>
              <a:gd name="connsiteX330" fmla="*/ 20402560 w 25004707"/>
              <a:gd name="connsiteY330" fmla="*/ 7924564 h 10808782"/>
              <a:gd name="connsiteX331" fmla="*/ 19330530 w 25004707"/>
              <a:gd name="connsiteY331" fmla="*/ 8180368 h 10808782"/>
              <a:gd name="connsiteX332" fmla="*/ 19867960 w 25004707"/>
              <a:gd name="connsiteY332" fmla="*/ 1262715 h 10808782"/>
              <a:gd name="connsiteX333" fmla="*/ 19836024 w 25004707"/>
              <a:gd name="connsiteY333" fmla="*/ 1747609 h 10808782"/>
              <a:gd name="connsiteX334" fmla="*/ 18551914 w 25004707"/>
              <a:gd name="connsiteY334" fmla="*/ 1663441 h 10808782"/>
              <a:gd name="connsiteX335" fmla="*/ 18583852 w 25004707"/>
              <a:gd name="connsiteY335" fmla="*/ 1178533 h 10808782"/>
              <a:gd name="connsiteX336" fmla="*/ 18551914 w 25004707"/>
              <a:gd name="connsiteY336" fmla="*/ 1663425 h 10808782"/>
              <a:gd name="connsiteX337" fmla="*/ 18551914 w 25004707"/>
              <a:gd name="connsiteY337" fmla="*/ 1663425 h 10808782"/>
              <a:gd name="connsiteX338" fmla="*/ 18520136 w 25004707"/>
              <a:gd name="connsiteY338" fmla="*/ 2147874 h 10808782"/>
              <a:gd name="connsiteX339" fmla="*/ 18551914 w 25004707"/>
              <a:gd name="connsiteY339" fmla="*/ 1663425 h 10808782"/>
              <a:gd name="connsiteX340" fmla="*/ 17267806 w 25004707"/>
              <a:gd name="connsiteY340" fmla="*/ 1579257 h 10808782"/>
              <a:gd name="connsiteX341" fmla="*/ 18586528 w 25004707"/>
              <a:gd name="connsiteY341" fmla="*/ 4366498 h 10808782"/>
              <a:gd name="connsiteX342" fmla="*/ 18402610 w 25004707"/>
              <a:gd name="connsiteY342" fmla="*/ 4076822 h 10808782"/>
              <a:gd name="connsiteX343" fmla="*/ 18586528 w 25004707"/>
              <a:gd name="connsiteY343" fmla="*/ 4366498 h 10808782"/>
              <a:gd name="connsiteX344" fmla="*/ 18962698 w 25004707"/>
              <a:gd name="connsiteY344" fmla="*/ 4627804 h 10808782"/>
              <a:gd name="connsiteX345" fmla="*/ 18586528 w 25004707"/>
              <a:gd name="connsiteY345" fmla="*/ 4366498 h 10808782"/>
              <a:gd name="connsiteX346" fmla="*/ 17200786 w 25004707"/>
              <a:gd name="connsiteY346" fmla="*/ 4158019 h 10808782"/>
              <a:gd name="connsiteX347" fmla="*/ 18488356 w 25004707"/>
              <a:gd name="connsiteY347" fmla="*/ 2632764 h 10808782"/>
              <a:gd name="connsiteX348" fmla="*/ 18456418 w 25004707"/>
              <a:gd name="connsiteY348" fmla="*/ 3117653 h 10808782"/>
              <a:gd name="connsiteX349" fmla="*/ 17172310 w 25004707"/>
              <a:gd name="connsiteY349" fmla="*/ 3033485 h 10808782"/>
              <a:gd name="connsiteX350" fmla="*/ 18488356 w 25004707"/>
              <a:gd name="connsiteY350" fmla="*/ 2632764 h 10808782"/>
              <a:gd name="connsiteX351" fmla="*/ 18520136 w 25004707"/>
              <a:gd name="connsiteY351" fmla="*/ 2147874 h 10808782"/>
              <a:gd name="connsiteX352" fmla="*/ 18488356 w 25004707"/>
              <a:gd name="connsiteY352" fmla="*/ 2632764 h 10808782"/>
              <a:gd name="connsiteX353" fmla="*/ 17204090 w 25004707"/>
              <a:gd name="connsiteY353" fmla="*/ 2548596 h 10808782"/>
              <a:gd name="connsiteX354" fmla="*/ 18424638 w 25004707"/>
              <a:gd name="connsiteY354" fmla="*/ 3602118 h 10808782"/>
              <a:gd name="connsiteX355" fmla="*/ 18402454 w 25004707"/>
              <a:gd name="connsiteY355" fmla="*/ 4077310 h 10808782"/>
              <a:gd name="connsiteX356" fmla="*/ 17125426 w 25004707"/>
              <a:gd name="connsiteY356" fmla="*/ 3949824 h 10808782"/>
              <a:gd name="connsiteX357" fmla="*/ 18424638 w 25004707"/>
              <a:gd name="connsiteY357" fmla="*/ 3602118 h 10808782"/>
              <a:gd name="connsiteX358" fmla="*/ 18456418 w 25004707"/>
              <a:gd name="connsiteY358" fmla="*/ 3117684 h 10808782"/>
              <a:gd name="connsiteX359" fmla="*/ 18424638 w 25004707"/>
              <a:gd name="connsiteY359" fmla="*/ 3602118 h 10808782"/>
              <a:gd name="connsiteX360" fmla="*/ 17140372 w 25004707"/>
              <a:gd name="connsiteY360" fmla="*/ 3517934 h 10808782"/>
              <a:gd name="connsiteX361" fmla="*/ 18520136 w 25004707"/>
              <a:gd name="connsiteY361" fmla="*/ 2147874 h 10808782"/>
              <a:gd name="connsiteX362" fmla="*/ 17236028 w 25004707"/>
              <a:gd name="connsiteY362" fmla="*/ 2063691 h 10808782"/>
              <a:gd name="connsiteX363" fmla="*/ 18962698 w 25004707"/>
              <a:gd name="connsiteY363" fmla="*/ 4627804 h 10808782"/>
              <a:gd name="connsiteX364" fmla="*/ 17358900 w 25004707"/>
              <a:gd name="connsiteY364" fmla="*/ 4323180 h 10808782"/>
              <a:gd name="connsiteX365" fmla="*/ 18962698 w 25004707"/>
              <a:gd name="connsiteY365" fmla="*/ 4627804 h 10808782"/>
              <a:gd name="connsiteX366" fmla="*/ 20096558 w 25004707"/>
              <a:gd name="connsiteY366" fmla="*/ 4954825 h 10808782"/>
              <a:gd name="connsiteX367" fmla="*/ 20273552 w 25004707"/>
              <a:gd name="connsiteY367" fmla="*/ 5643966 h 10808782"/>
              <a:gd name="connsiteX368" fmla="*/ 19539618 w 25004707"/>
              <a:gd name="connsiteY368" fmla="*/ 4997813 h 10808782"/>
              <a:gd name="connsiteX369" fmla="*/ 20273552 w 25004707"/>
              <a:gd name="connsiteY369" fmla="*/ 5643966 h 10808782"/>
              <a:gd name="connsiteX370" fmla="*/ 20666240 w 25004707"/>
              <a:gd name="connsiteY370" fmla="*/ 6669558 h 10808782"/>
              <a:gd name="connsiteX371" fmla="*/ 20273552 w 25004707"/>
              <a:gd name="connsiteY371" fmla="*/ 5643966 h 10808782"/>
              <a:gd name="connsiteX372" fmla="*/ 18261016 w 25004707"/>
              <a:gd name="connsiteY372" fmla="*/ 5022238 h 10808782"/>
              <a:gd name="connsiteX373" fmla="*/ 18710344 w 25004707"/>
              <a:gd name="connsiteY373" fmla="*/ 8471883 h 10808782"/>
              <a:gd name="connsiteX374" fmla="*/ 18303180 w 25004707"/>
              <a:gd name="connsiteY374" fmla="*/ 8681872 h 10808782"/>
              <a:gd name="connsiteX375" fmla="*/ 19487858 w 25004707"/>
              <a:gd name="connsiteY375" fmla="*/ 8602371 h 10808782"/>
              <a:gd name="connsiteX376" fmla="*/ 20666084 w 25004707"/>
              <a:gd name="connsiteY376" fmla="*/ 6669542 h 10808782"/>
              <a:gd name="connsiteX377" fmla="*/ 20142814 w 25004707"/>
              <a:gd name="connsiteY377" fmla="*/ 7635092 h 10808782"/>
              <a:gd name="connsiteX378" fmla="*/ 19330530 w 25004707"/>
              <a:gd name="connsiteY378" fmla="*/ 8179866 h 10808782"/>
              <a:gd name="connsiteX379" fmla="*/ 18710188 w 25004707"/>
              <a:gd name="connsiteY379" fmla="*/ 8471868 h 10808782"/>
              <a:gd name="connsiteX380" fmla="*/ 19330530 w 25004707"/>
              <a:gd name="connsiteY380" fmla="*/ 8179881 h 10808782"/>
              <a:gd name="connsiteX381" fmla="*/ 17402166 w 25004707"/>
              <a:gd name="connsiteY381" fmla="*/ 8385201 h 10808782"/>
              <a:gd name="connsiteX382" fmla="*/ 18082764 w 25004707"/>
              <a:gd name="connsiteY382" fmla="*/ 8945975 h 10808782"/>
              <a:gd name="connsiteX383" fmla="*/ 18303180 w 25004707"/>
              <a:gd name="connsiteY383" fmla="*/ 8681400 h 10808782"/>
              <a:gd name="connsiteX384" fmla="*/ 18082764 w 25004707"/>
              <a:gd name="connsiteY384" fmla="*/ 8945975 h 10808782"/>
              <a:gd name="connsiteX385" fmla="*/ 18042646 w 25004707"/>
              <a:gd name="connsiteY385" fmla="*/ 9418573 h 10808782"/>
              <a:gd name="connsiteX386" fmla="*/ 18082764 w 25004707"/>
              <a:gd name="connsiteY386" fmla="*/ 8945975 h 10808782"/>
              <a:gd name="connsiteX387" fmla="*/ 16799444 w 25004707"/>
              <a:gd name="connsiteY387" fmla="*/ 8904669 h 10808782"/>
              <a:gd name="connsiteX388" fmla="*/ 17978928 w 25004707"/>
              <a:gd name="connsiteY388" fmla="*/ 10387896 h 10808782"/>
              <a:gd name="connsiteX389" fmla="*/ 18010866 w 25004707"/>
              <a:gd name="connsiteY389" fmla="*/ 9902991 h 10808782"/>
              <a:gd name="connsiteX390" fmla="*/ 17978928 w 25004707"/>
              <a:gd name="connsiteY390" fmla="*/ 10387896 h 10808782"/>
              <a:gd name="connsiteX391" fmla="*/ 16694821 w 25004707"/>
              <a:gd name="connsiteY391" fmla="*/ 10303712 h 10808782"/>
              <a:gd name="connsiteX392" fmla="*/ 18010866 w 25004707"/>
              <a:gd name="connsiteY392" fmla="*/ 9902991 h 10808782"/>
              <a:gd name="connsiteX393" fmla="*/ 18042646 w 25004707"/>
              <a:gd name="connsiteY393" fmla="*/ 9418558 h 10808782"/>
              <a:gd name="connsiteX394" fmla="*/ 16758537 w 25004707"/>
              <a:gd name="connsiteY394" fmla="*/ 9334389 h 10808782"/>
              <a:gd name="connsiteX395" fmla="*/ 18010866 w 25004707"/>
              <a:gd name="connsiteY395" fmla="*/ 9902991 h 10808782"/>
              <a:gd name="connsiteX396" fmla="*/ 16726601 w 25004707"/>
              <a:gd name="connsiteY396" fmla="*/ 9818807 h 10808782"/>
              <a:gd name="connsiteX397" fmla="*/ 20666240 w 25004707"/>
              <a:gd name="connsiteY397" fmla="*/ 6669558 h 10808782"/>
              <a:gd name="connsiteX398" fmla="*/ 18998410 w 25004707"/>
              <a:gd name="connsiteY398" fmla="*/ 6560226 h 10808782"/>
              <a:gd name="connsiteX399" fmla="*/ 18261646 w 25004707"/>
              <a:gd name="connsiteY399" fmla="*/ 5022270 h 10808782"/>
              <a:gd name="connsiteX400" fmla="*/ 14385738 w 25004707"/>
              <a:gd name="connsiteY400" fmla="*/ 4808195 h 10808782"/>
              <a:gd name="connsiteX401" fmla="*/ 12486354 w 25004707"/>
              <a:gd name="connsiteY401" fmla="*/ 5165033 h 10808782"/>
              <a:gd name="connsiteX402" fmla="*/ 18962698 w 25004707"/>
              <a:gd name="connsiteY402" fmla="*/ 4628276 h 10808782"/>
              <a:gd name="connsiteX403" fmla="*/ 19539460 w 25004707"/>
              <a:gd name="connsiteY403" fmla="*/ 4998269 h 10808782"/>
              <a:gd name="connsiteX404" fmla="*/ 17654520 w 25004707"/>
              <a:gd name="connsiteY404" fmla="*/ 4542992 h 10808782"/>
              <a:gd name="connsiteX405" fmla="*/ 16758537 w 25004707"/>
              <a:gd name="connsiteY405" fmla="*/ 9334389 h 10808782"/>
              <a:gd name="connsiteX406" fmla="*/ 16800072 w 25004707"/>
              <a:gd name="connsiteY406" fmla="*/ 8904700 h 10808782"/>
              <a:gd name="connsiteX407" fmla="*/ 16758537 w 25004707"/>
              <a:gd name="connsiteY407" fmla="*/ 9334389 h 10808782"/>
              <a:gd name="connsiteX408" fmla="*/ 16726601 w 25004707"/>
              <a:gd name="connsiteY408" fmla="*/ 9818807 h 10808782"/>
              <a:gd name="connsiteX409" fmla="*/ 16758537 w 25004707"/>
              <a:gd name="connsiteY409" fmla="*/ 9334389 h 10808782"/>
              <a:gd name="connsiteX410" fmla="*/ 15474273 w 25004707"/>
              <a:gd name="connsiteY410" fmla="*/ 9250206 h 10808782"/>
              <a:gd name="connsiteX411" fmla="*/ 16726601 w 25004707"/>
              <a:gd name="connsiteY411" fmla="*/ 9818807 h 10808782"/>
              <a:gd name="connsiteX412" fmla="*/ 16694821 w 25004707"/>
              <a:gd name="connsiteY412" fmla="*/ 10303712 h 10808782"/>
              <a:gd name="connsiteX413" fmla="*/ 15410602 w 25004707"/>
              <a:gd name="connsiteY413" fmla="*/ 10219528 h 10808782"/>
              <a:gd name="connsiteX414" fmla="*/ 17267806 w 25004707"/>
              <a:gd name="connsiteY414" fmla="*/ 1579257 h 10808782"/>
              <a:gd name="connsiteX415" fmla="*/ 17236028 w 25004707"/>
              <a:gd name="connsiteY415" fmla="*/ 2063691 h 10808782"/>
              <a:gd name="connsiteX416" fmla="*/ 17267806 w 25004707"/>
              <a:gd name="connsiteY416" fmla="*/ 1579257 h 10808782"/>
              <a:gd name="connsiteX417" fmla="*/ 17299588 w 25004707"/>
              <a:gd name="connsiteY417" fmla="*/ 1094351 h 10808782"/>
              <a:gd name="connsiteX418" fmla="*/ 17267806 w 25004707"/>
              <a:gd name="connsiteY418" fmla="*/ 1579257 h 10808782"/>
              <a:gd name="connsiteX419" fmla="*/ 15983542 w 25004707"/>
              <a:gd name="connsiteY419" fmla="*/ 1495075 h 10808782"/>
              <a:gd name="connsiteX420" fmla="*/ 17236028 w 25004707"/>
              <a:gd name="connsiteY420" fmla="*/ 2063691 h 10808782"/>
              <a:gd name="connsiteX421" fmla="*/ 17204090 w 25004707"/>
              <a:gd name="connsiteY421" fmla="*/ 2548596 h 10808782"/>
              <a:gd name="connsiteX422" fmla="*/ 17236028 w 25004707"/>
              <a:gd name="connsiteY422" fmla="*/ 2063691 h 10808782"/>
              <a:gd name="connsiteX423" fmla="*/ 15951762 w 25004707"/>
              <a:gd name="connsiteY423" fmla="*/ 1979523 h 10808782"/>
              <a:gd name="connsiteX424" fmla="*/ 16799444 w 25004707"/>
              <a:gd name="connsiteY424" fmla="*/ 8904669 h 10808782"/>
              <a:gd name="connsiteX425" fmla="*/ 16902020 w 25004707"/>
              <a:gd name="connsiteY425" fmla="*/ 8707648 h 10808782"/>
              <a:gd name="connsiteX426" fmla="*/ 18303180 w 25004707"/>
              <a:gd name="connsiteY426" fmla="*/ 8681872 h 10808782"/>
              <a:gd name="connsiteX427" fmla="*/ 16799444 w 25004707"/>
              <a:gd name="connsiteY427" fmla="*/ 8904669 h 10808782"/>
              <a:gd name="connsiteX428" fmla="*/ 15487866 w 25004707"/>
              <a:gd name="connsiteY428" fmla="*/ 8816367 h 10808782"/>
              <a:gd name="connsiteX429" fmla="*/ 17204090 w 25004707"/>
              <a:gd name="connsiteY429" fmla="*/ 2548596 h 10808782"/>
              <a:gd name="connsiteX430" fmla="*/ 15919982 w 25004707"/>
              <a:gd name="connsiteY430" fmla="*/ 2464396 h 10808782"/>
              <a:gd name="connsiteX431" fmla="*/ 17172310 w 25004707"/>
              <a:gd name="connsiteY431" fmla="*/ 3033501 h 10808782"/>
              <a:gd name="connsiteX432" fmla="*/ 17140372 w 25004707"/>
              <a:gd name="connsiteY432" fmla="*/ 3517934 h 10808782"/>
              <a:gd name="connsiteX433" fmla="*/ 17140372 w 25004707"/>
              <a:gd name="connsiteY433" fmla="*/ 3517934 h 10808782"/>
              <a:gd name="connsiteX434" fmla="*/ 15856264 w 25004707"/>
              <a:gd name="connsiteY434" fmla="*/ 3433766 h 10808782"/>
              <a:gd name="connsiteX435" fmla="*/ 16726601 w 25004707"/>
              <a:gd name="connsiteY435" fmla="*/ 9818807 h 10808782"/>
              <a:gd name="connsiteX436" fmla="*/ 15442492 w 25004707"/>
              <a:gd name="connsiteY436" fmla="*/ 9734623 h 10808782"/>
              <a:gd name="connsiteX437" fmla="*/ 17204090 w 25004707"/>
              <a:gd name="connsiteY437" fmla="*/ 2548580 h 10808782"/>
              <a:gd name="connsiteX438" fmla="*/ 17172310 w 25004707"/>
              <a:gd name="connsiteY438" fmla="*/ 3033485 h 10808782"/>
              <a:gd name="connsiteX439" fmla="*/ 15888202 w 25004707"/>
              <a:gd name="connsiteY439" fmla="*/ 2949301 h 10808782"/>
              <a:gd name="connsiteX440" fmla="*/ 17402166 w 25004707"/>
              <a:gd name="connsiteY440" fmla="*/ 8385673 h 10808782"/>
              <a:gd name="connsiteX441" fmla="*/ 18066716 w 25004707"/>
              <a:gd name="connsiteY441" fmla="*/ 7989305 h 10808782"/>
              <a:gd name="connsiteX442" fmla="*/ 18998254 w 25004707"/>
              <a:gd name="connsiteY442" fmla="*/ 6560697 h 10808782"/>
              <a:gd name="connsiteX443" fmla="*/ 16901864 w 25004707"/>
              <a:gd name="connsiteY443" fmla="*/ 8707648 h 10808782"/>
              <a:gd name="connsiteX444" fmla="*/ 17080274 w 25004707"/>
              <a:gd name="connsiteY444" fmla="*/ 8564539 h 10808782"/>
              <a:gd name="connsiteX445" fmla="*/ 17402166 w 25004707"/>
              <a:gd name="connsiteY445" fmla="*/ 8385201 h 10808782"/>
              <a:gd name="connsiteX446" fmla="*/ 17200630 w 25004707"/>
              <a:gd name="connsiteY446" fmla="*/ 4158019 h 10808782"/>
              <a:gd name="connsiteX447" fmla="*/ 17124954 w 25004707"/>
              <a:gd name="connsiteY447" fmla="*/ 3949321 h 10808782"/>
              <a:gd name="connsiteX448" fmla="*/ 17140530 w 25004707"/>
              <a:gd name="connsiteY448" fmla="*/ 3517934 h 10808782"/>
              <a:gd name="connsiteX449" fmla="*/ 17125426 w 25004707"/>
              <a:gd name="connsiteY449" fmla="*/ 3949352 h 10808782"/>
              <a:gd name="connsiteX450" fmla="*/ 17201730 w 25004707"/>
              <a:gd name="connsiteY450" fmla="*/ 4158098 h 10808782"/>
              <a:gd name="connsiteX451" fmla="*/ 17358742 w 25004707"/>
              <a:gd name="connsiteY451" fmla="*/ 4323196 h 10808782"/>
              <a:gd name="connsiteX452" fmla="*/ 15489707 w 25004707"/>
              <a:gd name="connsiteY452" fmla="*/ 4211020 h 10808782"/>
              <a:gd name="connsiteX453" fmla="*/ 17654676 w 25004707"/>
              <a:gd name="connsiteY453" fmla="*/ 4542552 h 10808782"/>
              <a:gd name="connsiteX454" fmla="*/ 17359372 w 25004707"/>
              <a:gd name="connsiteY454" fmla="*/ 4322756 h 10808782"/>
              <a:gd name="connsiteX455" fmla="*/ 18261488 w 25004707"/>
              <a:gd name="connsiteY455" fmla="*/ 5022254 h 10808782"/>
              <a:gd name="connsiteX456" fmla="*/ 17654520 w 25004707"/>
              <a:gd name="connsiteY456" fmla="*/ 4542536 h 10808782"/>
              <a:gd name="connsiteX457" fmla="*/ 10846386 w 25004707"/>
              <a:gd name="connsiteY457" fmla="*/ 1158336 h 10808782"/>
              <a:gd name="connsiteX458" fmla="*/ 10814575 w 25004707"/>
              <a:gd name="connsiteY458" fmla="*/ 1642772 h 10808782"/>
              <a:gd name="connsiteX459" fmla="*/ 10846386 w 25004707"/>
              <a:gd name="connsiteY459" fmla="*/ 1158336 h 10808782"/>
              <a:gd name="connsiteX460" fmla="*/ 10878229 w 25004707"/>
              <a:gd name="connsiteY460" fmla="*/ 673426 h 10808782"/>
              <a:gd name="connsiteX461" fmla="*/ 10846386 w 25004707"/>
              <a:gd name="connsiteY461" fmla="*/ 1158336 h 10808782"/>
              <a:gd name="connsiteX462" fmla="*/ 9562215 w 25004707"/>
              <a:gd name="connsiteY462" fmla="*/ 1074149 h 10808782"/>
              <a:gd name="connsiteX463" fmla="*/ 10846386 w 25004707"/>
              <a:gd name="connsiteY463" fmla="*/ 1158336 h 10808782"/>
              <a:gd name="connsiteX464" fmla="*/ 12130541 w 25004707"/>
              <a:gd name="connsiteY464" fmla="*/ 1242500 h 10808782"/>
              <a:gd name="connsiteX465" fmla="*/ 10814575 w 25004707"/>
              <a:gd name="connsiteY465" fmla="*/ 1642772 h 10808782"/>
              <a:gd name="connsiteX466" fmla="*/ 10782701 w 25004707"/>
              <a:gd name="connsiteY466" fmla="*/ 2127677 h 10808782"/>
              <a:gd name="connsiteX467" fmla="*/ 10814575 w 25004707"/>
              <a:gd name="connsiteY467" fmla="*/ 1642772 h 10808782"/>
              <a:gd name="connsiteX468" fmla="*/ 12098730 w 25004707"/>
              <a:gd name="connsiteY468" fmla="*/ 1726956 h 10808782"/>
              <a:gd name="connsiteX469" fmla="*/ 10814575 w 25004707"/>
              <a:gd name="connsiteY469" fmla="*/ 1642772 h 10808782"/>
              <a:gd name="connsiteX470" fmla="*/ 9530388 w 25004707"/>
              <a:gd name="connsiteY470" fmla="*/ 1558589 h 10808782"/>
              <a:gd name="connsiteX471" fmla="*/ 10305289 w 25004707"/>
              <a:gd name="connsiteY471" fmla="*/ 9397889 h 10808782"/>
              <a:gd name="connsiteX472" fmla="*/ 10273446 w 25004707"/>
              <a:gd name="connsiteY472" fmla="*/ 9882778 h 10808782"/>
              <a:gd name="connsiteX473" fmla="*/ 8989260 w 25004707"/>
              <a:gd name="connsiteY473" fmla="*/ 9798610 h 10808782"/>
              <a:gd name="connsiteX474" fmla="*/ 10555692 w 25004707"/>
              <a:gd name="connsiteY474" fmla="*/ 5519827 h 10808782"/>
              <a:gd name="connsiteX475" fmla="*/ 10507424 w 25004707"/>
              <a:gd name="connsiteY475" fmla="*/ 6003648 h 10808782"/>
              <a:gd name="connsiteX476" fmla="*/ 10555614 w 25004707"/>
              <a:gd name="connsiteY476" fmla="*/ 5519341 h 10808782"/>
              <a:gd name="connsiteX477" fmla="*/ 10575783 w 25004707"/>
              <a:gd name="connsiteY477" fmla="*/ 5277870 h 10808782"/>
              <a:gd name="connsiteX478" fmla="*/ 10591688 w 25004707"/>
              <a:gd name="connsiteY478" fmla="*/ 5035661 h 10808782"/>
              <a:gd name="connsiteX479" fmla="*/ 11548855 w 25004707"/>
              <a:gd name="connsiteY479" fmla="*/ 5027347 h 10808782"/>
              <a:gd name="connsiteX480" fmla="*/ 10337085 w 25004707"/>
              <a:gd name="connsiteY480" fmla="*/ 8913455 h 10808782"/>
              <a:gd name="connsiteX481" fmla="*/ 10305258 w 25004707"/>
              <a:gd name="connsiteY481" fmla="*/ 9397889 h 10808782"/>
              <a:gd name="connsiteX482" fmla="*/ 9021087 w 25004707"/>
              <a:gd name="connsiteY482" fmla="*/ 9313705 h 10808782"/>
              <a:gd name="connsiteX483" fmla="*/ 10337085 w 25004707"/>
              <a:gd name="connsiteY483" fmla="*/ 8913455 h 10808782"/>
              <a:gd name="connsiteX484" fmla="*/ 10368913 w 25004707"/>
              <a:gd name="connsiteY484" fmla="*/ 8428566 h 10808782"/>
              <a:gd name="connsiteX485" fmla="*/ 10337085 w 25004707"/>
              <a:gd name="connsiteY485" fmla="*/ 8913455 h 10808782"/>
              <a:gd name="connsiteX486" fmla="*/ 9052883 w 25004707"/>
              <a:gd name="connsiteY486" fmla="*/ 8829287 h 10808782"/>
              <a:gd name="connsiteX487" fmla="*/ 10464347 w 25004707"/>
              <a:gd name="connsiteY487" fmla="*/ 6974794 h 10808782"/>
              <a:gd name="connsiteX488" fmla="*/ 10432536 w 25004707"/>
              <a:gd name="connsiteY488" fmla="*/ 7459228 h 10808782"/>
              <a:gd name="connsiteX489" fmla="*/ 9148365 w 25004707"/>
              <a:gd name="connsiteY489" fmla="*/ 7375059 h 10808782"/>
              <a:gd name="connsiteX490" fmla="*/ 9116522 w 25004707"/>
              <a:gd name="connsiteY490" fmla="*/ 7859965 h 10808782"/>
              <a:gd name="connsiteX491" fmla="*/ 10782731 w 25004707"/>
              <a:gd name="connsiteY491" fmla="*/ 2127662 h 10808782"/>
              <a:gd name="connsiteX492" fmla="*/ 10750888 w 25004707"/>
              <a:gd name="connsiteY492" fmla="*/ 2612551 h 10808782"/>
              <a:gd name="connsiteX493" fmla="*/ 10750888 w 25004707"/>
              <a:gd name="connsiteY493" fmla="*/ 2612551 h 10808782"/>
              <a:gd name="connsiteX494" fmla="*/ 12035043 w 25004707"/>
              <a:gd name="connsiteY494" fmla="*/ 2696735 h 10808782"/>
              <a:gd name="connsiteX495" fmla="*/ 10750888 w 25004707"/>
              <a:gd name="connsiteY495" fmla="*/ 2612551 h 10808782"/>
              <a:gd name="connsiteX496" fmla="*/ 9466717 w 25004707"/>
              <a:gd name="connsiteY496" fmla="*/ 2528383 h 10808782"/>
              <a:gd name="connsiteX497" fmla="*/ 10687250 w 25004707"/>
              <a:gd name="connsiteY497" fmla="*/ 3581905 h 10808782"/>
              <a:gd name="connsiteX498" fmla="*/ 10655422 w 25004707"/>
              <a:gd name="connsiteY498" fmla="*/ 4066339 h 10808782"/>
              <a:gd name="connsiteX499" fmla="*/ 10687250 w 25004707"/>
              <a:gd name="connsiteY499" fmla="*/ 3581905 h 10808782"/>
              <a:gd name="connsiteX500" fmla="*/ 10719077 w 25004707"/>
              <a:gd name="connsiteY500" fmla="*/ 3096984 h 10808782"/>
              <a:gd name="connsiteX501" fmla="*/ 10687250 w 25004707"/>
              <a:gd name="connsiteY501" fmla="*/ 3581905 h 10808782"/>
              <a:gd name="connsiteX502" fmla="*/ 9403063 w 25004707"/>
              <a:gd name="connsiteY502" fmla="*/ 3497721 h 10808782"/>
              <a:gd name="connsiteX503" fmla="*/ 10655422 w 25004707"/>
              <a:gd name="connsiteY503" fmla="*/ 4066339 h 10808782"/>
              <a:gd name="connsiteX504" fmla="*/ 9371251 w 25004707"/>
              <a:gd name="connsiteY504" fmla="*/ 3982155 h 10808782"/>
              <a:gd name="connsiteX505" fmla="*/ 10655422 w 25004707"/>
              <a:gd name="connsiteY505" fmla="*/ 4066339 h 10808782"/>
              <a:gd name="connsiteX506" fmla="*/ 11939593 w 25004707"/>
              <a:gd name="connsiteY506" fmla="*/ 4150506 h 10808782"/>
              <a:gd name="connsiteX507" fmla="*/ 10368881 w 25004707"/>
              <a:gd name="connsiteY507" fmla="*/ 8428566 h 10808782"/>
              <a:gd name="connsiteX508" fmla="*/ 10400693 w 25004707"/>
              <a:gd name="connsiteY508" fmla="*/ 7944132 h 10808782"/>
              <a:gd name="connsiteX509" fmla="*/ 11684864 w 25004707"/>
              <a:gd name="connsiteY509" fmla="*/ 8028316 h 10808782"/>
              <a:gd name="connsiteX510" fmla="*/ 10368881 w 25004707"/>
              <a:gd name="connsiteY510" fmla="*/ 8428566 h 10808782"/>
              <a:gd name="connsiteX511" fmla="*/ 11653068 w 25004707"/>
              <a:gd name="connsiteY511" fmla="*/ 8512733 h 10808782"/>
              <a:gd name="connsiteX512" fmla="*/ 10368881 w 25004707"/>
              <a:gd name="connsiteY512" fmla="*/ 8428566 h 10808782"/>
              <a:gd name="connsiteX513" fmla="*/ 9084726 w 25004707"/>
              <a:gd name="connsiteY513" fmla="*/ 8344382 h 10808782"/>
              <a:gd name="connsiteX514" fmla="*/ 10491817 w 25004707"/>
              <a:gd name="connsiteY514" fmla="*/ 6490549 h 10808782"/>
              <a:gd name="connsiteX515" fmla="*/ 10480222 w 25004707"/>
              <a:gd name="connsiteY515" fmla="*/ 6732585 h 10808782"/>
              <a:gd name="connsiteX516" fmla="*/ 10464317 w 25004707"/>
              <a:gd name="connsiteY516" fmla="*/ 6974794 h 10808782"/>
              <a:gd name="connsiteX517" fmla="*/ 9180145 w 25004707"/>
              <a:gd name="connsiteY517" fmla="*/ 6890626 h 10808782"/>
              <a:gd name="connsiteX518" fmla="*/ 10507361 w 25004707"/>
              <a:gd name="connsiteY518" fmla="*/ 6003632 h 10808782"/>
              <a:gd name="connsiteX519" fmla="*/ 10491943 w 25004707"/>
              <a:gd name="connsiteY519" fmla="*/ 6489606 h 10808782"/>
              <a:gd name="connsiteX520" fmla="*/ 10163458 w 25004707"/>
              <a:gd name="connsiteY520" fmla="*/ 6468073 h 10808782"/>
              <a:gd name="connsiteX521" fmla="*/ 9212005 w 25004707"/>
              <a:gd name="connsiteY521" fmla="*/ 6405705 h 10808782"/>
              <a:gd name="connsiteX522" fmla="*/ 10507361 w 25004707"/>
              <a:gd name="connsiteY522" fmla="*/ 6003632 h 10808782"/>
              <a:gd name="connsiteX523" fmla="*/ 9243879 w 25004707"/>
              <a:gd name="connsiteY523" fmla="*/ 5920832 h 10808782"/>
              <a:gd name="connsiteX524" fmla="*/ 10507361 w 25004707"/>
              <a:gd name="connsiteY524" fmla="*/ 6003632 h 10808782"/>
              <a:gd name="connsiteX525" fmla="*/ 11123456 w 25004707"/>
              <a:gd name="connsiteY525" fmla="*/ 6044043 h 10808782"/>
              <a:gd name="connsiteX526" fmla="*/ 10782701 w 25004707"/>
              <a:gd name="connsiteY526" fmla="*/ 2127677 h 10808782"/>
              <a:gd name="connsiteX527" fmla="*/ 12066887 w 25004707"/>
              <a:gd name="connsiteY527" fmla="*/ 2211845 h 10808782"/>
              <a:gd name="connsiteX528" fmla="*/ 10782701 w 25004707"/>
              <a:gd name="connsiteY528" fmla="*/ 2127677 h 10808782"/>
              <a:gd name="connsiteX529" fmla="*/ 9498529 w 25004707"/>
              <a:gd name="connsiteY529" fmla="*/ 2043493 h 10808782"/>
              <a:gd name="connsiteX530" fmla="*/ 10750841 w 25004707"/>
              <a:gd name="connsiteY530" fmla="*/ 2612582 h 10808782"/>
              <a:gd name="connsiteX531" fmla="*/ 10719029 w 25004707"/>
              <a:gd name="connsiteY531" fmla="*/ 3097016 h 10808782"/>
              <a:gd name="connsiteX532" fmla="*/ 9434859 w 25004707"/>
              <a:gd name="connsiteY532" fmla="*/ 3012832 h 10808782"/>
              <a:gd name="connsiteX533" fmla="*/ 10623563 w 25004707"/>
              <a:gd name="connsiteY533" fmla="*/ 4551244 h 10808782"/>
              <a:gd name="connsiteX534" fmla="*/ 10591752 w 25004707"/>
              <a:gd name="connsiteY534" fmla="*/ 5035661 h 10808782"/>
              <a:gd name="connsiteX535" fmla="*/ 9307550 w 25004707"/>
              <a:gd name="connsiteY535" fmla="*/ 4951493 h 10808782"/>
              <a:gd name="connsiteX536" fmla="*/ 9275706 w 25004707"/>
              <a:gd name="connsiteY536" fmla="*/ 5436398 h 10808782"/>
              <a:gd name="connsiteX537" fmla="*/ 10623563 w 25004707"/>
              <a:gd name="connsiteY537" fmla="*/ 4551244 h 10808782"/>
              <a:gd name="connsiteX538" fmla="*/ 10655390 w 25004707"/>
              <a:gd name="connsiteY538" fmla="*/ 4066339 h 10808782"/>
              <a:gd name="connsiteX539" fmla="*/ 10623563 w 25004707"/>
              <a:gd name="connsiteY539" fmla="*/ 4551244 h 10808782"/>
              <a:gd name="connsiteX540" fmla="*/ 9339392 w 25004707"/>
              <a:gd name="connsiteY540" fmla="*/ 4467060 h 10808782"/>
              <a:gd name="connsiteX541" fmla="*/ 10432504 w 25004707"/>
              <a:gd name="connsiteY541" fmla="*/ 7459228 h 10808782"/>
              <a:gd name="connsiteX542" fmla="*/ 10400662 w 25004707"/>
              <a:gd name="connsiteY542" fmla="*/ 7944132 h 10808782"/>
              <a:gd name="connsiteX543" fmla="*/ 9116475 w 25004707"/>
              <a:gd name="connsiteY543" fmla="*/ 7859949 h 10808782"/>
              <a:gd name="connsiteX544" fmla="*/ 5662142 w 25004707"/>
              <a:gd name="connsiteY544" fmla="*/ 1780254 h 10808782"/>
              <a:gd name="connsiteX545" fmla="*/ 5658194 w 25004707"/>
              <a:gd name="connsiteY545" fmla="*/ 2262267 h 10808782"/>
              <a:gd name="connsiteX546" fmla="*/ 5662142 w 25004707"/>
              <a:gd name="connsiteY546" fmla="*/ 1780254 h 10808782"/>
              <a:gd name="connsiteX547" fmla="*/ 4402830 w 25004707"/>
              <a:gd name="connsiteY547" fmla="*/ 1082261 h 10808782"/>
              <a:gd name="connsiteX548" fmla="*/ 5662142 w 25004707"/>
              <a:gd name="connsiteY548" fmla="*/ 1780254 h 10808782"/>
              <a:gd name="connsiteX549" fmla="*/ 6479129 w 25004707"/>
              <a:gd name="connsiteY549" fmla="*/ 1845561 h 10808782"/>
              <a:gd name="connsiteX550" fmla="*/ 6930187 w 25004707"/>
              <a:gd name="connsiteY550" fmla="*/ 1875142 h 10808782"/>
              <a:gd name="connsiteX551" fmla="*/ 5658194 w 25004707"/>
              <a:gd name="connsiteY551" fmla="*/ 2262267 h 10808782"/>
              <a:gd name="connsiteX552" fmla="*/ 4366723 w 25004707"/>
              <a:gd name="connsiteY552" fmla="*/ 1631817 h 10808782"/>
              <a:gd name="connsiteX553" fmla="*/ 5658194 w 25004707"/>
              <a:gd name="connsiteY553" fmla="*/ 2262267 h 10808782"/>
              <a:gd name="connsiteX554" fmla="*/ 5911822 w 25004707"/>
              <a:gd name="connsiteY554" fmla="*/ 2295353 h 10808782"/>
              <a:gd name="connsiteX555" fmla="*/ 6898297 w 25004707"/>
              <a:gd name="connsiteY555" fmla="*/ 2360015 h 10808782"/>
              <a:gd name="connsiteX556" fmla="*/ 6930156 w 25004707"/>
              <a:gd name="connsiteY556" fmla="*/ 1875126 h 10808782"/>
              <a:gd name="connsiteX557" fmla="*/ 5455005 w 25004707"/>
              <a:gd name="connsiteY557" fmla="*/ 4698958 h 10808782"/>
              <a:gd name="connsiteX558" fmla="*/ 5486817 w 25004707"/>
              <a:gd name="connsiteY558" fmla="*/ 4214524 h 10808782"/>
              <a:gd name="connsiteX559" fmla="*/ 6771003 w 25004707"/>
              <a:gd name="connsiteY559" fmla="*/ 4298708 h 10808782"/>
              <a:gd name="connsiteX560" fmla="*/ 5455005 w 25004707"/>
              <a:gd name="connsiteY560" fmla="*/ 4698958 h 10808782"/>
              <a:gd name="connsiteX561" fmla="*/ 6739176 w 25004707"/>
              <a:gd name="connsiteY561" fmla="*/ 4783142 h 10808782"/>
              <a:gd name="connsiteX562" fmla="*/ 5455005 w 25004707"/>
              <a:gd name="connsiteY562" fmla="*/ 4698958 h 10808782"/>
              <a:gd name="connsiteX563" fmla="*/ 5254428 w 25004707"/>
              <a:gd name="connsiteY563" fmla="*/ 4685802 h 10808782"/>
              <a:gd name="connsiteX564" fmla="*/ 4154818 w 25004707"/>
              <a:gd name="connsiteY564" fmla="*/ 4858838 h 10808782"/>
              <a:gd name="connsiteX565" fmla="*/ 5455005 w 25004707"/>
              <a:gd name="connsiteY565" fmla="*/ 4698958 h 10808782"/>
              <a:gd name="connsiteX566" fmla="*/ 5391335 w 25004707"/>
              <a:gd name="connsiteY566" fmla="*/ 5668281 h 10808782"/>
              <a:gd name="connsiteX567" fmla="*/ 4107179 w 25004707"/>
              <a:gd name="connsiteY567" fmla="*/ 5584097 h 10808782"/>
              <a:gd name="connsiteX568" fmla="*/ 5200355 w 25004707"/>
              <a:gd name="connsiteY568" fmla="*/ 8576736 h 10808782"/>
              <a:gd name="connsiteX569" fmla="*/ 5168543 w 25004707"/>
              <a:gd name="connsiteY569" fmla="*/ 9061169 h 10808782"/>
              <a:gd name="connsiteX570" fmla="*/ 3884356 w 25004707"/>
              <a:gd name="connsiteY570" fmla="*/ 8976986 h 10808782"/>
              <a:gd name="connsiteX571" fmla="*/ 5200355 w 25004707"/>
              <a:gd name="connsiteY571" fmla="*/ 8576736 h 10808782"/>
              <a:gd name="connsiteX572" fmla="*/ 5232197 w 25004707"/>
              <a:gd name="connsiteY572" fmla="*/ 8091847 h 10808782"/>
              <a:gd name="connsiteX573" fmla="*/ 5200355 w 25004707"/>
              <a:gd name="connsiteY573" fmla="*/ 8576736 h 10808782"/>
              <a:gd name="connsiteX574" fmla="*/ 3916184 w 25004707"/>
              <a:gd name="connsiteY574" fmla="*/ 8492568 h 10808782"/>
              <a:gd name="connsiteX575" fmla="*/ 5658225 w 25004707"/>
              <a:gd name="connsiteY575" fmla="*/ 2262283 h 10808782"/>
              <a:gd name="connsiteX576" fmla="*/ 5637521 w 25004707"/>
              <a:gd name="connsiteY576" fmla="*/ 2763912 h 10808782"/>
              <a:gd name="connsiteX577" fmla="*/ 6866517 w 25004707"/>
              <a:gd name="connsiteY577" fmla="*/ 2844465 h 10808782"/>
              <a:gd name="connsiteX578" fmla="*/ 5592415 w 25004707"/>
              <a:gd name="connsiteY578" fmla="*/ 3263937 h 10808782"/>
              <a:gd name="connsiteX579" fmla="*/ 5637489 w 25004707"/>
              <a:gd name="connsiteY579" fmla="*/ 2763896 h 10808782"/>
              <a:gd name="connsiteX580" fmla="*/ 4298128 w 25004707"/>
              <a:gd name="connsiteY580" fmla="*/ 2676113 h 10808782"/>
              <a:gd name="connsiteX581" fmla="*/ 5592415 w 25004707"/>
              <a:gd name="connsiteY581" fmla="*/ 3263937 h 10808782"/>
              <a:gd name="connsiteX582" fmla="*/ 5533291 w 25004707"/>
              <a:gd name="connsiteY582" fmla="*/ 3742335 h 10808782"/>
              <a:gd name="connsiteX583" fmla="*/ 5592415 w 25004707"/>
              <a:gd name="connsiteY583" fmla="*/ 3263937 h 10808782"/>
              <a:gd name="connsiteX584" fmla="*/ 5848183 w 25004707"/>
              <a:gd name="connsiteY584" fmla="*/ 3264220 h 10808782"/>
              <a:gd name="connsiteX585" fmla="*/ 6834674 w 25004707"/>
              <a:gd name="connsiteY585" fmla="*/ 3328898 h 10808782"/>
              <a:gd name="connsiteX586" fmla="*/ 5709640 w 25004707"/>
              <a:gd name="connsiteY586" fmla="*/ 821626 h 10808782"/>
              <a:gd name="connsiteX587" fmla="*/ 5677828 w 25004707"/>
              <a:gd name="connsiteY587" fmla="*/ 1306056 h 10808782"/>
              <a:gd name="connsiteX588" fmla="*/ 5622638 w 25004707"/>
              <a:gd name="connsiteY588" fmla="*/ 1302440 h 10808782"/>
              <a:gd name="connsiteX589" fmla="*/ 5501527 w 25004707"/>
              <a:gd name="connsiteY589" fmla="*/ 1263917 h 10808782"/>
              <a:gd name="connsiteX590" fmla="*/ 4424446 w 25004707"/>
              <a:gd name="connsiteY590" fmla="*/ 752908 h 10808782"/>
              <a:gd name="connsiteX591" fmla="*/ 5709640 w 25004707"/>
              <a:gd name="connsiteY591" fmla="*/ 821626 h 10808782"/>
              <a:gd name="connsiteX592" fmla="*/ 5741483 w 25004707"/>
              <a:gd name="connsiteY592" fmla="*/ 336712 h 10808782"/>
              <a:gd name="connsiteX593" fmla="*/ 5709640 w 25004707"/>
              <a:gd name="connsiteY593" fmla="*/ 821626 h 10808782"/>
              <a:gd name="connsiteX594" fmla="*/ 5509063 w 25004707"/>
              <a:gd name="connsiteY594" fmla="*/ 808462 h 10808782"/>
              <a:gd name="connsiteX595" fmla="*/ 4441500 w 25004707"/>
              <a:gd name="connsiteY595" fmla="*/ 493335 h 10808782"/>
              <a:gd name="connsiteX596" fmla="*/ 5136715 w 25004707"/>
              <a:gd name="connsiteY596" fmla="*/ 9546074 h 10808782"/>
              <a:gd name="connsiteX597" fmla="*/ 5168575 w 25004707"/>
              <a:gd name="connsiteY597" fmla="*/ 9061169 h 10808782"/>
              <a:gd name="connsiteX598" fmla="*/ 5136715 w 25004707"/>
              <a:gd name="connsiteY598" fmla="*/ 9546074 h 10808782"/>
              <a:gd name="connsiteX599" fmla="*/ 6420871 w 25004707"/>
              <a:gd name="connsiteY599" fmla="*/ 9630242 h 10808782"/>
              <a:gd name="connsiteX600" fmla="*/ 6452730 w 25004707"/>
              <a:gd name="connsiteY600" fmla="*/ 9145353 h 10808782"/>
              <a:gd name="connsiteX601" fmla="*/ 7736885 w 25004707"/>
              <a:gd name="connsiteY601" fmla="*/ 9229521 h 10808782"/>
              <a:gd name="connsiteX602" fmla="*/ 5136715 w 25004707"/>
              <a:gd name="connsiteY602" fmla="*/ 9546074 h 10808782"/>
              <a:gd name="connsiteX603" fmla="*/ 3852544 w 25004707"/>
              <a:gd name="connsiteY603" fmla="*/ 9461890 h 10808782"/>
              <a:gd name="connsiteX604" fmla="*/ 5486801 w 25004707"/>
              <a:gd name="connsiteY604" fmla="*/ 4214981 h 10808782"/>
              <a:gd name="connsiteX605" fmla="*/ 5491773 w 25004707"/>
              <a:gd name="connsiteY605" fmla="*/ 4139080 h 10808782"/>
              <a:gd name="connsiteX606" fmla="*/ 5497892 w 25004707"/>
              <a:gd name="connsiteY606" fmla="*/ 4062315 h 10808782"/>
              <a:gd name="connsiteX607" fmla="*/ 5533276 w 25004707"/>
              <a:gd name="connsiteY607" fmla="*/ 3742335 h 10808782"/>
              <a:gd name="connsiteX608" fmla="*/ 4193442 w 25004707"/>
              <a:gd name="connsiteY608" fmla="*/ 4269945 h 10808782"/>
              <a:gd name="connsiteX609" fmla="*/ 5327633 w 25004707"/>
              <a:gd name="connsiteY609" fmla="*/ 6638091 h 10808782"/>
              <a:gd name="connsiteX610" fmla="*/ 5359476 w 25004707"/>
              <a:gd name="connsiteY610" fmla="*/ 6153186 h 10808782"/>
              <a:gd name="connsiteX611" fmla="*/ 6643678 w 25004707"/>
              <a:gd name="connsiteY611" fmla="*/ 6237369 h 10808782"/>
              <a:gd name="connsiteX612" fmla="*/ 5327633 w 25004707"/>
              <a:gd name="connsiteY612" fmla="*/ 6638091 h 10808782"/>
              <a:gd name="connsiteX613" fmla="*/ 5295821 w 25004707"/>
              <a:gd name="connsiteY613" fmla="*/ 7122508 h 10808782"/>
              <a:gd name="connsiteX614" fmla="*/ 5327633 w 25004707"/>
              <a:gd name="connsiteY614" fmla="*/ 6638091 h 10808782"/>
              <a:gd name="connsiteX615" fmla="*/ 6611819 w 25004707"/>
              <a:gd name="connsiteY615" fmla="*/ 6722259 h 10808782"/>
              <a:gd name="connsiteX616" fmla="*/ 5327633 w 25004707"/>
              <a:gd name="connsiteY616" fmla="*/ 6638091 h 10808782"/>
              <a:gd name="connsiteX617" fmla="*/ 4043446 w 25004707"/>
              <a:gd name="connsiteY617" fmla="*/ 6553891 h 10808782"/>
              <a:gd name="connsiteX618" fmla="*/ 5295821 w 25004707"/>
              <a:gd name="connsiteY618" fmla="*/ 7122508 h 10808782"/>
              <a:gd name="connsiteX619" fmla="*/ 4011634 w 25004707"/>
              <a:gd name="connsiteY619" fmla="*/ 7038325 h 10808782"/>
              <a:gd name="connsiteX620" fmla="*/ 5295821 w 25004707"/>
              <a:gd name="connsiteY620" fmla="*/ 7122508 h 10808782"/>
              <a:gd name="connsiteX621" fmla="*/ 6579992 w 25004707"/>
              <a:gd name="connsiteY621" fmla="*/ 7206692 h 10808782"/>
              <a:gd name="connsiteX622" fmla="*/ 5391303 w 25004707"/>
              <a:gd name="connsiteY622" fmla="*/ 5668281 h 10808782"/>
              <a:gd name="connsiteX623" fmla="*/ 5359460 w 25004707"/>
              <a:gd name="connsiteY623" fmla="*/ 6153186 h 10808782"/>
              <a:gd name="connsiteX624" fmla="*/ 4075304 w 25004707"/>
              <a:gd name="connsiteY624" fmla="*/ 6069002 h 10808782"/>
              <a:gd name="connsiteX625" fmla="*/ 5676774 w 25004707"/>
              <a:gd name="connsiteY625" fmla="*/ 1305997 h 10808782"/>
              <a:gd name="connsiteX626" fmla="*/ 5661592 w 25004707"/>
              <a:gd name="connsiteY626" fmla="*/ 1780223 h 10808782"/>
              <a:gd name="connsiteX627" fmla="*/ 5295774 w 25004707"/>
              <a:gd name="connsiteY627" fmla="*/ 7122508 h 10808782"/>
              <a:gd name="connsiteX628" fmla="*/ 5263931 w 25004707"/>
              <a:gd name="connsiteY628" fmla="*/ 7607414 h 10808782"/>
              <a:gd name="connsiteX629" fmla="*/ 3979775 w 25004707"/>
              <a:gd name="connsiteY629" fmla="*/ 7523230 h 10808782"/>
              <a:gd name="connsiteX630" fmla="*/ 1666131 w 25004707"/>
              <a:gd name="connsiteY630" fmla="*/ 3477068 h 10808782"/>
              <a:gd name="connsiteX631" fmla="*/ 1697943 w 25004707"/>
              <a:gd name="connsiteY631" fmla="*/ 2992651 h 10808782"/>
              <a:gd name="connsiteX632" fmla="*/ 1666131 w 25004707"/>
              <a:gd name="connsiteY632" fmla="*/ 3477068 h 10808782"/>
              <a:gd name="connsiteX633" fmla="*/ 1634272 w 25004707"/>
              <a:gd name="connsiteY633" fmla="*/ 3961989 h 10808782"/>
              <a:gd name="connsiteX634" fmla="*/ 1666131 w 25004707"/>
              <a:gd name="connsiteY634" fmla="*/ 3477068 h 10808782"/>
              <a:gd name="connsiteX635" fmla="*/ 381954 w 25004707"/>
              <a:gd name="connsiteY635" fmla="*/ 3392900 h 10808782"/>
              <a:gd name="connsiteX636" fmla="*/ 1666131 w 25004707"/>
              <a:gd name="connsiteY636" fmla="*/ 3477068 h 10808782"/>
              <a:gd name="connsiteX637" fmla="*/ 2652607 w 25004707"/>
              <a:gd name="connsiteY637" fmla="*/ 3541731 h 10808782"/>
              <a:gd name="connsiteX638" fmla="*/ 2934679 w 25004707"/>
              <a:gd name="connsiteY638" fmla="*/ 3571987 h 10808782"/>
              <a:gd name="connsiteX639" fmla="*/ 1697943 w 25004707"/>
              <a:gd name="connsiteY639" fmla="*/ 2992651 h 10808782"/>
              <a:gd name="connsiteX640" fmla="*/ 1729801 w 25004707"/>
              <a:gd name="connsiteY640" fmla="*/ 2507730 h 10808782"/>
              <a:gd name="connsiteX641" fmla="*/ 1697943 w 25004707"/>
              <a:gd name="connsiteY641" fmla="*/ 2992651 h 10808782"/>
              <a:gd name="connsiteX642" fmla="*/ 403160 w 25004707"/>
              <a:gd name="connsiteY642" fmla="*/ 2907760 h 10808782"/>
              <a:gd name="connsiteX643" fmla="*/ 1602492 w 25004707"/>
              <a:gd name="connsiteY643" fmla="*/ 4446422 h 10808782"/>
              <a:gd name="connsiteX644" fmla="*/ 1634304 w 25004707"/>
              <a:gd name="connsiteY644" fmla="*/ 3961989 h 10808782"/>
              <a:gd name="connsiteX645" fmla="*/ 1602492 w 25004707"/>
              <a:gd name="connsiteY645" fmla="*/ 4446422 h 10808782"/>
              <a:gd name="connsiteX646" fmla="*/ 2886663 w 25004707"/>
              <a:gd name="connsiteY646" fmla="*/ 4530606 h 10808782"/>
              <a:gd name="connsiteX647" fmla="*/ 1602492 w 25004707"/>
              <a:gd name="connsiteY647" fmla="*/ 4446422 h 10808782"/>
              <a:gd name="connsiteX648" fmla="*/ 318315 w 25004707"/>
              <a:gd name="connsiteY648" fmla="*/ 4362239 h 10808782"/>
              <a:gd name="connsiteX649" fmla="*/ 1347818 w 25004707"/>
              <a:gd name="connsiteY649" fmla="*/ 8324201 h 10808782"/>
              <a:gd name="connsiteX650" fmla="*/ 1379664 w 25004707"/>
              <a:gd name="connsiteY650" fmla="*/ 7839312 h 10808782"/>
              <a:gd name="connsiteX651" fmla="*/ 1347818 w 25004707"/>
              <a:gd name="connsiteY651" fmla="*/ 8324201 h 10808782"/>
              <a:gd name="connsiteX652" fmla="*/ 2631997 w 25004707"/>
              <a:gd name="connsiteY652" fmla="*/ 8408384 h 10808782"/>
              <a:gd name="connsiteX653" fmla="*/ 2663840 w 25004707"/>
              <a:gd name="connsiteY653" fmla="*/ 7923495 h 10808782"/>
              <a:gd name="connsiteX654" fmla="*/ 1347818 w 25004707"/>
              <a:gd name="connsiteY654" fmla="*/ 8324201 h 10808782"/>
              <a:gd name="connsiteX655" fmla="*/ 63640 w 25004707"/>
              <a:gd name="connsiteY655" fmla="*/ 8240033 h 10808782"/>
              <a:gd name="connsiteX656" fmla="*/ 1411411 w 25004707"/>
              <a:gd name="connsiteY656" fmla="*/ 7354878 h 10808782"/>
              <a:gd name="connsiteX657" fmla="*/ 1443258 w 25004707"/>
              <a:gd name="connsiteY657" fmla="*/ 6869973 h 10808782"/>
              <a:gd name="connsiteX658" fmla="*/ 2727447 w 25004707"/>
              <a:gd name="connsiteY658" fmla="*/ 6954157 h 10808782"/>
              <a:gd name="connsiteX659" fmla="*/ 1411411 w 25004707"/>
              <a:gd name="connsiteY659" fmla="*/ 7354878 h 10808782"/>
              <a:gd name="connsiteX660" fmla="*/ 1379615 w 25004707"/>
              <a:gd name="connsiteY660" fmla="*/ 7839312 h 10808782"/>
              <a:gd name="connsiteX661" fmla="*/ 1411411 w 25004707"/>
              <a:gd name="connsiteY661" fmla="*/ 7354878 h 10808782"/>
              <a:gd name="connsiteX662" fmla="*/ 127234 w 25004707"/>
              <a:gd name="connsiteY662" fmla="*/ 7270695 h 10808782"/>
              <a:gd name="connsiteX663" fmla="*/ 1793456 w 25004707"/>
              <a:gd name="connsiteY663" fmla="*/ 1538423 h 10808782"/>
              <a:gd name="connsiteX664" fmla="*/ 1825315 w 25004707"/>
              <a:gd name="connsiteY664" fmla="*/ 1053519 h 10808782"/>
              <a:gd name="connsiteX665" fmla="*/ 1793456 w 25004707"/>
              <a:gd name="connsiteY665" fmla="*/ 1538423 h 10808782"/>
              <a:gd name="connsiteX666" fmla="*/ 509285 w 25004707"/>
              <a:gd name="connsiteY666" fmla="*/ 1454241 h 10808782"/>
              <a:gd name="connsiteX667" fmla="*/ 1793456 w 25004707"/>
              <a:gd name="connsiteY667" fmla="*/ 1538423 h 10808782"/>
              <a:gd name="connsiteX668" fmla="*/ 2244530 w 25004707"/>
              <a:gd name="connsiteY668" fmla="*/ 1567988 h 10808782"/>
              <a:gd name="connsiteX669" fmla="*/ 3063877 w 25004707"/>
              <a:gd name="connsiteY669" fmla="*/ 1613223 h 10808782"/>
              <a:gd name="connsiteX670" fmla="*/ 1825315 w 25004707"/>
              <a:gd name="connsiteY670" fmla="*/ 1053519 h 10808782"/>
              <a:gd name="connsiteX671" fmla="*/ 1857095 w 25004707"/>
              <a:gd name="connsiteY671" fmla="*/ 569070 h 10808782"/>
              <a:gd name="connsiteX672" fmla="*/ 1825315 w 25004707"/>
              <a:gd name="connsiteY672" fmla="*/ 1053519 h 10808782"/>
              <a:gd name="connsiteX673" fmla="*/ 541117 w 25004707"/>
              <a:gd name="connsiteY673" fmla="*/ 969340 h 10808782"/>
              <a:gd name="connsiteX674" fmla="*/ 1315958 w 25004707"/>
              <a:gd name="connsiteY674" fmla="*/ 8808634 h 10808782"/>
              <a:gd name="connsiteX675" fmla="*/ 1284111 w 25004707"/>
              <a:gd name="connsiteY675" fmla="*/ 9293539 h 10808782"/>
              <a:gd name="connsiteX676" fmla="*/ 2568295 w 25004707"/>
              <a:gd name="connsiteY676" fmla="*/ 9377707 h 10808782"/>
              <a:gd name="connsiteX677" fmla="*/ 1538806 w 25004707"/>
              <a:gd name="connsiteY677" fmla="*/ 5415746 h 10808782"/>
              <a:gd name="connsiteX678" fmla="*/ 1570617 w 25004707"/>
              <a:gd name="connsiteY678" fmla="*/ 4931312 h 10808782"/>
              <a:gd name="connsiteX679" fmla="*/ 1538806 w 25004707"/>
              <a:gd name="connsiteY679" fmla="*/ 5415746 h 10808782"/>
              <a:gd name="connsiteX680" fmla="*/ 1506961 w 25004707"/>
              <a:gd name="connsiteY680" fmla="*/ 5900650 h 10808782"/>
              <a:gd name="connsiteX681" fmla="*/ 1538806 w 25004707"/>
              <a:gd name="connsiteY681" fmla="*/ 5415746 h 10808782"/>
              <a:gd name="connsiteX682" fmla="*/ 254622 w 25004707"/>
              <a:gd name="connsiteY682" fmla="*/ 5331577 h 10808782"/>
              <a:gd name="connsiteX683" fmla="*/ 1570617 w 25004707"/>
              <a:gd name="connsiteY683" fmla="*/ 4931312 h 10808782"/>
              <a:gd name="connsiteX684" fmla="*/ 1602461 w 25004707"/>
              <a:gd name="connsiteY684" fmla="*/ 4446407 h 10808782"/>
              <a:gd name="connsiteX685" fmla="*/ 1570617 w 25004707"/>
              <a:gd name="connsiteY685" fmla="*/ 4931312 h 10808782"/>
              <a:gd name="connsiteX686" fmla="*/ 286431 w 25004707"/>
              <a:gd name="connsiteY686" fmla="*/ 4847128 h 10808782"/>
              <a:gd name="connsiteX687" fmla="*/ 1729786 w 25004707"/>
              <a:gd name="connsiteY687" fmla="*/ 2507761 h 10808782"/>
              <a:gd name="connsiteX688" fmla="*/ 1761597 w 25004707"/>
              <a:gd name="connsiteY688" fmla="*/ 2023328 h 10808782"/>
              <a:gd name="connsiteX689" fmla="*/ 2414287 w 25004707"/>
              <a:gd name="connsiteY689" fmla="*/ 2066111 h 10808782"/>
              <a:gd name="connsiteX690" fmla="*/ 2740663 w 25004707"/>
              <a:gd name="connsiteY690" fmla="*/ 2087031 h 10808782"/>
              <a:gd name="connsiteX691" fmla="*/ 3004360 w 25004707"/>
              <a:gd name="connsiteY691" fmla="*/ 2088776 h 10808782"/>
              <a:gd name="connsiteX692" fmla="*/ 1729786 w 25004707"/>
              <a:gd name="connsiteY692" fmla="*/ 2507761 h 10808782"/>
              <a:gd name="connsiteX693" fmla="*/ 2958782 w 25004707"/>
              <a:gd name="connsiteY693" fmla="*/ 2588330 h 10808782"/>
              <a:gd name="connsiteX694" fmla="*/ 1729786 w 25004707"/>
              <a:gd name="connsiteY694" fmla="*/ 2507761 h 10808782"/>
              <a:gd name="connsiteX695" fmla="*/ 434989 w 25004707"/>
              <a:gd name="connsiteY695" fmla="*/ 2422886 h 10808782"/>
              <a:gd name="connsiteX696" fmla="*/ 1475135 w 25004707"/>
              <a:gd name="connsiteY696" fmla="*/ 6385540 h 10808782"/>
              <a:gd name="connsiteX697" fmla="*/ 1443319 w 25004707"/>
              <a:gd name="connsiteY697" fmla="*/ 6869973 h 10808782"/>
              <a:gd name="connsiteX698" fmla="*/ 159142 w 25004707"/>
              <a:gd name="connsiteY698" fmla="*/ 6785789 h 10808782"/>
              <a:gd name="connsiteX699" fmla="*/ 1475135 w 25004707"/>
              <a:gd name="connsiteY699" fmla="*/ 6385540 h 10808782"/>
              <a:gd name="connsiteX700" fmla="*/ 1506961 w 25004707"/>
              <a:gd name="connsiteY700" fmla="*/ 5900650 h 10808782"/>
              <a:gd name="connsiteX701" fmla="*/ 1475135 w 25004707"/>
              <a:gd name="connsiteY701" fmla="*/ 6385540 h 10808782"/>
              <a:gd name="connsiteX702" fmla="*/ 190938 w 25004707"/>
              <a:gd name="connsiteY702" fmla="*/ 6301372 h 10808782"/>
              <a:gd name="connsiteX703" fmla="*/ 1857095 w 25004707"/>
              <a:gd name="connsiteY703" fmla="*/ 569070 h 10808782"/>
              <a:gd name="connsiteX704" fmla="*/ 1888954 w 25004707"/>
              <a:gd name="connsiteY704" fmla="*/ 84169 h 10808782"/>
              <a:gd name="connsiteX705" fmla="*/ 1857095 w 25004707"/>
              <a:gd name="connsiteY705" fmla="*/ 569070 h 10808782"/>
              <a:gd name="connsiteX706" fmla="*/ 3141266 w 25004707"/>
              <a:gd name="connsiteY706" fmla="*/ 653251 h 10808782"/>
              <a:gd name="connsiteX707" fmla="*/ 3173109 w 25004707"/>
              <a:gd name="connsiteY707" fmla="*/ 168350 h 10808782"/>
              <a:gd name="connsiteX708" fmla="*/ 1857095 w 25004707"/>
              <a:gd name="connsiteY708" fmla="*/ 569070 h 10808782"/>
              <a:gd name="connsiteX709" fmla="*/ 572924 w 25004707"/>
              <a:gd name="connsiteY709" fmla="*/ 484891 h 10808782"/>
              <a:gd name="connsiteX710" fmla="*/ 1379615 w 25004707"/>
              <a:gd name="connsiteY710" fmla="*/ 7839312 h 10808782"/>
              <a:gd name="connsiteX711" fmla="*/ 95437 w 25004707"/>
              <a:gd name="connsiteY711" fmla="*/ 7755128 h 10808782"/>
              <a:gd name="connsiteX712" fmla="*/ 1379615 w 25004707"/>
              <a:gd name="connsiteY712" fmla="*/ 7839312 h 10808782"/>
              <a:gd name="connsiteX713" fmla="*/ 2663793 w 25004707"/>
              <a:gd name="connsiteY713" fmla="*/ 7923495 h 10808782"/>
              <a:gd name="connsiteX714" fmla="*/ 1634272 w 25004707"/>
              <a:gd name="connsiteY714" fmla="*/ 3961989 h 10808782"/>
              <a:gd name="connsiteX715" fmla="*/ 2918475 w 25004707"/>
              <a:gd name="connsiteY715" fmla="*/ 4046173 h 10808782"/>
              <a:gd name="connsiteX716" fmla="*/ 1634272 w 25004707"/>
              <a:gd name="connsiteY716" fmla="*/ 3961989 h 10808782"/>
              <a:gd name="connsiteX717" fmla="*/ 350101 w 25004707"/>
              <a:gd name="connsiteY717" fmla="*/ 3877805 h 10808782"/>
              <a:gd name="connsiteX718" fmla="*/ 1506961 w 25004707"/>
              <a:gd name="connsiteY718" fmla="*/ 5900650 h 10808782"/>
              <a:gd name="connsiteX719" fmla="*/ 222779 w 25004707"/>
              <a:gd name="connsiteY719" fmla="*/ 5816467 h 10808782"/>
              <a:gd name="connsiteX720" fmla="*/ 1506961 w 25004707"/>
              <a:gd name="connsiteY720" fmla="*/ 5900650 h 10808782"/>
              <a:gd name="connsiteX721" fmla="*/ 2791118 w 25004707"/>
              <a:gd name="connsiteY721" fmla="*/ 5984834 h 10808782"/>
              <a:gd name="connsiteX722" fmla="*/ 1793441 w 25004707"/>
              <a:gd name="connsiteY722" fmla="*/ 1538407 h 10808782"/>
              <a:gd name="connsiteX723" fmla="*/ 1761597 w 25004707"/>
              <a:gd name="connsiteY723" fmla="*/ 2023296 h 10808782"/>
              <a:gd name="connsiteX724" fmla="*/ 477423 w 25004707"/>
              <a:gd name="connsiteY724" fmla="*/ 1939128 h 10808782"/>
              <a:gd name="connsiteX725" fmla="*/ 1347747 w 25004707"/>
              <a:gd name="connsiteY725" fmla="*/ 8324185 h 10808782"/>
              <a:gd name="connsiteX726" fmla="*/ 1315932 w 25004707"/>
              <a:gd name="connsiteY726" fmla="*/ 8808618 h 10808782"/>
              <a:gd name="connsiteX727" fmla="*/ 31754 w 25004707"/>
              <a:gd name="connsiteY727" fmla="*/ 8724434 h 10808782"/>
              <a:gd name="connsiteX728" fmla="*/ 2918475 w 25004707"/>
              <a:gd name="connsiteY728" fmla="*/ 4046173 h 10808782"/>
              <a:gd name="connsiteX729" fmla="*/ 2886663 w 25004707"/>
              <a:gd name="connsiteY729" fmla="*/ 4530606 h 10808782"/>
              <a:gd name="connsiteX730" fmla="*/ 2918475 w 25004707"/>
              <a:gd name="connsiteY730" fmla="*/ 4046173 h 10808782"/>
              <a:gd name="connsiteX731" fmla="*/ 2923446 w 25004707"/>
              <a:gd name="connsiteY731" fmla="*/ 3970272 h 10808782"/>
              <a:gd name="connsiteX732" fmla="*/ 2934176 w 25004707"/>
              <a:gd name="connsiteY732" fmla="*/ 3571956 h 10808782"/>
              <a:gd name="connsiteX733" fmla="*/ 2886663 w 25004707"/>
              <a:gd name="connsiteY733" fmla="*/ 4530606 h 10808782"/>
              <a:gd name="connsiteX734" fmla="*/ 3087240 w 25004707"/>
              <a:gd name="connsiteY734" fmla="*/ 4543731 h 10808782"/>
              <a:gd name="connsiteX735" fmla="*/ 4154818 w 25004707"/>
              <a:gd name="connsiteY735" fmla="*/ 4858838 h 10808782"/>
              <a:gd name="connsiteX736" fmla="*/ 2958782 w 25004707"/>
              <a:gd name="connsiteY736" fmla="*/ 2588330 h 10808782"/>
              <a:gd name="connsiteX737" fmla="*/ 3003841 w 25004707"/>
              <a:gd name="connsiteY737" fmla="*/ 2088289 h 10808782"/>
              <a:gd name="connsiteX738" fmla="*/ 3062980 w 25004707"/>
              <a:gd name="connsiteY738" fmla="*/ 1609875 h 10808782"/>
              <a:gd name="connsiteX739" fmla="*/ 2958782 w 25004707"/>
              <a:gd name="connsiteY739" fmla="*/ 2588330 h 10808782"/>
              <a:gd name="connsiteX740" fmla="*/ 2938062 w 25004707"/>
              <a:gd name="connsiteY740" fmla="*/ 3089943 h 10808782"/>
              <a:gd name="connsiteX741" fmla="*/ 4229533 w 25004707"/>
              <a:gd name="connsiteY741" fmla="*/ 3720409 h 10808782"/>
              <a:gd name="connsiteX742" fmla="*/ 4298128 w 25004707"/>
              <a:gd name="connsiteY742" fmla="*/ 2676113 h 10808782"/>
              <a:gd name="connsiteX743" fmla="*/ 2958782 w 25004707"/>
              <a:gd name="connsiteY743" fmla="*/ 2588330 h 10808782"/>
              <a:gd name="connsiteX744" fmla="*/ 4298128 w 25004707"/>
              <a:gd name="connsiteY744" fmla="*/ 2676113 h 10808782"/>
              <a:gd name="connsiteX745" fmla="*/ 3141329 w 25004707"/>
              <a:gd name="connsiteY745" fmla="*/ 653273 h 10808782"/>
              <a:gd name="connsiteX746" fmla="*/ 3109502 w 25004707"/>
              <a:gd name="connsiteY746" fmla="*/ 1137705 h 10808782"/>
              <a:gd name="connsiteX747" fmla="*/ 3109502 w 25004707"/>
              <a:gd name="connsiteY747" fmla="*/ 1137705 h 10808782"/>
              <a:gd name="connsiteX748" fmla="*/ 3063043 w 25004707"/>
              <a:gd name="connsiteY748" fmla="*/ 1609891 h 10808782"/>
              <a:gd name="connsiteX749" fmla="*/ 4402830 w 25004707"/>
              <a:gd name="connsiteY749" fmla="*/ 1082261 h 10808782"/>
              <a:gd name="connsiteX750" fmla="*/ 3109502 w 25004707"/>
              <a:gd name="connsiteY750" fmla="*/ 1137705 h 10808782"/>
              <a:gd name="connsiteX751" fmla="*/ 1825331 w 25004707"/>
              <a:gd name="connsiteY751" fmla="*/ 1053526 h 10808782"/>
              <a:gd name="connsiteX752" fmla="*/ 2938125 w 25004707"/>
              <a:gd name="connsiteY752" fmla="*/ 3089943 h 10808782"/>
              <a:gd name="connsiteX753" fmla="*/ 2934176 w 25004707"/>
              <a:gd name="connsiteY753" fmla="*/ 3571956 h 10808782"/>
              <a:gd name="connsiteX754" fmla="*/ 2934176 w 25004707"/>
              <a:gd name="connsiteY754" fmla="*/ 3571956 h 10808782"/>
              <a:gd name="connsiteX755" fmla="*/ 4193489 w 25004707"/>
              <a:gd name="connsiteY755" fmla="*/ 4269945 h 10808782"/>
              <a:gd name="connsiteX756" fmla="*/ 4229580 w 25004707"/>
              <a:gd name="connsiteY756" fmla="*/ 3720393 h 10808782"/>
              <a:gd name="connsiteX757" fmla="*/ 2854836 w 25004707"/>
              <a:gd name="connsiteY757" fmla="*/ 5015496 h 10808782"/>
              <a:gd name="connsiteX758" fmla="*/ 2823024 w 25004707"/>
              <a:gd name="connsiteY758" fmla="*/ 5499929 h 10808782"/>
              <a:gd name="connsiteX759" fmla="*/ 2854836 w 25004707"/>
              <a:gd name="connsiteY759" fmla="*/ 5015496 h 10808782"/>
              <a:gd name="connsiteX760" fmla="*/ 2886695 w 25004707"/>
              <a:gd name="connsiteY760" fmla="*/ 4530606 h 10808782"/>
              <a:gd name="connsiteX761" fmla="*/ 2854836 w 25004707"/>
              <a:gd name="connsiteY761" fmla="*/ 5015496 h 10808782"/>
              <a:gd name="connsiteX762" fmla="*/ 1570665 w 25004707"/>
              <a:gd name="connsiteY762" fmla="*/ 4931328 h 10808782"/>
              <a:gd name="connsiteX763" fmla="*/ 2823024 w 25004707"/>
              <a:gd name="connsiteY763" fmla="*/ 5499929 h 10808782"/>
              <a:gd name="connsiteX764" fmla="*/ 4107179 w 25004707"/>
              <a:gd name="connsiteY764" fmla="*/ 5584097 h 10808782"/>
              <a:gd name="connsiteX765" fmla="*/ 2823024 w 25004707"/>
              <a:gd name="connsiteY765" fmla="*/ 5499929 h 10808782"/>
              <a:gd name="connsiteX766" fmla="*/ 1538853 w 25004707"/>
              <a:gd name="connsiteY766" fmla="*/ 5415746 h 10808782"/>
              <a:gd name="connsiteX767" fmla="*/ 2663793 w 25004707"/>
              <a:gd name="connsiteY767" fmla="*/ 7923495 h 10808782"/>
              <a:gd name="connsiteX768" fmla="*/ 2695604 w 25004707"/>
              <a:gd name="connsiteY768" fmla="*/ 7439062 h 10808782"/>
              <a:gd name="connsiteX769" fmla="*/ 3979775 w 25004707"/>
              <a:gd name="connsiteY769" fmla="*/ 7523230 h 10808782"/>
              <a:gd name="connsiteX770" fmla="*/ 2663793 w 25004707"/>
              <a:gd name="connsiteY770" fmla="*/ 7923495 h 10808782"/>
              <a:gd name="connsiteX771" fmla="*/ 3947948 w 25004707"/>
              <a:gd name="connsiteY771" fmla="*/ 8007663 h 10808782"/>
              <a:gd name="connsiteX772" fmla="*/ 3979775 w 25004707"/>
              <a:gd name="connsiteY772" fmla="*/ 7523230 h 10808782"/>
              <a:gd name="connsiteX773" fmla="*/ 2568295 w 25004707"/>
              <a:gd name="connsiteY773" fmla="*/ 9377707 h 10808782"/>
              <a:gd name="connsiteX774" fmla="*/ 2600138 w 25004707"/>
              <a:gd name="connsiteY774" fmla="*/ 8892802 h 10808782"/>
              <a:gd name="connsiteX775" fmla="*/ 3884340 w 25004707"/>
              <a:gd name="connsiteY775" fmla="*/ 8976986 h 10808782"/>
              <a:gd name="connsiteX776" fmla="*/ 3916152 w 25004707"/>
              <a:gd name="connsiteY776" fmla="*/ 8492552 h 10808782"/>
              <a:gd name="connsiteX777" fmla="*/ 2568295 w 25004707"/>
              <a:gd name="connsiteY777" fmla="*/ 9377707 h 10808782"/>
              <a:gd name="connsiteX778" fmla="*/ 3852450 w 25004707"/>
              <a:gd name="connsiteY778" fmla="*/ 9461875 h 10808782"/>
              <a:gd name="connsiteX779" fmla="*/ 3884293 w 25004707"/>
              <a:gd name="connsiteY779" fmla="*/ 8976986 h 10808782"/>
              <a:gd name="connsiteX780" fmla="*/ 2822961 w 25004707"/>
              <a:gd name="connsiteY780" fmla="*/ 5499929 h 10808782"/>
              <a:gd name="connsiteX781" fmla="*/ 2791118 w 25004707"/>
              <a:gd name="connsiteY781" fmla="*/ 5984834 h 10808782"/>
              <a:gd name="connsiteX782" fmla="*/ 2791118 w 25004707"/>
              <a:gd name="connsiteY782" fmla="*/ 5984834 h 10808782"/>
              <a:gd name="connsiteX783" fmla="*/ 2759275 w 25004707"/>
              <a:gd name="connsiteY783" fmla="*/ 6469723 h 10808782"/>
              <a:gd name="connsiteX784" fmla="*/ 2791118 w 25004707"/>
              <a:gd name="connsiteY784" fmla="*/ 5984834 h 10808782"/>
              <a:gd name="connsiteX785" fmla="*/ 4075304 w 25004707"/>
              <a:gd name="connsiteY785" fmla="*/ 6069002 h 10808782"/>
              <a:gd name="connsiteX786" fmla="*/ 2759275 w 25004707"/>
              <a:gd name="connsiteY786" fmla="*/ 6469723 h 10808782"/>
              <a:gd name="connsiteX787" fmla="*/ 2727447 w 25004707"/>
              <a:gd name="connsiteY787" fmla="*/ 6954157 h 10808782"/>
              <a:gd name="connsiteX788" fmla="*/ 2759275 w 25004707"/>
              <a:gd name="connsiteY788" fmla="*/ 6469723 h 10808782"/>
              <a:gd name="connsiteX789" fmla="*/ 1475099 w 25004707"/>
              <a:gd name="connsiteY789" fmla="*/ 6385555 h 10808782"/>
              <a:gd name="connsiteX790" fmla="*/ 2759275 w 25004707"/>
              <a:gd name="connsiteY790" fmla="*/ 6469723 h 10808782"/>
              <a:gd name="connsiteX791" fmla="*/ 4043446 w 25004707"/>
              <a:gd name="connsiteY791" fmla="*/ 6553891 h 10808782"/>
              <a:gd name="connsiteX792" fmla="*/ 2727479 w 25004707"/>
              <a:gd name="connsiteY792" fmla="*/ 6954157 h 10808782"/>
              <a:gd name="connsiteX793" fmla="*/ 2695636 w 25004707"/>
              <a:gd name="connsiteY793" fmla="*/ 7439062 h 10808782"/>
              <a:gd name="connsiteX794" fmla="*/ 1411460 w 25004707"/>
              <a:gd name="connsiteY794" fmla="*/ 7354878 h 10808782"/>
              <a:gd name="connsiteX795" fmla="*/ 2727447 w 25004707"/>
              <a:gd name="connsiteY795" fmla="*/ 6954157 h 10808782"/>
              <a:gd name="connsiteX796" fmla="*/ 4011634 w 25004707"/>
              <a:gd name="connsiteY796" fmla="*/ 7038325 h 10808782"/>
              <a:gd name="connsiteX797" fmla="*/ 4298128 w 25004707"/>
              <a:gd name="connsiteY797" fmla="*/ 2676113 h 10808782"/>
              <a:gd name="connsiteX798" fmla="*/ 4366723 w 25004707"/>
              <a:gd name="connsiteY798" fmla="*/ 1631817 h 10808782"/>
              <a:gd name="connsiteX799" fmla="*/ 4043446 w 25004707"/>
              <a:gd name="connsiteY799" fmla="*/ 6553891 h 10808782"/>
              <a:gd name="connsiteX800" fmla="*/ 4011634 w 25004707"/>
              <a:gd name="connsiteY800" fmla="*/ 7038325 h 10808782"/>
              <a:gd name="connsiteX801" fmla="*/ 4043446 w 25004707"/>
              <a:gd name="connsiteY801" fmla="*/ 6553891 h 10808782"/>
              <a:gd name="connsiteX802" fmla="*/ 4075304 w 25004707"/>
              <a:gd name="connsiteY802" fmla="*/ 6069002 h 10808782"/>
              <a:gd name="connsiteX803" fmla="*/ 4011634 w 25004707"/>
              <a:gd name="connsiteY803" fmla="*/ 7038325 h 10808782"/>
              <a:gd name="connsiteX804" fmla="*/ 3979775 w 25004707"/>
              <a:gd name="connsiteY804" fmla="*/ 7523230 h 10808782"/>
              <a:gd name="connsiteX805" fmla="*/ 4457312 w 25004707"/>
              <a:gd name="connsiteY805" fmla="*/ 252523 h 10808782"/>
              <a:gd name="connsiteX806" fmla="*/ 4441500 w 25004707"/>
              <a:gd name="connsiteY806" fmla="*/ 493335 h 10808782"/>
              <a:gd name="connsiteX807" fmla="*/ 4441500 w 25004707"/>
              <a:gd name="connsiteY807" fmla="*/ 493335 h 10808782"/>
              <a:gd name="connsiteX808" fmla="*/ 3341890 w 25004707"/>
              <a:gd name="connsiteY808" fmla="*/ 666397 h 10808782"/>
              <a:gd name="connsiteX809" fmla="*/ 3141314 w 25004707"/>
              <a:gd name="connsiteY809" fmla="*/ 653248 h 10808782"/>
              <a:gd name="connsiteX810" fmla="*/ 4193505 w 25004707"/>
              <a:gd name="connsiteY810" fmla="*/ 4269945 h 10808782"/>
              <a:gd name="connsiteX811" fmla="*/ 4171904 w 25004707"/>
              <a:gd name="connsiteY811" fmla="*/ 4598837 h 10808782"/>
              <a:gd name="connsiteX812" fmla="*/ 4402830 w 25004707"/>
              <a:gd name="connsiteY812" fmla="*/ 1082261 h 10808782"/>
              <a:gd name="connsiteX813" fmla="*/ 4424415 w 25004707"/>
              <a:gd name="connsiteY813" fmla="*/ 753372 h 10808782"/>
              <a:gd name="connsiteX814" fmla="*/ 3289752 w 25004707"/>
              <a:gd name="connsiteY814" fmla="*/ 1119395 h 10808782"/>
              <a:gd name="connsiteX815" fmla="*/ 3109439 w 25004707"/>
              <a:gd name="connsiteY815" fmla="*/ 1138162 h 10808782"/>
              <a:gd name="connsiteX816" fmla="*/ 4366723 w 25004707"/>
              <a:gd name="connsiteY816" fmla="*/ 1631817 h 10808782"/>
              <a:gd name="connsiteX817" fmla="*/ 3003872 w 25004707"/>
              <a:gd name="connsiteY817" fmla="*/ 2088273 h 10808782"/>
              <a:gd name="connsiteX818" fmla="*/ 4402766 w 25004707"/>
              <a:gd name="connsiteY818" fmla="*/ 1082272 h 10808782"/>
              <a:gd name="connsiteX819" fmla="*/ 4366676 w 25004707"/>
              <a:gd name="connsiteY819" fmla="*/ 1631817 h 10808782"/>
              <a:gd name="connsiteX820" fmla="*/ 4107148 w 25004707"/>
              <a:gd name="connsiteY820" fmla="*/ 5584097 h 10808782"/>
              <a:gd name="connsiteX821" fmla="*/ 4075304 w 25004707"/>
              <a:gd name="connsiteY821" fmla="*/ 6069002 h 10808782"/>
              <a:gd name="connsiteX822" fmla="*/ 4136254 w 25004707"/>
              <a:gd name="connsiteY822" fmla="*/ 5141363 h 10808782"/>
              <a:gd name="connsiteX823" fmla="*/ 4107179 w 25004707"/>
              <a:gd name="connsiteY823" fmla="*/ 5584097 h 10808782"/>
              <a:gd name="connsiteX824" fmla="*/ 4136254 w 25004707"/>
              <a:gd name="connsiteY824" fmla="*/ 5141363 h 10808782"/>
              <a:gd name="connsiteX825" fmla="*/ 4154818 w 25004707"/>
              <a:gd name="connsiteY825" fmla="*/ 4858838 h 10808782"/>
              <a:gd name="connsiteX826" fmla="*/ 4136254 w 25004707"/>
              <a:gd name="connsiteY826" fmla="*/ 5141363 h 10808782"/>
              <a:gd name="connsiteX827" fmla="*/ 4901023 w 25004707"/>
              <a:gd name="connsiteY827" fmla="*/ 5149598 h 10808782"/>
              <a:gd name="connsiteX828" fmla="*/ 5423193 w 25004707"/>
              <a:gd name="connsiteY828" fmla="*/ 5183816 h 10808782"/>
              <a:gd name="connsiteX829" fmla="*/ 4136254 w 25004707"/>
              <a:gd name="connsiteY829" fmla="*/ 5141363 h 10808782"/>
              <a:gd name="connsiteX830" fmla="*/ 3509586 w 25004707"/>
              <a:gd name="connsiteY830" fmla="*/ 5059317 h 10808782"/>
              <a:gd name="connsiteX831" fmla="*/ 2854836 w 25004707"/>
              <a:gd name="connsiteY831" fmla="*/ 5015464 h 10808782"/>
              <a:gd name="connsiteX832" fmla="*/ 3948026 w 25004707"/>
              <a:gd name="connsiteY832" fmla="*/ 8007663 h 10808782"/>
              <a:gd name="connsiteX833" fmla="*/ 3916184 w 25004707"/>
              <a:gd name="connsiteY833" fmla="*/ 8492568 h 10808782"/>
              <a:gd name="connsiteX834" fmla="*/ 3916184 w 25004707"/>
              <a:gd name="connsiteY834" fmla="*/ 8492568 h 10808782"/>
              <a:gd name="connsiteX835" fmla="*/ 2632012 w 25004707"/>
              <a:gd name="connsiteY835" fmla="*/ 8408369 h 10808782"/>
              <a:gd name="connsiteX836" fmla="*/ 2600201 w 25004707"/>
              <a:gd name="connsiteY836" fmla="*/ 8892802 h 10808782"/>
              <a:gd name="connsiteX837" fmla="*/ 1316024 w 25004707"/>
              <a:gd name="connsiteY837" fmla="*/ 8808634 h 10808782"/>
              <a:gd name="connsiteX838" fmla="*/ 4154818 w 25004707"/>
              <a:gd name="connsiteY838" fmla="*/ 4858838 h 10808782"/>
              <a:gd name="connsiteX839" fmla="*/ 4171888 w 25004707"/>
              <a:gd name="connsiteY839" fmla="*/ 4598837 h 10808782"/>
              <a:gd name="connsiteX840" fmla="*/ 4441469 w 25004707"/>
              <a:gd name="connsiteY840" fmla="*/ 493350 h 10808782"/>
              <a:gd name="connsiteX841" fmla="*/ 4424383 w 25004707"/>
              <a:gd name="connsiteY841" fmla="*/ 753369 h 10808782"/>
              <a:gd name="connsiteX842" fmla="*/ 4171888 w 25004707"/>
              <a:gd name="connsiteY842" fmla="*/ 4598837 h 10808782"/>
              <a:gd name="connsiteX843" fmla="*/ 5486817 w 25004707"/>
              <a:gd name="connsiteY843" fmla="*/ 4214493 h 10808782"/>
              <a:gd name="connsiteX844" fmla="*/ 4171888 w 25004707"/>
              <a:gd name="connsiteY844" fmla="*/ 4598837 h 10808782"/>
              <a:gd name="connsiteX845" fmla="*/ 2918475 w 25004707"/>
              <a:gd name="connsiteY845" fmla="*/ 4046141 h 10808782"/>
              <a:gd name="connsiteX846" fmla="*/ 6516337 w 25004707"/>
              <a:gd name="connsiteY846" fmla="*/ 8176030 h 10808782"/>
              <a:gd name="connsiteX847" fmla="*/ 6484494 w 25004707"/>
              <a:gd name="connsiteY847" fmla="*/ 8660920 h 10808782"/>
              <a:gd name="connsiteX848" fmla="*/ 5200323 w 25004707"/>
              <a:gd name="connsiteY848" fmla="*/ 8576751 h 10808782"/>
              <a:gd name="connsiteX849" fmla="*/ 6516337 w 25004707"/>
              <a:gd name="connsiteY849" fmla="*/ 8176030 h 10808782"/>
              <a:gd name="connsiteX850" fmla="*/ 6548180 w 25004707"/>
              <a:gd name="connsiteY850" fmla="*/ 7691597 h 10808782"/>
              <a:gd name="connsiteX851" fmla="*/ 7832335 w 25004707"/>
              <a:gd name="connsiteY851" fmla="*/ 7775781 h 10808782"/>
              <a:gd name="connsiteX852" fmla="*/ 6516337 w 25004707"/>
              <a:gd name="connsiteY852" fmla="*/ 8176030 h 10808782"/>
              <a:gd name="connsiteX853" fmla="*/ 5232182 w 25004707"/>
              <a:gd name="connsiteY853" fmla="*/ 8091847 h 10808782"/>
              <a:gd name="connsiteX854" fmla="*/ 6516337 w 25004707"/>
              <a:gd name="connsiteY854" fmla="*/ 8176030 h 10808782"/>
              <a:gd name="connsiteX855" fmla="*/ 7800540 w 25004707"/>
              <a:gd name="connsiteY855" fmla="*/ 8260199 h 10808782"/>
              <a:gd name="connsiteX856" fmla="*/ 6484447 w 25004707"/>
              <a:gd name="connsiteY856" fmla="*/ 8660904 h 10808782"/>
              <a:gd name="connsiteX857" fmla="*/ 6452635 w 25004707"/>
              <a:gd name="connsiteY857" fmla="*/ 9145338 h 10808782"/>
              <a:gd name="connsiteX858" fmla="*/ 5168449 w 25004707"/>
              <a:gd name="connsiteY858" fmla="*/ 9061154 h 10808782"/>
              <a:gd name="connsiteX859" fmla="*/ 6707364 w 25004707"/>
              <a:gd name="connsiteY859" fmla="*/ 5268031 h 10808782"/>
              <a:gd name="connsiteX860" fmla="*/ 6675537 w 25004707"/>
              <a:gd name="connsiteY860" fmla="*/ 5752465 h 10808782"/>
              <a:gd name="connsiteX861" fmla="*/ 6675537 w 25004707"/>
              <a:gd name="connsiteY861" fmla="*/ 5752465 h 10808782"/>
              <a:gd name="connsiteX862" fmla="*/ 6643678 w 25004707"/>
              <a:gd name="connsiteY862" fmla="*/ 6237369 h 10808782"/>
              <a:gd name="connsiteX863" fmla="*/ 6675537 w 25004707"/>
              <a:gd name="connsiteY863" fmla="*/ 5752465 h 10808782"/>
              <a:gd name="connsiteX864" fmla="*/ 7959724 w 25004707"/>
              <a:gd name="connsiteY864" fmla="*/ 5836648 h 10808782"/>
              <a:gd name="connsiteX865" fmla="*/ 6675537 w 25004707"/>
              <a:gd name="connsiteY865" fmla="*/ 5752465 h 10808782"/>
              <a:gd name="connsiteX866" fmla="*/ 5391366 w 25004707"/>
              <a:gd name="connsiteY866" fmla="*/ 5668297 h 10808782"/>
              <a:gd name="connsiteX867" fmla="*/ 6739145 w 25004707"/>
              <a:gd name="connsiteY867" fmla="*/ 4783126 h 10808782"/>
              <a:gd name="connsiteX868" fmla="*/ 6707301 w 25004707"/>
              <a:gd name="connsiteY868" fmla="*/ 5268031 h 10808782"/>
              <a:gd name="connsiteX869" fmla="*/ 5423115 w 25004707"/>
              <a:gd name="connsiteY869" fmla="*/ 5183847 h 10808782"/>
              <a:gd name="connsiteX870" fmla="*/ 6771003 w 25004707"/>
              <a:gd name="connsiteY870" fmla="*/ 4298708 h 10808782"/>
              <a:gd name="connsiteX871" fmla="*/ 6802846 w 25004707"/>
              <a:gd name="connsiteY871" fmla="*/ 3813819 h 10808782"/>
              <a:gd name="connsiteX872" fmla="*/ 8087017 w 25004707"/>
              <a:gd name="connsiteY872" fmla="*/ 3897971 h 10808782"/>
              <a:gd name="connsiteX873" fmla="*/ 8118845 w 25004707"/>
              <a:gd name="connsiteY873" fmla="*/ 3413538 h 10808782"/>
              <a:gd name="connsiteX874" fmla="*/ 6771003 w 25004707"/>
              <a:gd name="connsiteY874" fmla="*/ 4298708 h 10808782"/>
              <a:gd name="connsiteX875" fmla="*/ 6739176 w 25004707"/>
              <a:gd name="connsiteY875" fmla="*/ 4783142 h 10808782"/>
              <a:gd name="connsiteX876" fmla="*/ 6962031 w 25004707"/>
              <a:gd name="connsiteY876" fmla="*/ 1390234 h 10808782"/>
              <a:gd name="connsiteX877" fmla="*/ 6930187 w 25004707"/>
              <a:gd name="connsiteY877" fmla="*/ 1875142 h 10808782"/>
              <a:gd name="connsiteX878" fmla="*/ 6962031 w 25004707"/>
              <a:gd name="connsiteY878" fmla="*/ 1390234 h 10808782"/>
              <a:gd name="connsiteX879" fmla="*/ 6993842 w 25004707"/>
              <a:gd name="connsiteY879" fmla="*/ 905794 h 10808782"/>
              <a:gd name="connsiteX880" fmla="*/ 6962031 w 25004707"/>
              <a:gd name="connsiteY880" fmla="*/ 1390234 h 10808782"/>
              <a:gd name="connsiteX881" fmla="*/ 5677875 w 25004707"/>
              <a:gd name="connsiteY881" fmla="*/ 1306052 h 10808782"/>
              <a:gd name="connsiteX882" fmla="*/ 6962031 w 25004707"/>
              <a:gd name="connsiteY882" fmla="*/ 1390234 h 10808782"/>
              <a:gd name="connsiteX883" fmla="*/ 8246217 w 25004707"/>
              <a:gd name="connsiteY883" fmla="*/ 1474414 h 10808782"/>
              <a:gd name="connsiteX884" fmla="*/ 6930187 w 25004707"/>
              <a:gd name="connsiteY884" fmla="*/ 1875142 h 10808782"/>
              <a:gd name="connsiteX885" fmla="*/ 8214374 w 25004707"/>
              <a:gd name="connsiteY885" fmla="*/ 1959310 h 10808782"/>
              <a:gd name="connsiteX886" fmla="*/ 8246217 w 25004707"/>
              <a:gd name="connsiteY886" fmla="*/ 1474414 h 10808782"/>
              <a:gd name="connsiteX887" fmla="*/ 7025685 w 25004707"/>
              <a:gd name="connsiteY887" fmla="*/ 420894 h 10808782"/>
              <a:gd name="connsiteX888" fmla="*/ 6993842 w 25004707"/>
              <a:gd name="connsiteY888" fmla="*/ 905794 h 10808782"/>
              <a:gd name="connsiteX889" fmla="*/ 6993842 w 25004707"/>
              <a:gd name="connsiteY889" fmla="*/ 905794 h 10808782"/>
              <a:gd name="connsiteX890" fmla="*/ 5709671 w 25004707"/>
              <a:gd name="connsiteY890" fmla="*/ 821615 h 10808782"/>
              <a:gd name="connsiteX891" fmla="*/ 6993842 w 25004707"/>
              <a:gd name="connsiteY891" fmla="*/ 905794 h 10808782"/>
              <a:gd name="connsiteX892" fmla="*/ 8278013 w 25004707"/>
              <a:gd name="connsiteY892" fmla="*/ 989967 h 10808782"/>
              <a:gd name="connsiteX893" fmla="*/ 8309856 w 25004707"/>
              <a:gd name="connsiteY893" fmla="*/ 505066 h 10808782"/>
              <a:gd name="connsiteX894" fmla="*/ 6739176 w 25004707"/>
              <a:gd name="connsiteY894" fmla="*/ 4783142 h 10808782"/>
              <a:gd name="connsiteX895" fmla="*/ 8023347 w 25004707"/>
              <a:gd name="connsiteY895" fmla="*/ 4867310 h 10808782"/>
              <a:gd name="connsiteX896" fmla="*/ 6611819 w 25004707"/>
              <a:gd name="connsiteY896" fmla="*/ 6722259 h 10808782"/>
              <a:gd name="connsiteX897" fmla="*/ 6579992 w 25004707"/>
              <a:gd name="connsiteY897" fmla="*/ 7206692 h 10808782"/>
              <a:gd name="connsiteX898" fmla="*/ 6611819 w 25004707"/>
              <a:gd name="connsiteY898" fmla="*/ 6722259 h 10808782"/>
              <a:gd name="connsiteX899" fmla="*/ 6643647 w 25004707"/>
              <a:gd name="connsiteY899" fmla="*/ 6237369 h 10808782"/>
              <a:gd name="connsiteX900" fmla="*/ 6611819 w 25004707"/>
              <a:gd name="connsiteY900" fmla="*/ 6722259 h 10808782"/>
              <a:gd name="connsiteX901" fmla="*/ 7895990 w 25004707"/>
              <a:gd name="connsiteY901" fmla="*/ 6806442 h 10808782"/>
              <a:gd name="connsiteX902" fmla="*/ 6579992 w 25004707"/>
              <a:gd name="connsiteY902" fmla="*/ 7206692 h 10808782"/>
              <a:gd name="connsiteX903" fmla="*/ 6548133 w 25004707"/>
              <a:gd name="connsiteY903" fmla="*/ 7691613 h 10808782"/>
              <a:gd name="connsiteX904" fmla="*/ 5263978 w 25004707"/>
              <a:gd name="connsiteY904" fmla="*/ 7607414 h 10808782"/>
              <a:gd name="connsiteX905" fmla="*/ 5232150 w 25004707"/>
              <a:gd name="connsiteY905" fmla="*/ 8091847 h 10808782"/>
              <a:gd name="connsiteX906" fmla="*/ 3947979 w 25004707"/>
              <a:gd name="connsiteY906" fmla="*/ 8007663 h 10808782"/>
              <a:gd name="connsiteX907" fmla="*/ 6643678 w 25004707"/>
              <a:gd name="connsiteY907" fmla="*/ 6237369 h 10808782"/>
              <a:gd name="connsiteX908" fmla="*/ 7927849 w 25004707"/>
              <a:gd name="connsiteY908" fmla="*/ 6321553 h 10808782"/>
              <a:gd name="connsiteX909" fmla="*/ 6898344 w 25004707"/>
              <a:gd name="connsiteY909" fmla="*/ 2360031 h 10808782"/>
              <a:gd name="connsiteX910" fmla="*/ 6866517 w 25004707"/>
              <a:gd name="connsiteY910" fmla="*/ 2844465 h 10808782"/>
              <a:gd name="connsiteX911" fmla="*/ 6866517 w 25004707"/>
              <a:gd name="connsiteY911" fmla="*/ 2844465 h 10808782"/>
              <a:gd name="connsiteX912" fmla="*/ 8150688 w 25004707"/>
              <a:gd name="connsiteY912" fmla="*/ 2928648 h 10808782"/>
              <a:gd name="connsiteX913" fmla="*/ 6866517 w 25004707"/>
              <a:gd name="connsiteY913" fmla="*/ 2844465 h 10808782"/>
              <a:gd name="connsiteX914" fmla="*/ 6802862 w 25004707"/>
              <a:gd name="connsiteY914" fmla="*/ 3813787 h 10808782"/>
              <a:gd name="connsiteX915" fmla="*/ 7832335 w 25004707"/>
              <a:gd name="connsiteY915" fmla="*/ 7775781 h 10808782"/>
              <a:gd name="connsiteX916" fmla="*/ 7864178 w 25004707"/>
              <a:gd name="connsiteY916" fmla="*/ 7290876 h 10808782"/>
              <a:gd name="connsiteX917" fmla="*/ 7832335 w 25004707"/>
              <a:gd name="connsiteY917" fmla="*/ 7775781 h 10808782"/>
              <a:gd name="connsiteX918" fmla="*/ 7800540 w 25004707"/>
              <a:gd name="connsiteY918" fmla="*/ 8260199 h 10808782"/>
              <a:gd name="connsiteX919" fmla="*/ 7832335 w 25004707"/>
              <a:gd name="connsiteY919" fmla="*/ 7775781 h 10808782"/>
              <a:gd name="connsiteX920" fmla="*/ 9116522 w 25004707"/>
              <a:gd name="connsiteY920" fmla="*/ 7859965 h 10808782"/>
              <a:gd name="connsiteX921" fmla="*/ 7864178 w 25004707"/>
              <a:gd name="connsiteY921" fmla="*/ 7290876 h 10808782"/>
              <a:gd name="connsiteX922" fmla="*/ 7895990 w 25004707"/>
              <a:gd name="connsiteY922" fmla="*/ 6806442 h 10808782"/>
              <a:gd name="connsiteX923" fmla="*/ 7864178 w 25004707"/>
              <a:gd name="connsiteY923" fmla="*/ 7290876 h 10808782"/>
              <a:gd name="connsiteX924" fmla="*/ 6580023 w 25004707"/>
              <a:gd name="connsiteY924" fmla="*/ 7206692 h 10808782"/>
              <a:gd name="connsiteX925" fmla="*/ 7864178 w 25004707"/>
              <a:gd name="connsiteY925" fmla="*/ 7290876 h 10808782"/>
              <a:gd name="connsiteX926" fmla="*/ 9148365 w 25004707"/>
              <a:gd name="connsiteY926" fmla="*/ 7375028 h 10808782"/>
              <a:gd name="connsiteX927" fmla="*/ 9180177 w 25004707"/>
              <a:gd name="connsiteY927" fmla="*/ 6890626 h 10808782"/>
              <a:gd name="connsiteX928" fmla="*/ 8023347 w 25004707"/>
              <a:gd name="connsiteY928" fmla="*/ 4867310 h 10808782"/>
              <a:gd name="connsiteX929" fmla="*/ 7991504 w 25004707"/>
              <a:gd name="connsiteY929" fmla="*/ 5352199 h 10808782"/>
              <a:gd name="connsiteX930" fmla="*/ 6707317 w 25004707"/>
              <a:gd name="connsiteY930" fmla="*/ 5268031 h 10808782"/>
              <a:gd name="connsiteX931" fmla="*/ 8023347 w 25004707"/>
              <a:gd name="connsiteY931" fmla="*/ 4867310 h 10808782"/>
              <a:gd name="connsiteX932" fmla="*/ 8055159 w 25004707"/>
              <a:gd name="connsiteY932" fmla="*/ 4382892 h 10808782"/>
              <a:gd name="connsiteX933" fmla="*/ 8023347 w 25004707"/>
              <a:gd name="connsiteY933" fmla="*/ 4867310 h 10808782"/>
              <a:gd name="connsiteX934" fmla="*/ 9307518 w 25004707"/>
              <a:gd name="connsiteY934" fmla="*/ 4951493 h 10808782"/>
              <a:gd name="connsiteX935" fmla="*/ 9339345 w 25004707"/>
              <a:gd name="connsiteY935" fmla="*/ 4467060 h 10808782"/>
              <a:gd name="connsiteX936" fmla="*/ 8150735 w 25004707"/>
              <a:gd name="connsiteY936" fmla="*/ 2928633 h 10808782"/>
              <a:gd name="connsiteX937" fmla="*/ 8118892 w 25004707"/>
              <a:gd name="connsiteY937" fmla="*/ 3413522 h 10808782"/>
              <a:gd name="connsiteX938" fmla="*/ 8118892 w 25004707"/>
              <a:gd name="connsiteY938" fmla="*/ 3413522 h 10808782"/>
              <a:gd name="connsiteX939" fmla="*/ 6834705 w 25004707"/>
              <a:gd name="connsiteY939" fmla="*/ 3329354 h 10808782"/>
              <a:gd name="connsiteX940" fmla="*/ 8118892 w 25004707"/>
              <a:gd name="connsiteY940" fmla="*/ 3413522 h 10808782"/>
              <a:gd name="connsiteX941" fmla="*/ 9403063 w 25004707"/>
              <a:gd name="connsiteY941" fmla="*/ 3497721 h 10808782"/>
              <a:gd name="connsiteX942" fmla="*/ 7927849 w 25004707"/>
              <a:gd name="connsiteY942" fmla="*/ 6321553 h 10808782"/>
              <a:gd name="connsiteX943" fmla="*/ 7895990 w 25004707"/>
              <a:gd name="connsiteY943" fmla="*/ 6806442 h 10808782"/>
              <a:gd name="connsiteX944" fmla="*/ 7927849 w 25004707"/>
              <a:gd name="connsiteY944" fmla="*/ 6321553 h 10808782"/>
              <a:gd name="connsiteX945" fmla="*/ 7959692 w 25004707"/>
              <a:gd name="connsiteY945" fmla="*/ 5836632 h 10808782"/>
              <a:gd name="connsiteX946" fmla="*/ 7895990 w 25004707"/>
              <a:gd name="connsiteY946" fmla="*/ 6806442 h 10808782"/>
              <a:gd name="connsiteX947" fmla="*/ 9180177 w 25004707"/>
              <a:gd name="connsiteY947" fmla="*/ 6890626 h 10808782"/>
              <a:gd name="connsiteX948" fmla="*/ 7736885 w 25004707"/>
              <a:gd name="connsiteY948" fmla="*/ 9229521 h 10808782"/>
              <a:gd name="connsiteX949" fmla="*/ 7705010 w 25004707"/>
              <a:gd name="connsiteY949" fmla="*/ 9714426 h 10808782"/>
              <a:gd name="connsiteX950" fmla="*/ 7736885 w 25004707"/>
              <a:gd name="connsiteY950" fmla="*/ 9229521 h 10808782"/>
              <a:gd name="connsiteX951" fmla="*/ 9021040 w 25004707"/>
              <a:gd name="connsiteY951" fmla="*/ 9313690 h 10808782"/>
              <a:gd name="connsiteX952" fmla="*/ 7736885 w 25004707"/>
              <a:gd name="connsiteY952" fmla="*/ 9229521 h 10808782"/>
              <a:gd name="connsiteX953" fmla="*/ 7800540 w 25004707"/>
              <a:gd name="connsiteY953" fmla="*/ 8260199 h 10808782"/>
              <a:gd name="connsiteX954" fmla="*/ 8087049 w 25004707"/>
              <a:gd name="connsiteY954" fmla="*/ 3897987 h 10808782"/>
              <a:gd name="connsiteX955" fmla="*/ 8055206 w 25004707"/>
              <a:gd name="connsiteY955" fmla="*/ 4382892 h 10808782"/>
              <a:gd name="connsiteX956" fmla="*/ 8055206 w 25004707"/>
              <a:gd name="connsiteY956" fmla="*/ 4382892 h 10808782"/>
              <a:gd name="connsiteX957" fmla="*/ 6771019 w 25004707"/>
              <a:gd name="connsiteY957" fmla="*/ 4298708 h 10808782"/>
              <a:gd name="connsiteX958" fmla="*/ 8055206 w 25004707"/>
              <a:gd name="connsiteY958" fmla="*/ 4382892 h 10808782"/>
              <a:gd name="connsiteX959" fmla="*/ 9339392 w 25004707"/>
              <a:gd name="connsiteY959" fmla="*/ 4467060 h 10808782"/>
              <a:gd name="connsiteX960" fmla="*/ 7959724 w 25004707"/>
              <a:gd name="connsiteY960" fmla="*/ 5836648 h 10808782"/>
              <a:gd name="connsiteX961" fmla="*/ 7991535 w 25004707"/>
              <a:gd name="connsiteY961" fmla="*/ 5352214 h 10808782"/>
              <a:gd name="connsiteX962" fmla="*/ 9275706 w 25004707"/>
              <a:gd name="connsiteY962" fmla="*/ 5436398 h 10808782"/>
              <a:gd name="connsiteX963" fmla="*/ 7959724 w 25004707"/>
              <a:gd name="connsiteY963" fmla="*/ 5836648 h 10808782"/>
              <a:gd name="connsiteX964" fmla="*/ 9243879 w 25004707"/>
              <a:gd name="connsiteY964" fmla="*/ 5920832 h 10808782"/>
              <a:gd name="connsiteX965" fmla="*/ 7705010 w 25004707"/>
              <a:gd name="connsiteY965" fmla="*/ 9714426 h 10808782"/>
              <a:gd name="connsiteX966" fmla="*/ 6420839 w 25004707"/>
              <a:gd name="connsiteY966" fmla="*/ 9630242 h 10808782"/>
              <a:gd name="connsiteX967" fmla="*/ 7705010 w 25004707"/>
              <a:gd name="connsiteY967" fmla="*/ 9714426 h 10808782"/>
              <a:gd name="connsiteX968" fmla="*/ 8989196 w 25004707"/>
              <a:gd name="connsiteY968" fmla="*/ 9798594 h 10808782"/>
              <a:gd name="connsiteX969" fmla="*/ 9021040 w 25004707"/>
              <a:gd name="connsiteY969" fmla="*/ 9313690 h 10808782"/>
              <a:gd name="connsiteX970" fmla="*/ 8246217 w 25004707"/>
              <a:gd name="connsiteY970" fmla="*/ 1474414 h 10808782"/>
              <a:gd name="connsiteX971" fmla="*/ 8278029 w 25004707"/>
              <a:gd name="connsiteY971" fmla="*/ 989981 h 10808782"/>
              <a:gd name="connsiteX972" fmla="*/ 9562184 w 25004707"/>
              <a:gd name="connsiteY972" fmla="*/ 1074155 h 10808782"/>
              <a:gd name="connsiteX973" fmla="*/ 7800540 w 25004707"/>
              <a:gd name="connsiteY973" fmla="*/ 8260199 h 10808782"/>
              <a:gd name="connsiteX974" fmla="*/ 9084726 w 25004707"/>
              <a:gd name="connsiteY974" fmla="*/ 8344382 h 10808782"/>
              <a:gd name="connsiteX975" fmla="*/ 8182500 w 25004707"/>
              <a:gd name="connsiteY975" fmla="*/ 2444199 h 10808782"/>
              <a:gd name="connsiteX976" fmla="*/ 8214343 w 25004707"/>
              <a:gd name="connsiteY976" fmla="*/ 1959294 h 10808782"/>
              <a:gd name="connsiteX977" fmla="*/ 9498529 w 25004707"/>
              <a:gd name="connsiteY977" fmla="*/ 2043493 h 10808782"/>
              <a:gd name="connsiteX978" fmla="*/ 8182500 w 25004707"/>
              <a:gd name="connsiteY978" fmla="*/ 2444199 h 10808782"/>
              <a:gd name="connsiteX979" fmla="*/ 8150688 w 25004707"/>
              <a:gd name="connsiteY979" fmla="*/ 2928648 h 10808782"/>
              <a:gd name="connsiteX980" fmla="*/ 8182500 w 25004707"/>
              <a:gd name="connsiteY980" fmla="*/ 2444199 h 10808782"/>
              <a:gd name="connsiteX981" fmla="*/ 9466686 w 25004707"/>
              <a:gd name="connsiteY981" fmla="*/ 2528399 h 10808782"/>
              <a:gd name="connsiteX982" fmla="*/ 8182500 w 25004707"/>
              <a:gd name="connsiteY982" fmla="*/ 2444199 h 10808782"/>
              <a:gd name="connsiteX983" fmla="*/ 6898329 w 25004707"/>
              <a:gd name="connsiteY983" fmla="*/ 2360015 h 10808782"/>
              <a:gd name="connsiteX984" fmla="*/ 8150688 w 25004707"/>
              <a:gd name="connsiteY984" fmla="*/ 2928648 h 10808782"/>
              <a:gd name="connsiteX985" fmla="*/ 9434859 w 25004707"/>
              <a:gd name="connsiteY985" fmla="*/ 3012832 h 10808782"/>
              <a:gd name="connsiteX986" fmla="*/ 9275706 w 25004707"/>
              <a:gd name="connsiteY986" fmla="*/ 5436398 h 10808782"/>
              <a:gd name="connsiteX987" fmla="*/ 9243879 w 25004707"/>
              <a:gd name="connsiteY987" fmla="*/ 5920832 h 10808782"/>
              <a:gd name="connsiteX988" fmla="*/ 9243879 w 25004707"/>
              <a:gd name="connsiteY988" fmla="*/ 5920832 h 10808782"/>
              <a:gd name="connsiteX989" fmla="*/ 9212035 w 25004707"/>
              <a:gd name="connsiteY989" fmla="*/ 6405721 h 10808782"/>
              <a:gd name="connsiteX990" fmla="*/ 9212035 w 25004707"/>
              <a:gd name="connsiteY990" fmla="*/ 6405721 h 10808782"/>
              <a:gd name="connsiteX991" fmla="*/ 9180177 w 25004707"/>
              <a:gd name="connsiteY991" fmla="*/ 6890626 h 10808782"/>
              <a:gd name="connsiteX992" fmla="*/ 9212035 w 25004707"/>
              <a:gd name="connsiteY992" fmla="*/ 6405721 h 10808782"/>
              <a:gd name="connsiteX993" fmla="*/ 7927865 w 25004707"/>
              <a:gd name="connsiteY993" fmla="*/ 6321538 h 10808782"/>
              <a:gd name="connsiteX994" fmla="*/ 9371235 w 25004707"/>
              <a:gd name="connsiteY994" fmla="*/ 3982171 h 10808782"/>
              <a:gd name="connsiteX995" fmla="*/ 9339392 w 25004707"/>
              <a:gd name="connsiteY995" fmla="*/ 4467060 h 10808782"/>
              <a:gd name="connsiteX996" fmla="*/ 9562184 w 25004707"/>
              <a:gd name="connsiteY996" fmla="*/ 1074155 h 10808782"/>
              <a:gd name="connsiteX997" fmla="*/ 9530372 w 25004707"/>
              <a:gd name="connsiteY997" fmla="*/ 1558589 h 10808782"/>
              <a:gd name="connsiteX998" fmla="*/ 9562184 w 25004707"/>
              <a:gd name="connsiteY998" fmla="*/ 1074155 h 10808782"/>
              <a:gd name="connsiteX999" fmla="*/ 9594027 w 25004707"/>
              <a:gd name="connsiteY999" fmla="*/ 589247 h 10808782"/>
              <a:gd name="connsiteX1000" fmla="*/ 9530372 w 25004707"/>
              <a:gd name="connsiteY1000" fmla="*/ 1558589 h 10808782"/>
              <a:gd name="connsiteX1001" fmla="*/ 9498529 w 25004707"/>
              <a:gd name="connsiteY1001" fmla="*/ 2043493 h 10808782"/>
              <a:gd name="connsiteX1002" fmla="*/ 9530372 w 25004707"/>
              <a:gd name="connsiteY1002" fmla="*/ 1558589 h 10808782"/>
              <a:gd name="connsiteX1003" fmla="*/ 8246186 w 25004707"/>
              <a:gd name="connsiteY1003" fmla="*/ 1474408 h 10808782"/>
              <a:gd name="connsiteX1004" fmla="*/ 9116522 w 25004707"/>
              <a:gd name="connsiteY1004" fmla="*/ 7859965 h 10808782"/>
              <a:gd name="connsiteX1005" fmla="*/ 9084726 w 25004707"/>
              <a:gd name="connsiteY1005" fmla="*/ 8344382 h 10808782"/>
              <a:gd name="connsiteX1006" fmla="*/ 9403063 w 25004707"/>
              <a:gd name="connsiteY1006" fmla="*/ 3497721 h 10808782"/>
              <a:gd name="connsiteX1007" fmla="*/ 9371251 w 25004707"/>
              <a:gd name="connsiteY1007" fmla="*/ 3982155 h 10808782"/>
              <a:gd name="connsiteX1008" fmla="*/ 9403063 w 25004707"/>
              <a:gd name="connsiteY1008" fmla="*/ 3497721 h 10808782"/>
              <a:gd name="connsiteX1009" fmla="*/ 9434921 w 25004707"/>
              <a:gd name="connsiteY1009" fmla="*/ 3012801 h 10808782"/>
              <a:gd name="connsiteX1010" fmla="*/ 9371251 w 25004707"/>
              <a:gd name="connsiteY1010" fmla="*/ 3982155 h 10808782"/>
              <a:gd name="connsiteX1011" fmla="*/ 8087081 w 25004707"/>
              <a:gd name="connsiteY1011" fmla="*/ 3897971 h 10808782"/>
              <a:gd name="connsiteX1012" fmla="*/ 9498529 w 25004707"/>
              <a:gd name="connsiteY1012" fmla="*/ 2043493 h 10808782"/>
              <a:gd name="connsiteX1013" fmla="*/ 9466686 w 25004707"/>
              <a:gd name="connsiteY1013" fmla="*/ 2528399 h 10808782"/>
              <a:gd name="connsiteX1014" fmla="*/ 9466686 w 25004707"/>
              <a:gd name="connsiteY1014" fmla="*/ 2528399 h 10808782"/>
              <a:gd name="connsiteX1015" fmla="*/ 9434859 w 25004707"/>
              <a:gd name="connsiteY1015" fmla="*/ 3012832 h 10808782"/>
              <a:gd name="connsiteX1016" fmla="*/ 9021040 w 25004707"/>
              <a:gd name="connsiteY1016" fmla="*/ 9313690 h 10808782"/>
              <a:gd name="connsiteX1017" fmla="*/ 9052851 w 25004707"/>
              <a:gd name="connsiteY1017" fmla="*/ 8829272 h 10808782"/>
              <a:gd name="connsiteX1018" fmla="*/ 9084726 w 25004707"/>
              <a:gd name="connsiteY1018" fmla="*/ 8344382 h 10808782"/>
              <a:gd name="connsiteX1019" fmla="*/ 9052883 w 25004707"/>
              <a:gd name="connsiteY1019" fmla="*/ 8829287 h 10808782"/>
              <a:gd name="connsiteX1020" fmla="*/ 9052883 w 25004707"/>
              <a:gd name="connsiteY1020" fmla="*/ 8829287 h 10808782"/>
              <a:gd name="connsiteX1021" fmla="*/ 6484525 w 25004707"/>
              <a:gd name="connsiteY1021" fmla="*/ 8660920 h 10808782"/>
              <a:gd name="connsiteX1022" fmla="*/ 11589397 w 25004707"/>
              <a:gd name="connsiteY1022" fmla="*/ 9482057 h 10808782"/>
              <a:gd name="connsiteX1023" fmla="*/ 11621209 w 25004707"/>
              <a:gd name="connsiteY1023" fmla="*/ 8997623 h 10808782"/>
              <a:gd name="connsiteX1024" fmla="*/ 11589397 w 25004707"/>
              <a:gd name="connsiteY1024" fmla="*/ 9482057 h 10808782"/>
              <a:gd name="connsiteX1025" fmla="*/ 11557539 w 25004707"/>
              <a:gd name="connsiteY1025" fmla="*/ 9966962 h 10808782"/>
              <a:gd name="connsiteX1026" fmla="*/ 10273352 w 25004707"/>
              <a:gd name="connsiteY1026" fmla="*/ 9882778 h 10808782"/>
              <a:gd name="connsiteX1027" fmla="*/ 11589397 w 25004707"/>
              <a:gd name="connsiteY1027" fmla="*/ 9482057 h 10808782"/>
              <a:gd name="connsiteX1028" fmla="*/ 12873584 w 25004707"/>
              <a:gd name="connsiteY1028" fmla="*/ 9566240 h 10808782"/>
              <a:gd name="connsiteX1029" fmla="*/ 11589397 w 25004707"/>
              <a:gd name="connsiteY1029" fmla="*/ 9482057 h 10808782"/>
              <a:gd name="connsiteX1030" fmla="*/ 10305227 w 25004707"/>
              <a:gd name="connsiteY1030" fmla="*/ 9397873 h 10808782"/>
              <a:gd name="connsiteX1031" fmla="*/ 11621209 w 25004707"/>
              <a:gd name="connsiteY1031" fmla="*/ 8997623 h 10808782"/>
              <a:gd name="connsiteX1032" fmla="*/ 11653068 w 25004707"/>
              <a:gd name="connsiteY1032" fmla="*/ 8512733 h 10808782"/>
              <a:gd name="connsiteX1033" fmla="*/ 11621209 w 25004707"/>
              <a:gd name="connsiteY1033" fmla="*/ 8997623 h 10808782"/>
              <a:gd name="connsiteX1034" fmla="*/ 10337038 w 25004707"/>
              <a:gd name="connsiteY1034" fmla="*/ 8913455 h 10808782"/>
              <a:gd name="connsiteX1035" fmla="*/ 12098730 w 25004707"/>
              <a:gd name="connsiteY1035" fmla="*/ 1726956 h 10808782"/>
              <a:gd name="connsiteX1036" fmla="*/ 12066887 w 25004707"/>
              <a:gd name="connsiteY1036" fmla="*/ 2211845 h 10808782"/>
              <a:gd name="connsiteX1037" fmla="*/ 12098730 w 25004707"/>
              <a:gd name="connsiteY1037" fmla="*/ 1726956 h 10808782"/>
              <a:gd name="connsiteX1038" fmla="*/ 12130541 w 25004707"/>
              <a:gd name="connsiteY1038" fmla="*/ 1242500 h 10808782"/>
              <a:gd name="connsiteX1039" fmla="*/ 12098730 w 25004707"/>
              <a:gd name="connsiteY1039" fmla="*/ 1726956 h 10808782"/>
              <a:gd name="connsiteX1040" fmla="*/ 13382917 w 25004707"/>
              <a:gd name="connsiteY1040" fmla="*/ 1811140 h 10808782"/>
              <a:gd name="connsiteX1041" fmla="*/ 12066887 w 25004707"/>
              <a:gd name="connsiteY1041" fmla="*/ 2211845 h 10808782"/>
              <a:gd name="connsiteX1042" fmla="*/ 12035043 w 25004707"/>
              <a:gd name="connsiteY1042" fmla="*/ 2696735 h 10808782"/>
              <a:gd name="connsiteX1043" fmla="*/ 12066887 w 25004707"/>
              <a:gd name="connsiteY1043" fmla="*/ 2211845 h 10808782"/>
              <a:gd name="connsiteX1044" fmla="*/ 13351074 w 25004707"/>
              <a:gd name="connsiteY1044" fmla="*/ 2296029 h 10808782"/>
              <a:gd name="connsiteX1045" fmla="*/ 13382917 w 25004707"/>
              <a:gd name="connsiteY1045" fmla="*/ 1811140 h 10808782"/>
              <a:gd name="connsiteX1046" fmla="*/ 11684864 w 25004707"/>
              <a:gd name="connsiteY1046" fmla="*/ 8028316 h 10808782"/>
              <a:gd name="connsiteX1047" fmla="*/ 11700769 w 25004707"/>
              <a:gd name="connsiteY1047" fmla="*/ 7786092 h 10808782"/>
              <a:gd name="connsiteX1048" fmla="*/ 11645721 w 25004707"/>
              <a:gd name="connsiteY1048" fmla="*/ 7561345 h 10808782"/>
              <a:gd name="connsiteX1049" fmla="*/ 11684864 w 25004707"/>
              <a:gd name="connsiteY1049" fmla="*/ 8028316 h 10808782"/>
              <a:gd name="connsiteX1050" fmla="*/ 11653068 w 25004707"/>
              <a:gd name="connsiteY1050" fmla="*/ 8512733 h 10808782"/>
              <a:gd name="connsiteX1051" fmla="*/ 12162401 w 25004707"/>
              <a:gd name="connsiteY1051" fmla="*/ 757600 h 10808782"/>
              <a:gd name="connsiteX1052" fmla="*/ 12130541 w 25004707"/>
              <a:gd name="connsiteY1052" fmla="*/ 1242500 h 10808782"/>
              <a:gd name="connsiteX1053" fmla="*/ 12130541 w 25004707"/>
              <a:gd name="connsiteY1053" fmla="*/ 1242500 h 10808782"/>
              <a:gd name="connsiteX1054" fmla="*/ 13414713 w 25004707"/>
              <a:gd name="connsiteY1054" fmla="*/ 1326681 h 10808782"/>
              <a:gd name="connsiteX1055" fmla="*/ 11971389 w 25004707"/>
              <a:gd name="connsiteY1055" fmla="*/ 3666073 h 10808782"/>
              <a:gd name="connsiteX1056" fmla="*/ 11939593 w 25004707"/>
              <a:gd name="connsiteY1056" fmla="*/ 4150506 h 10808782"/>
              <a:gd name="connsiteX1057" fmla="*/ 11971389 w 25004707"/>
              <a:gd name="connsiteY1057" fmla="*/ 3666073 h 10808782"/>
              <a:gd name="connsiteX1058" fmla="*/ 10687203 w 25004707"/>
              <a:gd name="connsiteY1058" fmla="*/ 3581889 h 10808782"/>
              <a:gd name="connsiteX1059" fmla="*/ 11971389 w 25004707"/>
              <a:gd name="connsiteY1059" fmla="*/ 3666073 h 10808782"/>
              <a:gd name="connsiteX1060" fmla="*/ 12035043 w 25004707"/>
              <a:gd name="connsiteY1060" fmla="*/ 2696750 h 10808782"/>
              <a:gd name="connsiteX1061" fmla="*/ 11939562 w 25004707"/>
              <a:gd name="connsiteY1061" fmla="*/ 4150506 h 10808782"/>
              <a:gd name="connsiteX1062" fmla="*/ 11923656 w 25004707"/>
              <a:gd name="connsiteY1062" fmla="*/ 4392731 h 10808782"/>
              <a:gd name="connsiteX1063" fmla="*/ 11839674 w 25004707"/>
              <a:gd name="connsiteY1063" fmla="*/ 4608362 h 10808782"/>
              <a:gd name="connsiteX1064" fmla="*/ 11939593 w 25004707"/>
              <a:gd name="connsiteY1064" fmla="*/ 4150506 h 10808782"/>
              <a:gd name="connsiteX1065" fmla="*/ 12272294 w 25004707"/>
              <a:gd name="connsiteY1065" fmla="*/ 4172322 h 10808782"/>
              <a:gd name="connsiteX1066" fmla="*/ 13140632 w 25004707"/>
              <a:gd name="connsiteY1066" fmla="*/ 4177462 h 10808782"/>
              <a:gd name="connsiteX1067" fmla="*/ 11123456 w 25004707"/>
              <a:gd name="connsiteY1067" fmla="*/ 6044043 h 10808782"/>
              <a:gd name="connsiteX1068" fmla="*/ 11191500 w 25004707"/>
              <a:gd name="connsiteY1068" fmla="*/ 6598074 h 10808782"/>
              <a:gd name="connsiteX1069" fmla="*/ 10491927 w 25004707"/>
              <a:gd name="connsiteY1069" fmla="*/ 6490078 h 10808782"/>
              <a:gd name="connsiteX1070" fmla="*/ 11123456 w 25004707"/>
              <a:gd name="connsiteY1070" fmla="*/ 6044043 h 10808782"/>
              <a:gd name="connsiteX1071" fmla="*/ 11503937 w 25004707"/>
              <a:gd name="connsiteY1071" fmla="*/ 6068971 h 10808782"/>
              <a:gd name="connsiteX1072" fmla="*/ 11646287 w 25004707"/>
              <a:gd name="connsiteY1072" fmla="*/ 7561361 h 10808782"/>
              <a:gd name="connsiteX1073" fmla="*/ 11412797 w 25004707"/>
              <a:gd name="connsiteY1073" fmla="*/ 7108001 h 10808782"/>
              <a:gd name="connsiteX1074" fmla="*/ 11130048 w 25004707"/>
              <a:gd name="connsiteY1074" fmla="*/ 7039111 h 10808782"/>
              <a:gd name="connsiteX1075" fmla="*/ 10846071 w 25004707"/>
              <a:gd name="connsiteY1075" fmla="*/ 7005444 h 10808782"/>
              <a:gd name="connsiteX1076" fmla="*/ 10464379 w 25004707"/>
              <a:gd name="connsiteY1076" fmla="*/ 6974779 h 10808782"/>
              <a:gd name="connsiteX1077" fmla="*/ 11191531 w 25004707"/>
              <a:gd name="connsiteY1077" fmla="*/ 6598058 h 10808782"/>
              <a:gd name="connsiteX1078" fmla="*/ 11412813 w 25004707"/>
              <a:gd name="connsiteY1078" fmla="*/ 7107545 h 10808782"/>
              <a:gd name="connsiteX1079" fmla="*/ 12088126 w 25004707"/>
              <a:gd name="connsiteY1079" fmla="*/ 7357425 h 10808782"/>
              <a:gd name="connsiteX1080" fmla="*/ 12035043 w 25004707"/>
              <a:gd name="connsiteY1080" fmla="*/ 2696735 h 10808782"/>
              <a:gd name="connsiteX1081" fmla="*/ 13319230 w 25004707"/>
              <a:gd name="connsiteY1081" fmla="*/ 2780918 h 10808782"/>
              <a:gd name="connsiteX1082" fmla="*/ 11840162 w 25004707"/>
              <a:gd name="connsiteY1082" fmla="*/ 4608393 h 10808782"/>
              <a:gd name="connsiteX1083" fmla="*/ 11549389 w 25004707"/>
              <a:gd name="connsiteY1083" fmla="*/ 5027378 h 10808782"/>
              <a:gd name="connsiteX1084" fmla="*/ 11263368 w 25004707"/>
              <a:gd name="connsiteY1084" fmla="*/ 5504110 h 10808782"/>
              <a:gd name="connsiteX1085" fmla="*/ 11123440 w 25004707"/>
              <a:gd name="connsiteY1085" fmla="*/ 6044498 h 10808782"/>
              <a:gd name="connsiteX1086" fmla="*/ 11549436 w 25004707"/>
              <a:gd name="connsiteY1086" fmla="*/ 5027394 h 10808782"/>
              <a:gd name="connsiteX1087" fmla="*/ 11263415 w 25004707"/>
              <a:gd name="connsiteY1087" fmla="*/ 5503623 h 10808782"/>
              <a:gd name="connsiteX1088" fmla="*/ 11752593 w 25004707"/>
              <a:gd name="connsiteY1088" fmla="*/ 5391241 h 10808782"/>
              <a:gd name="connsiteX1089" fmla="*/ 12251684 w 25004707"/>
              <a:gd name="connsiteY1089" fmla="*/ 4867812 h 10808782"/>
              <a:gd name="connsiteX1090" fmla="*/ 13275399 w 25004707"/>
              <a:gd name="connsiteY1090" fmla="*/ 4617321 h 10808782"/>
              <a:gd name="connsiteX1091" fmla="*/ 13140664 w 25004707"/>
              <a:gd name="connsiteY1091" fmla="*/ 4177494 h 10808782"/>
              <a:gd name="connsiteX1092" fmla="*/ 12761818 w 25004707"/>
              <a:gd name="connsiteY1092" fmla="*/ 4492837 h 10808782"/>
              <a:gd name="connsiteX1093" fmla="*/ 11661721 w 25004707"/>
              <a:gd name="connsiteY1093" fmla="*/ 6773813 h 10808782"/>
              <a:gd name="connsiteX1094" fmla="*/ 11503858 w 25004707"/>
              <a:gd name="connsiteY1094" fmla="*/ 6069442 h 10808782"/>
              <a:gd name="connsiteX1095" fmla="*/ 12905427 w 25004707"/>
              <a:gd name="connsiteY1095" fmla="*/ 9081823 h 10808782"/>
              <a:gd name="connsiteX1096" fmla="*/ 12937271 w 25004707"/>
              <a:gd name="connsiteY1096" fmla="*/ 8596917 h 10808782"/>
              <a:gd name="connsiteX1097" fmla="*/ 12905427 w 25004707"/>
              <a:gd name="connsiteY1097" fmla="*/ 9081823 h 10808782"/>
              <a:gd name="connsiteX1098" fmla="*/ 14190133 w 25004707"/>
              <a:gd name="connsiteY1098" fmla="*/ 9166037 h 10808782"/>
              <a:gd name="connsiteX1099" fmla="*/ 12905427 w 25004707"/>
              <a:gd name="connsiteY1099" fmla="*/ 9081823 h 10808782"/>
              <a:gd name="connsiteX1100" fmla="*/ 11621240 w 25004707"/>
              <a:gd name="connsiteY1100" fmla="*/ 8997639 h 10808782"/>
              <a:gd name="connsiteX1101" fmla="*/ 12251620 w 25004707"/>
              <a:gd name="connsiteY1101" fmla="*/ 4868269 h 10808782"/>
              <a:gd name="connsiteX1102" fmla="*/ 12762275 w 25004707"/>
              <a:gd name="connsiteY1102" fmla="*/ 4493340 h 10808782"/>
              <a:gd name="connsiteX1103" fmla="*/ 11503937 w 25004707"/>
              <a:gd name="connsiteY1103" fmla="*/ 6068971 h 10808782"/>
              <a:gd name="connsiteX1104" fmla="*/ 11752562 w 25004707"/>
              <a:gd name="connsiteY1104" fmla="*/ 5391257 h 10808782"/>
              <a:gd name="connsiteX1105" fmla="*/ 11503937 w 25004707"/>
              <a:gd name="connsiteY1105" fmla="*/ 6068971 h 10808782"/>
              <a:gd name="connsiteX1106" fmla="*/ 11995302 w 25004707"/>
              <a:gd name="connsiteY1106" fmla="*/ 6101176 h 10808782"/>
              <a:gd name="connsiteX1107" fmla="*/ 13319215 w 25004707"/>
              <a:gd name="connsiteY1107" fmla="*/ 2780934 h 10808782"/>
              <a:gd name="connsiteX1108" fmla="*/ 13287403 w 25004707"/>
              <a:gd name="connsiteY1108" fmla="*/ 3265368 h 10808782"/>
              <a:gd name="connsiteX1109" fmla="*/ 10719045 w 25004707"/>
              <a:gd name="connsiteY1109" fmla="*/ 3097000 h 10808782"/>
              <a:gd name="connsiteX1110" fmla="*/ 12879185 w 25004707"/>
              <a:gd name="connsiteY1110" fmla="*/ 8157877 h 10808782"/>
              <a:gd name="connsiteX1111" fmla="*/ 12953113 w 25004707"/>
              <a:gd name="connsiteY1111" fmla="*/ 8354693 h 10808782"/>
              <a:gd name="connsiteX1112" fmla="*/ 12937192 w 25004707"/>
              <a:gd name="connsiteY1112" fmla="*/ 8596917 h 10808782"/>
              <a:gd name="connsiteX1113" fmla="*/ 11653021 w 25004707"/>
              <a:gd name="connsiteY1113" fmla="*/ 8512733 h 10808782"/>
              <a:gd name="connsiteX1114" fmla="*/ 13351074 w 25004707"/>
              <a:gd name="connsiteY1114" fmla="*/ 2296013 h 10808782"/>
              <a:gd name="connsiteX1115" fmla="*/ 13319230 w 25004707"/>
              <a:gd name="connsiteY1115" fmla="*/ 2780918 h 10808782"/>
              <a:gd name="connsiteX1116" fmla="*/ 13319230 w 25004707"/>
              <a:gd name="connsiteY1116" fmla="*/ 2780918 h 10808782"/>
              <a:gd name="connsiteX1117" fmla="*/ 14603952 w 25004707"/>
              <a:gd name="connsiteY1117" fmla="*/ 2865118 h 10808782"/>
              <a:gd name="connsiteX1118" fmla="*/ 14635795 w 25004707"/>
              <a:gd name="connsiteY1118" fmla="*/ 2380244 h 10808782"/>
              <a:gd name="connsiteX1119" fmla="*/ 13382917 w 25004707"/>
              <a:gd name="connsiteY1119" fmla="*/ 1811140 h 10808782"/>
              <a:gd name="connsiteX1120" fmla="*/ 13414713 w 25004707"/>
              <a:gd name="connsiteY1120" fmla="*/ 1326681 h 10808782"/>
              <a:gd name="connsiteX1121" fmla="*/ 13382917 w 25004707"/>
              <a:gd name="connsiteY1121" fmla="*/ 1811140 h 10808782"/>
              <a:gd name="connsiteX1122" fmla="*/ 14667607 w 25004707"/>
              <a:gd name="connsiteY1122" fmla="*/ 1895339 h 10808782"/>
              <a:gd name="connsiteX1123" fmla="*/ 13287451 w 25004707"/>
              <a:gd name="connsiteY1123" fmla="*/ 3265336 h 10808782"/>
              <a:gd name="connsiteX1124" fmla="*/ 13255607 w 25004707"/>
              <a:gd name="connsiteY1124" fmla="*/ 3750241 h 10808782"/>
              <a:gd name="connsiteX1125" fmla="*/ 11971436 w 25004707"/>
              <a:gd name="connsiteY1125" fmla="*/ 3666057 h 10808782"/>
              <a:gd name="connsiteX1126" fmla="*/ 13140585 w 25004707"/>
              <a:gd name="connsiteY1126" fmla="*/ 4177934 h 10808782"/>
              <a:gd name="connsiteX1127" fmla="*/ 13239622 w 25004707"/>
              <a:gd name="connsiteY1127" fmla="*/ 3992450 h 10808782"/>
              <a:gd name="connsiteX1128" fmla="*/ 13255529 w 25004707"/>
              <a:gd name="connsiteY1128" fmla="*/ 3750241 h 10808782"/>
              <a:gd name="connsiteX1129" fmla="*/ 14206023 w 25004707"/>
              <a:gd name="connsiteY1129" fmla="*/ 3811147 h 10808782"/>
              <a:gd name="connsiteX1130" fmla="*/ 14533910 w 25004707"/>
              <a:gd name="connsiteY1130" fmla="*/ 3825576 h 10808782"/>
              <a:gd name="connsiteX1131" fmla="*/ 14311810 w 25004707"/>
              <a:gd name="connsiteY1131" fmla="*/ 4099440 h 10808782"/>
              <a:gd name="connsiteX1132" fmla="*/ 12544864 w 25004707"/>
              <a:gd name="connsiteY1132" fmla="*/ 7795774 h 10808782"/>
              <a:gd name="connsiteX1133" fmla="*/ 12879217 w 25004707"/>
              <a:gd name="connsiteY1133" fmla="*/ 8157877 h 10808782"/>
              <a:gd name="connsiteX1134" fmla="*/ 14029580 w 25004707"/>
              <a:gd name="connsiteY1134" fmla="*/ 8388549 h 10808782"/>
              <a:gd name="connsiteX1135" fmla="*/ 12545383 w 25004707"/>
              <a:gd name="connsiteY1135" fmla="*/ 7795805 h 10808782"/>
              <a:gd name="connsiteX1136" fmla="*/ 12088126 w 25004707"/>
              <a:gd name="connsiteY1136" fmla="*/ 7357425 h 10808782"/>
              <a:gd name="connsiteX1137" fmla="*/ 12088126 w 25004707"/>
              <a:gd name="connsiteY1137" fmla="*/ 7357425 h 10808782"/>
              <a:gd name="connsiteX1138" fmla="*/ 11661799 w 25004707"/>
              <a:gd name="connsiteY1138" fmla="*/ 6773325 h 10808782"/>
              <a:gd name="connsiteX1139" fmla="*/ 12088126 w 25004707"/>
              <a:gd name="connsiteY1139" fmla="*/ 7357425 h 10808782"/>
              <a:gd name="connsiteX1140" fmla="*/ 13070307 w 25004707"/>
              <a:gd name="connsiteY1140" fmla="*/ 7739410 h 10808782"/>
              <a:gd name="connsiteX1141" fmla="*/ 12873584 w 25004707"/>
              <a:gd name="connsiteY1141" fmla="*/ 9566240 h 10808782"/>
              <a:gd name="connsiteX1142" fmla="*/ 12905396 w 25004707"/>
              <a:gd name="connsiteY1142" fmla="*/ 9081806 h 10808782"/>
              <a:gd name="connsiteX1143" fmla="*/ 12873584 w 25004707"/>
              <a:gd name="connsiteY1143" fmla="*/ 9566240 h 10808782"/>
              <a:gd name="connsiteX1144" fmla="*/ 14158290 w 25004707"/>
              <a:gd name="connsiteY1144" fmla="*/ 9650455 h 10808782"/>
              <a:gd name="connsiteX1145" fmla="*/ 12873631 w 25004707"/>
              <a:gd name="connsiteY1145" fmla="*/ 9566240 h 10808782"/>
              <a:gd name="connsiteX1146" fmla="*/ 12841773 w 25004707"/>
              <a:gd name="connsiteY1146" fmla="*/ 10051145 h 10808782"/>
              <a:gd name="connsiteX1147" fmla="*/ 11557601 w 25004707"/>
              <a:gd name="connsiteY1147" fmla="*/ 9966962 h 10808782"/>
              <a:gd name="connsiteX1148" fmla="*/ 13446556 w 25004707"/>
              <a:gd name="connsiteY1148" fmla="*/ 841781 h 10808782"/>
              <a:gd name="connsiteX1149" fmla="*/ 13414713 w 25004707"/>
              <a:gd name="connsiteY1149" fmla="*/ 1326681 h 10808782"/>
              <a:gd name="connsiteX1150" fmla="*/ 14190133 w 25004707"/>
              <a:gd name="connsiteY1150" fmla="*/ 9166037 h 10808782"/>
              <a:gd name="connsiteX1151" fmla="*/ 14206039 w 25004707"/>
              <a:gd name="connsiteY1151" fmla="*/ 8923813 h 10808782"/>
              <a:gd name="connsiteX1152" fmla="*/ 14214503 w 25004707"/>
              <a:gd name="connsiteY1152" fmla="*/ 8689589 h 10808782"/>
              <a:gd name="connsiteX1153" fmla="*/ 14190133 w 25004707"/>
              <a:gd name="connsiteY1153" fmla="*/ 9166037 h 10808782"/>
              <a:gd name="connsiteX1154" fmla="*/ 14158290 w 25004707"/>
              <a:gd name="connsiteY1154" fmla="*/ 9650455 h 10808782"/>
              <a:gd name="connsiteX1155" fmla="*/ 14190133 w 25004707"/>
              <a:gd name="connsiteY1155" fmla="*/ 9166037 h 10808782"/>
              <a:gd name="connsiteX1156" fmla="*/ 15474273 w 25004707"/>
              <a:gd name="connsiteY1156" fmla="*/ 9250206 h 10808782"/>
              <a:gd name="connsiteX1157" fmla="*/ 14603889 w 25004707"/>
              <a:gd name="connsiteY1157" fmla="*/ 2865133 h 10808782"/>
              <a:gd name="connsiteX1158" fmla="*/ 14572062 w 25004707"/>
              <a:gd name="connsiteY1158" fmla="*/ 3349567 h 10808782"/>
              <a:gd name="connsiteX1159" fmla="*/ 14572062 w 25004707"/>
              <a:gd name="connsiteY1159" fmla="*/ 3349567 h 10808782"/>
              <a:gd name="connsiteX1160" fmla="*/ 13287355 w 25004707"/>
              <a:gd name="connsiteY1160" fmla="*/ 3265352 h 10808782"/>
              <a:gd name="connsiteX1161" fmla="*/ 14572062 w 25004707"/>
              <a:gd name="connsiteY1161" fmla="*/ 3349567 h 10808782"/>
              <a:gd name="connsiteX1162" fmla="*/ 15856264 w 25004707"/>
              <a:gd name="connsiteY1162" fmla="*/ 3433766 h 10808782"/>
              <a:gd name="connsiteX1163" fmla="*/ 14731277 w 25004707"/>
              <a:gd name="connsiteY1163" fmla="*/ 925990 h 10808782"/>
              <a:gd name="connsiteX1164" fmla="*/ 14699434 w 25004707"/>
              <a:gd name="connsiteY1164" fmla="*/ 1410890 h 10808782"/>
              <a:gd name="connsiteX1165" fmla="*/ 14699434 w 25004707"/>
              <a:gd name="connsiteY1165" fmla="*/ 1410890 h 10808782"/>
              <a:gd name="connsiteX1166" fmla="*/ 14667607 w 25004707"/>
              <a:gd name="connsiteY1166" fmla="*/ 1895339 h 10808782"/>
              <a:gd name="connsiteX1167" fmla="*/ 14699434 w 25004707"/>
              <a:gd name="connsiteY1167" fmla="*/ 1410890 h 10808782"/>
              <a:gd name="connsiteX1168" fmla="*/ 15983542 w 25004707"/>
              <a:gd name="connsiteY1168" fmla="*/ 1495075 h 10808782"/>
              <a:gd name="connsiteX1169" fmla="*/ 14699434 w 25004707"/>
              <a:gd name="connsiteY1169" fmla="*/ 1410890 h 10808782"/>
              <a:gd name="connsiteX1170" fmla="*/ 13414728 w 25004707"/>
              <a:gd name="connsiteY1170" fmla="*/ 1326676 h 10808782"/>
              <a:gd name="connsiteX1171" fmla="*/ 14029580 w 25004707"/>
              <a:gd name="connsiteY1171" fmla="*/ 8388549 h 10808782"/>
              <a:gd name="connsiteX1172" fmla="*/ 13647070 w 25004707"/>
              <a:gd name="connsiteY1172" fmla="*/ 8118803 h 10808782"/>
              <a:gd name="connsiteX1173" fmla="*/ 14029580 w 25004707"/>
              <a:gd name="connsiteY1173" fmla="*/ 8388549 h 10808782"/>
              <a:gd name="connsiteX1174" fmla="*/ 15397386 w 25004707"/>
              <a:gd name="connsiteY1174" fmla="*/ 8603361 h 10808782"/>
              <a:gd name="connsiteX1175" fmla="*/ 14126447 w 25004707"/>
              <a:gd name="connsiteY1175" fmla="*/ 10135345 h 10808782"/>
              <a:gd name="connsiteX1176" fmla="*/ 14158290 w 25004707"/>
              <a:gd name="connsiteY1176" fmla="*/ 9650455 h 10808782"/>
              <a:gd name="connsiteX1177" fmla="*/ 14126447 w 25004707"/>
              <a:gd name="connsiteY1177" fmla="*/ 10135345 h 10808782"/>
              <a:gd name="connsiteX1178" fmla="*/ 15410602 w 25004707"/>
              <a:gd name="connsiteY1178" fmla="*/ 10219528 h 10808782"/>
              <a:gd name="connsiteX1179" fmla="*/ 14126447 w 25004707"/>
              <a:gd name="connsiteY1179" fmla="*/ 10135345 h 10808782"/>
              <a:gd name="connsiteX1180" fmla="*/ 12841741 w 25004707"/>
              <a:gd name="connsiteY1180" fmla="*/ 10051145 h 10808782"/>
              <a:gd name="connsiteX1181" fmla="*/ 14158290 w 25004707"/>
              <a:gd name="connsiteY1181" fmla="*/ 9650455 h 10808782"/>
              <a:gd name="connsiteX1182" fmla="*/ 15442445 w 25004707"/>
              <a:gd name="connsiteY1182" fmla="*/ 9734623 h 10808782"/>
              <a:gd name="connsiteX1183" fmla="*/ 14667607 w 25004707"/>
              <a:gd name="connsiteY1183" fmla="*/ 1895339 h 10808782"/>
              <a:gd name="connsiteX1184" fmla="*/ 15951762 w 25004707"/>
              <a:gd name="connsiteY1184" fmla="*/ 1979523 h 10808782"/>
              <a:gd name="connsiteX1185" fmla="*/ 14667638 w 25004707"/>
              <a:gd name="connsiteY1185" fmla="*/ 1895339 h 10808782"/>
              <a:gd name="connsiteX1186" fmla="*/ 14635795 w 25004707"/>
              <a:gd name="connsiteY1186" fmla="*/ 2380244 h 10808782"/>
              <a:gd name="connsiteX1187" fmla="*/ 14635795 w 25004707"/>
              <a:gd name="connsiteY1187" fmla="*/ 2380244 h 10808782"/>
              <a:gd name="connsiteX1188" fmla="*/ 13351089 w 25004707"/>
              <a:gd name="connsiteY1188" fmla="*/ 2296029 h 10808782"/>
              <a:gd name="connsiteX1189" fmla="*/ 14030052 w 25004707"/>
              <a:gd name="connsiteY1189" fmla="*/ 8388596 h 10808782"/>
              <a:gd name="connsiteX1190" fmla="*/ 14214425 w 25004707"/>
              <a:gd name="connsiteY1190" fmla="*/ 8689101 h 10808782"/>
              <a:gd name="connsiteX1191" fmla="*/ 12937176 w 25004707"/>
              <a:gd name="connsiteY1191" fmla="*/ 8596886 h 10808782"/>
              <a:gd name="connsiteX1192" fmla="*/ 14572109 w 25004707"/>
              <a:gd name="connsiteY1192" fmla="*/ 3349551 h 10808782"/>
              <a:gd name="connsiteX1193" fmla="*/ 14556188 w 25004707"/>
              <a:gd name="connsiteY1193" fmla="*/ 3591776 h 10808782"/>
              <a:gd name="connsiteX1194" fmla="*/ 14533957 w 25004707"/>
              <a:gd name="connsiteY1194" fmla="*/ 3825104 h 10808782"/>
              <a:gd name="connsiteX1195" fmla="*/ 15812999 w 25004707"/>
              <a:gd name="connsiteY1195" fmla="*/ 3865656 h 10808782"/>
              <a:gd name="connsiteX1196" fmla="*/ 15695947 w 25004707"/>
              <a:gd name="connsiteY1196" fmla="*/ 4065002 h 10808782"/>
              <a:gd name="connsiteX1197" fmla="*/ 14311842 w 25004707"/>
              <a:gd name="connsiteY1197" fmla="*/ 4099440 h 10808782"/>
              <a:gd name="connsiteX1198" fmla="*/ 11994799 w 25004707"/>
              <a:gd name="connsiteY1198" fmla="*/ 6101616 h 10808782"/>
              <a:gd name="connsiteX1199" fmla="*/ 12359705 w 25004707"/>
              <a:gd name="connsiteY1199" fmla="*/ 7093871 h 10808782"/>
              <a:gd name="connsiteX1200" fmla="*/ 13070307 w 25004707"/>
              <a:gd name="connsiteY1200" fmla="*/ 7739882 h 10808782"/>
              <a:gd name="connsiteX1201" fmla="*/ 12486354 w 25004707"/>
              <a:gd name="connsiteY1201" fmla="*/ 5165033 h 10808782"/>
              <a:gd name="connsiteX1202" fmla="*/ 13275368 w 25004707"/>
              <a:gd name="connsiteY1202" fmla="*/ 4617305 h 10808782"/>
              <a:gd name="connsiteX1203" fmla="*/ 12486354 w 25004707"/>
              <a:gd name="connsiteY1203" fmla="*/ 5165033 h 10808782"/>
              <a:gd name="connsiteX1204" fmla="*/ 11752027 w 25004707"/>
              <a:gd name="connsiteY1204" fmla="*/ 5391210 h 10808782"/>
              <a:gd name="connsiteX1205" fmla="*/ 13275368 w 25004707"/>
              <a:gd name="connsiteY1205" fmla="*/ 4617305 h 10808782"/>
              <a:gd name="connsiteX1206" fmla="*/ 13897330 w 25004707"/>
              <a:gd name="connsiteY1206" fmla="*/ 4316485 h 10808782"/>
              <a:gd name="connsiteX1207" fmla="*/ 13275368 w 25004707"/>
              <a:gd name="connsiteY1207" fmla="*/ 4617305 h 10808782"/>
              <a:gd name="connsiteX1208" fmla="*/ 15121623 w 25004707"/>
              <a:gd name="connsiteY1208" fmla="*/ 4395796 h 10808782"/>
              <a:gd name="connsiteX1209" fmla="*/ 11995302 w 25004707"/>
              <a:gd name="connsiteY1209" fmla="*/ 6101176 h 10808782"/>
              <a:gd name="connsiteX1210" fmla="*/ 12486872 w 25004707"/>
              <a:gd name="connsiteY1210" fmla="*/ 5165065 h 10808782"/>
              <a:gd name="connsiteX1211" fmla="*/ 11995302 w 25004707"/>
              <a:gd name="connsiteY1211" fmla="*/ 6101176 h 10808782"/>
              <a:gd name="connsiteX1212" fmla="*/ 13443441 w 25004707"/>
              <a:gd name="connsiteY1212" fmla="*/ 6196111 h 10808782"/>
              <a:gd name="connsiteX1213" fmla="*/ 14385691 w 25004707"/>
              <a:gd name="connsiteY1213" fmla="*/ 4808195 h 10808782"/>
              <a:gd name="connsiteX1214" fmla="*/ 15121623 w 25004707"/>
              <a:gd name="connsiteY1214" fmla="*/ 4395796 h 10808782"/>
              <a:gd name="connsiteX1215" fmla="*/ 13897330 w 25004707"/>
              <a:gd name="connsiteY1215" fmla="*/ 4316485 h 10808782"/>
              <a:gd name="connsiteX1216" fmla="*/ 14311857 w 25004707"/>
              <a:gd name="connsiteY1216" fmla="*/ 4098984 h 10808782"/>
              <a:gd name="connsiteX1217" fmla="*/ 13897330 w 25004707"/>
              <a:gd name="connsiteY1217" fmla="*/ 4316485 h 10808782"/>
              <a:gd name="connsiteX1218" fmla="*/ 12762306 w 25004707"/>
              <a:gd name="connsiteY1218" fmla="*/ 4492884 h 10808782"/>
              <a:gd name="connsiteX1219" fmla="*/ 11840209 w 25004707"/>
              <a:gd name="connsiteY1219" fmla="*/ 4608409 h 10808782"/>
              <a:gd name="connsiteX1220" fmla="*/ 13647557 w 25004707"/>
              <a:gd name="connsiteY1220" fmla="*/ 8119305 h 10808782"/>
              <a:gd name="connsiteX1221" fmla="*/ 13070260 w 25004707"/>
              <a:gd name="connsiteY1221" fmla="*/ 7739866 h 10808782"/>
              <a:gd name="connsiteX1222" fmla="*/ 15121623 w 25004707"/>
              <a:gd name="connsiteY1222" fmla="*/ 4395796 h 10808782"/>
              <a:gd name="connsiteX1223" fmla="*/ 15490320 w 25004707"/>
              <a:gd name="connsiteY1223" fmla="*/ 4210579 h 10808782"/>
              <a:gd name="connsiteX1224" fmla="*/ 15121623 w 25004707"/>
              <a:gd name="connsiteY1224" fmla="*/ 4395796 h 10808782"/>
              <a:gd name="connsiteX1225" fmla="*/ 17654676 w 25004707"/>
              <a:gd name="connsiteY1225" fmla="*/ 4542536 h 10808782"/>
              <a:gd name="connsiteX1226" fmla="*/ 15489786 w 25004707"/>
              <a:gd name="connsiteY1226" fmla="*/ 4210564 h 10808782"/>
              <a:gd name="connsiteX1227" fmla="*/ 15695475 w 25004707"/>
              <a:gd name="connsiteY1227" fmla="*/ 4065002 h 10808782"/>
              <a:gd name="connsiteX1228" fmla="*/ 14871157 w 25004707"/>
              <a:gd name="connsiteY1228" fmla="*/ 8200471 h 10808782"/>
              <a:gd name="connsiteX1229" fmla="*/ 15212479 w 25004707"/>
              <a:gd name="connsiteY1229" fmla="*/ 8432228 h 10808782"/>
              <a:gd name="connsiteX1230" fmla="*/ 17080274 w 25004707"/>
              <a:gd name="connsiteY1230" fmla="*/ 8565010 h 10808782"/>
              <a:gd name="connsiteX1231" fmla="*/ 14196065 w 25004707"/>
              <a:gd name="connsiteY1231" fmla="*/ 7695574 h 10808782"/>
              <a:gd name="connsiteX1232" fmla="*/ 13443425 w 25004707"/>
              <a:gd name="connsiteY1232" fmla="*/ 6196566 h 10808782"/>
              <a:gd name="connsiteX1233" fmla="*/ 14196065 w 25004707"/>
              <a:gd name="connsiteY1233" fmla="*/ 7695574 h 10808782"/>
              <a:gd name="connsiteX1234" fmla="*/ 12359657 w 25004707"/>
              <a:gd name="connsiteY1234" fmla="*/ 7093855 h 10808782"/>
              <a:gd name="connsiteX1235" fmla="*/ 14196065 w 25004707"/>
              <a:gd name="connsiteY1235" fmla="*/ 7695574 h 10808782"/>
              <a:gd name="connsiteX1236" fmla="*/ 18066716 w 25004707"/>
              <a:gd name="connsiteY1236" fmla="*/ 7989289 h 10808782"/>
              <a:gd name="connsiteX1237" fmla="*/ 14196048 w 25004707"/>
              <a:gd name="connsiteY1237" fmla="*/ 7695558 h 10808782"/>
              <a:gd name="connsiteX1238" fmla="*/ 14871692 w 25004707"/>
              <a:gd name="connsiteY1238" fmla="*/ 8200488 h 10808782"/>
              <a:gd name="connsiteX1239" fmla="*/ 13070244 w 25004707"/>
              <a:gd name="connsiteY1239" fmla="*/ 7739850 h 10808782"/>
              <a:gd name="connsiteX1240" fmla="*/ 15397921 w 25004707"/>
              <a:gd name="connsiteY1240" fmla="*/ 8603409 h 10808782"/>
              <a:gd name="connsiteX1241" fmla="*/ 15213046 w 25004707"/>
              <a:gd name="connsiteY1241" fmla="*/ 8432244 h 10808782"/>
              <a:gd name="connsiteX1242" fmla="*/ 15397921 w 25004707"/>
              <a:gd name="connsiteY1242" fmla="*/ 8603409 h 10808782"/>
              <a:gd name="connsiteX1243" fmla="*/ 15487834 w 25004707"/>
              <a:gd name="connsiteY1243" fmla="*/ 8816336 h 10808782"/>
              <a:gd name="connsiteX1244" fmla="*/ 14214487 w 25004707"/>
              <a:gd name="connsiteY1244" fmla="*/ 8689086 h 10808782"/>
              <a:gd name="connsiteX1245" fmla="*/ 15397921 w 25004707"/>
              <a:gd name="connsiteY1245" fmla="*/ 8603409 h 10808782"/>
              <a:gd name="connsiteX1246" fmla="*/ 16902492 w 25004707"/>
              <a:gd name="connsiteY1246" fmla="*/ 8707695 h 10808782"/>
              <a:gd name="connsiteX1247" fmla="*/ 15410602 w 25004707"/>
              <a:gd name="connsiteY1247" fmla="*/ 10219528 h 10808782"/>
              <a:gd name="connsiteX1248" fmla="*/ 15442445 w 25004707"/>
              <a:gd name="connsiteY1248" fmla="*/ 9734623 h 10808782"/>
              <a:gd name="connsiteX1249" fmla="*/ 15442445 w 25004707"/>
              <a:gd name="connsiteY1249" fmla="*/ 9734623 h 10808782"/>
              <a:gd name="connsiteX1250" fmla="*/ 15474273 w 25004707"/>
              <a:gd name="connsiteY1250" fmla="*/ 9250206 h 10808782"/>
              <a:gd name="connsiteX1251" fmla="*/ 15474273 w 25004707"/>
              <a:gd name="connsiteY1251" fmla="*/ 9250206 h 10808782"/>
              <a:gd name="connsiteX1252" fmla="*/ 15487866 w 25004707"/>
              <a:gd name="connsiteY1252" fmla="*/ 8816336 h 10808782"/>
              <a:gd name="connsiteX1253" fmla="*/ 15888044 w 25004707"/>
              <a:gd name="connsiteY1253" fmla="*/ 2949333 h 10808782"/>
              <a:gd name="connsiteX1254" fmla="*/ 15856264 w 25004707"/>
              <a:gd name="connsiteY1254" fmla="*/ 3433766 h 10808782"/>
              <a:gd name="connsiteX1255" fmla="*/ 15856264 w 25004707"/>
              <a:gd name="connsiteY1255" fmla="*/ 3433766 h 10808782"/>
              <a:gd name="connsiteX1256" fmla="*/ 15812999 w 25004707"/>
              <a:gd name="connsiteY1256" fmla="*/ 3865671 h 10808782"/>
              <a:gd name="connsiteX1257" fmla="*/ 17124954 w 25004707"/>
              <a:gd name="connsiteY1257" fmla="*/ 3949352 h 10808782"/>
              <a:gd name="connsiteX1258" fmla="*/ 15919982 w 25004707"/>
              <a:gd name="connsiteY1258" fmla="*/ 2464396 h 10808782"/>
              <a:gd name="connsiteX1259" fmla="*/ 15888044 w 25004707"/>
              <a:gd name="connsiteY1259" fmla="*/ 2949301 h 10808782"/>
              <a:gd name="connsiteX1260" fmla="*/ 14603921 w 25004707"/>
              <a:gd name="connsiteY1260" fmla="*/ 2865118 h 10808782"/>
              <a:gd name="connsiteX1261" fmla="*/ 15919982 w 25004707"/>
              <a:gd name="connsiteY1261" fmla="*/ 2464396 h 10808782"/>
              <a:gd name="connsiteX1262" fmla="*/ 15951762 w 25004707"/>
              <a:gd name="connsiteY1262" fmla="*/ 1979523 h 10808782"/>
              <a:gd name="connsiteX1263" fmla="*/ 15919982 w 25004707"/>
              <a:gd name="connsiteY1263" fmla="*/ 2464396 h 10808782"/>
              <a:gd name="connsiteX1264" fmla="*/ 14635747 w 25004707"/>
              <a:gd name="connsiteY1264" fmla="*/ 2380244 h 10808782"/>
              <a:gd name="connsiteX1265" fmla="*/ 16015479 w 25004707"/>
              <a:gd name="connsiteY1265" fmla="*/ 1010175 h 10808782"/>
              <a:gd name="connsiteX1266" fmla="*/ 15983542 w 25004707"/>
              <a:gd name="connsiteY1266" fmla="*/ 1495075 h 10808782"/>
              <a:gd name="connsiteX1267" fmla="*/ 15951762 w 25004707"/>
              <a:gd name="connsiteY1267" fmla="*/ 1979523 h 10808782"/>
              <a:gd name="connsiteX1268" fmla="*/ 15983542 w 25004707"/>
              <a:gd name="connsiteY1268" fmla="*/ 1495086 h 10808782"/>
              <a:gd name="connsiteX1269" fmla="*/ 24431722 w 25004707"/>
              <a:gd name="connsiteY1269" fmla="*/ 10323878 h 10808782"/>
              <a:gd name="connsiteX1270" fmla="*/ 24442890 w 25004707"/>
              <a:gd name="connsiteY1270" fmla="*/ 10324617 h 10808782"/>
              <a:gd name="connsiteX1271" fmla="*/ 24474672 w 25004707"/>
              <a:gd name="connsiteY1271" fmla="*/ 9840199 h 10808782"/>
              <a:gd name="connsiteX1272" fmla="*/ 24463658 w 25004707"/>
              <a:gd name="connsiteY1272" fmla="*/ 9839460 h 10808782"/>
              <a:gd name="connsiteX1273" fmla="*/ 11684880 w 25004707"/>
              <a:gd name="connsiteY1273" fmla="*/ 8028300 h 10808782"/>
              <a:gd name="connsiteX1274" fmla="*/ 12879185 w 25004707"/>
              <a:gd name="connsiteY1274" fmla="*/ 8158364 h 10808782"/>
              <a:gd name="connsiteX1275" fmla="*/ 20674580 w 25004707"/>
              <a:gd name="connsiteY1275" fmla="*/ 8617586 h 10808782"/>
              <a:gd name="connsiteX1276" fmla="*/ 20341988 w 25004707"/>
              <a:gd name="connsiteY1276" fmla="*/ 8595770 h 10808782"/>
              <a:gd name="connsiteX1277" fmla="*/ 19488328 w 25004707"/>
              <a:gd name="connsiteY1277" fmla="*/ 8602418 h 10808782"/>
              <a:gd name="connsiteX1278" fmla="*/ 11646271 w 25004707"/>
              <a:gd name="connsiteY1278" fmla="*/ 7561376 h 10808782"/>
              <a:gd name="connsiteX1279" fmla="*/ 12545352 w 25004707"/>
              <a:gd name="connsiteY1279" fmla="*/ 7796293 h 10808782"/>
              <a:gd name="connsiteX1280" fmla="*/ 10432568 w 25004707"/>
              <a:gd name="connsiteY1280" fmla="*/ 7459228 h 10808782"/>
              <a:gd name="connsiteX1281" fmla="*/ 11645783 w 25004707"/>
              <a:gd name="connsiteY1281" fmla="*/ 7560874 h 10808782"/>
              <a:gd name="connsiteX1282" fmla="*/ 19877714 w 25004707"/>
              <a:gd name="connsiteY1282" fmla="*/ 8295736 h 10808782"/>
              <a:gd name="connsiteX1283" fmla="*/ 18710818 w 25004707"/>
              <a:gd name="connsiteY1283" fmla="*/ 8471900 h 10808782"/>
              <a:gd name="connsiteX1284" fmla="*/ 12545414 w 25004707"/>
              <a:gd name="connsiteY1284" fmla="*/ 7795821 h 10808782"/>
              <a:gd name="connsiteX1285" fmla="*/ 13647621 w 25004707"/>
              <a:gd name="connsiteY1285" fmla="*/ 8118850 h 10808782"/>
              <a:gd name="connsiteX1286" fmla="*/ 18710188 w 25004707"/>
              <a:gd name="connsiteY1286" fmla="*/ 8471883 h 10808782"/>
              <a:gd name="connsiteX1287" fmla="*/ 17080274 w 25004707"/>
              <a:gd name="connsiteY1287" fmla="*/ 8564539 h 10808782"/>
              <a:gd name="connsiteX1288" fmla="*/ 20800442 w 25004707"/>
              <a:gd name="connsiteY1288" fmla="*/ 8170357 h 10808782"/>
              <a:gd name="connsiteX1289" fmla="*/ 19877714 w 25004707"/>
              <a:gd name="connsiteY1289" fmla="*/ 8295264 h 10808782"/>
              <a:gd name="connsiteX1290" fmla="*/ 13647557 w 25004707"/>
              <a:gd name="connsiteY1290" fmla="*/ 8119337 h 10808782"/>
              <a:gd name="connsiteX1291" fmla="*/ 15213031 w 25004707"/>
              <a:gd name="connsiteY1291" fmla="*/ 8432275 h 10808782"/>
              <a:gd name="connsiteX1292" fmla="*/ 24570168 w 25004707"/>
              <a:gd name="connsiteY1292" fmla="*/ 8385956 h 10808782"/>
              <a:gd name="connsiteX1293" fmla="*/ 24558998 w 25004707"/>
              <a:gd name="connsiteY1293" fmla="*/ 8385217 h 10808782"/>
              <a:gd name="connsiteX1294" fmla="*/ 11191453 w 25004707"/>
              <a:gd name="connsiteY1294" fmla="*/ 6598058 h 10808782"/>
              <a:gd name="connsiteX1295" fmla="*/ 11661705 w 25004707"/>
              <a:gd name="connsiteY1295" fmla="*/ 6773325 h 10808782"/>
              <a:gd name="connsiteX1296" fmla="*/ 11661752 w 25004707"/>
              <a:gd name="connsiteY1296" fmla="*/ 6773797 h 10808782"/>
              <a:gd name="connsiteX1297" fmla="*/ 12360192 w 25004707"/>
              <a:gd name="connsiteY1297" fmla="*/ 7093886 h 10808782"/>
              <a:gd name="connsiteX1298" fmla="*/ 21415434 w 25004707"/>
              <a:gd name="connsiteY1298" fmla="*/ 7277170 h 10808782"/>
              <a:gd name="connsiteX1299" fmla="*/ 20922056 w 25004707"/>
              <a:gd name="connsiteY1299" fmla="*/ 7397268 h 10808782"/>
              <a:gd name="connsiteX1300" fmla="*/ 20922686 w 25004707"/>
              <a:gd name="connsiteY1300" fmla="*/ 7397316 h 10808782"/>
              <a:gd name="connsiteX1301" fmla="*/ 20142814 w 25004707"/>
              <a:gd name="connsiteY1301" fmla="*/ 7635564 h 10808782"/>
              <a:gd name="connsiteX1302" fmla="*/ 24622718 w 25004707"/>
              <a:gd name="connsiteY1302" fmla="*/ 7415894 h 10808782"/>
              <a:gd name="connsiteX1303" fmla="*/ 24633886 w 25004707"/>
              <a:gd name="connsiteY1303" fmla="*/ 7416633 h 10808782"/>
              <a:gd name="connsiteX1304" fmla="*/ 20142814 w 25004707"/>
              <a:gd name="connsiteY1304" fmla="*/ 7635108 h 10808782"/>
              <a:gd name="connsiteX1305" fmla="*/ 18066244 w 25004707"/>
              <a:gd name="connsiteY1305" fmla="*/ 7988802 h 10808782"/>
              <a:gd name="connsiteX1306" fmla="*/ 24665668 w 25004707"/>
              <a:gd name="connsiteY1306" fmla="*/ 6931728 h 10808782"/>
              <a:gd name="connsiteX1307" fmla="*/ 24654654 w 25004707"/>
              <a:gd name="connsiteY1307" fmla="*/ 6931005 h 10808782"/>
              <a:gd name="connsiteX1308" fmla="*/ 18998254 w 25004707"/>
              <a:gd name="connsiteY1308" fmla="*/ 6560194 h 10808782"/>
              <a:gd name="connsiteX1309" fmla="*/ 13443409 w 25004707"/>
              <a:gd name="connsiteY1309" fmla="*/ 6196079 h 10808782"/>
              <a:gd name="connsiteX1310" fmla="*/ 9275737 w 25004707"/>
              <a:gd name="connsiteY1310" fmla="*/ 5436398 h 10808782"/>
              <a:gd name="connsiteX1311" fmla="*/ 10227192 w 25004707"/>
              <a:gd name="connsiteY1311" fmla="*/ 5498766 h 10808782"/>
              <a:gd name="connsiteX1312" fmla="*/ 10555661 w 25004707"/>
              <a:gd name="connsiteY1312" fmla="*/ 5520299 h 10808782"/>
              <a:gd name="connsiteX1313" fmla="*/ 10555676 w 25004707"/>
              <a:gd name="connsiteY1313" fmla="*/ 5519796 h 10808782"/>
              <a:gd name="connsiteX1314" fmla="*/ 11263383 w 25004707"/>
              <a:gd name="connsiteY1314" fmla="*/ 5504063 h 10808782"/>
              <a:gd name="connsiteX1315" fmla="*/ 24761164 w 25004707"/>
              <a:gd name="connsiteY1315" fmla="*/ 5477971 h 10808782"/>
              <a:gd name="connsiteX1316" fmla="*/ 24749994 w 25004707"/>
              <a:gd name="connsiteY1316" fmla="*/ 5477249 h 10808782"/>
              <a:gd name="connsiteX1317" fmla="*/ 15489769 w 25004707"/>
              <a:gd name="connsiteY1317" fmla="*/ 4210548 h 10808782"/>
              <a:gd name="connsiteX1318" fmla="*/ 13896795 w 25004707"/>
              <a:gd name="connsiteY1318" fmla="*/ 4316454 h 10808782"/>
              <a:gd name="connsiteX1319" fmla="*/ 11840225 w 25004707"/>
              <a:gd name="connsiteY1319" fmla="*/ 4608393 h 10808782"/>
              <a:gd name="connsiteX1320" fmla="*/ 11564650 w 25004707"/>
              <a:gd name="connsiteY1320" fmla="*/ 4609163 h 10808782"/>
              <a:gd name="connsiteX1321" fmla="*/ 10623579 w 25004707"/>
              <a:gd name="connsiteY1321" fmla="*/ 4550772 h 10808782"/>
              <a:gd name="connsiteX1322" fmla="*/ 17200786 w 25004707"/>
              <a:gd name="connsiteY1322" fmla="*/ 4157957 h 10808782"/>
              <a:gd name="connsiteX1323" fmla="*/ 15695475 w 25004707"/>
              <a:gd name="connsiteY1323" fmla="*/ 4064971 h 10808782"/>
              <a:gd name="connsiteX1324" fmla="*/ 24792944 w 25004707"/>
              <a:gd name="connsiteY1324" fmla="*/ 4993051 h 10808782"/>
              <a:gd name="connsiteX1325" fmla="*/ 24781932 w 25004707"/>
              <a:gd name="connsiteY1325" fmla="*/ 4992328 h 10808782"/>
              <a:gd name="connsiteX1326" fmla="*/ 14311291 w 25004707"/>
              <a:gd name="connsiteY1326" fmla="*/ 4099408 h 10808782"/>
              <a:gd name="connsiteX1327" fmla="*/ 13140600 w 25004707"/>
              <a:gd name="connsiteY1327" fmla="*/ 4177934 h 10808782"/>
              <a:gd name="connsiteX1328" fmla="*/ 5533323 w 25004707"/>
              <a:gd name="connsiteY1328" fmla="*/ 3742335 h 10808782"/>
              <a:gd name="connsiteX1329" fmla="*/ 5816937 w 25004707"/>
              <a:gd name="connsiteY1329" fmla="*/ 3749157 h 10808782"/>
              <a:gd name="connsiteX1330" fmla="*/ 6803413 w 25004707"/>
              <a:gd name="connsiteY1330" fmla="*/ 3813819 h 10808782"/>
              <a:gd name="connsiteX1331" fmla="*/ 17402166 w 25004707"/>
              <a:gd name="connsiteY1331" fmla="*/ 8385657 h 10808782"/>
              <a:gd name="connsiteX1332" fmla="*/ 14871708 w 25004707"/>
              <a:gd name="connsiteY1332" fmla="*/ 8200471 h 10808782"/>
              <a:gd name="connsiteX1333" fmla="*/ 21113996 w 25004707"/>
              <a:gd name="connsiteY1333" fmla="*/ 7756165 h 10808782"/>
              <a:gd name="connsiteX1334" fmla="*/ 20402560 w 25004707"/>
              <a:gd name="connsiteY1334" fmla="*/ 7924564 h 10808782"/>
              <a:gd name="connsiteX1335" fmla="*/ 24729384 w 25004707"/>
              <a:gd name="connsiteY1335" fmla="*/ 5962405 h 10808782"/>
              <a:gd name="connsiteX1336" fmla="*/ 24718214 w 25004707"/>
              <a:gd name="connsiteY1336" fmla="*/ 5961666 h 10808782"/>
              <a:gd name="connsiteX1337" fmla="*/ 12251605 w 25004707"/>
              <a:gd name="connsiteY1337" fmla="*/ 4868284 h 10808782"/>
              <a:gd name="connsiteX1338" fmla="*/ 11549373 w 25004707"/>
              <a:gd name="connsiteY1338" fmla="*/ 5027865 h 10808782"/>
              <a:gd name="connsiteX1339" fmla="*/ 4229596 w 25004707"/>
              <a:gd name="connsiteY1339" fmla="*/ 3720409 h 10808782"/>
              <a:gd name="connsiteX1340" fmla="*/ 5592446 w 25004707"/>
              <a:gd name="connsiteY1340" fmla="*/ 3263937 h 10808782"/>
              <a:gd name="connsiteX1341" fmla="*/ 1697927 w 25004707"/>
              <a:gd name="connsiteY1341" fmla="*/ 2992635 h 10808782"/>
              <a:gd name="connsiteX1342" fmla="*/ 2684403 w 25004707"/>
              <a:gd name="connsiteY1342" fmla="*/ 3057297 h 10808782"/>
              <a:gd name="connsiteX1343" fmla="*/ 2938046 w 25004707"/>
              <a:gd name="connsiteY1343" fmla="*/ 3090399 h 10808782"/>
              <a:gd name="connsiteX1344" fmla="*/ 24824882 w 25004707"/>
              <a:gd name="connsiteY1344" fmla="*/ 4508602 h 10808782"/>
              <a:gd name="connsiteX1345" fmla="*/ 24813712 w 25004707"/>
              <a:gd name="connsiteY1345" fmla="*/ 4507879 h 10808782"/>
              <a:gd name="connsiteX1346" fmla="*/ 24888442 w 25004707"/>
              <a:gd name="connsiteY1346" fmla="*/ 3539279 h 10808782"/>
              <a:gd name="connsiteX1347" fmla="*/ 24877430 w 25004707"/>
              <a:gd name="connsiteY1347" fmla="*/ 3538556 h 10808782"/>
              <a:gd name="connsiteX1348" fmla="*/ 24920380 w 25004707"/>
              <a:gd name="connsiteY1348" fmla="*/ 3054405 h 10808782"/>
              <a:gd name="connsiteX1349" fmla="*/ 24909210 w 25004707"/>
              <a:gd name="connsiteY1349" fmla="*/ 3053682 h 10808782"/>
              <a:gd name="connsiteX1350" fmla="*/ 24984098 w 25004707"/>
              <a:gd name="connsiteY1350" fmla="*/ 2085067 h 10808782"/>
              <a:gd name="connsiteX1351" fmla="*/ 24972926 w 25004707"/>
              <a:gd name="connsiteY1351" fmla="*/ 2084328 h 10808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</a:cxnLst>
            <a:rect l="l" t="t" r="r" b="b"/>
            <a:pathLst>
              <a:path w="25004707" h="10808782">
                <a:moveTo>
                  <a:pt x="24781932" y="4992328"/>
                </a:moveTo>
                <a:lnTo>
                  <a:pt x="24813712" y="4507894"/>
                </a:lnTo>
                <a:moveTo>
                  <a:pt x="24781932" y="4992328"/>
                </a:moveTo>
                <a:lnTo>
                  <a:pt x="24749994" y="5477249"/>
                </a:lnTo>
                <a:moveTo>
                  <a:pt x="24781932" y="4992328"/>
                </a:moveTo>
                <a:lnTo>
                  <a:pt x="23497668" y="4908160"/>
                </a:lnTo>
                <a:lnTo>
                  <a:pt x="23465886" y="5393065"/>
                </a:lnTo>
                <a:moveTo>
                  <a:pt x="24813712" y="4507894"/>
                </a:moveTo>
                <a:lnTo>
                  <a:pt x="24845492" y="4022989"/>
                </a:lnTo>
                <a:moveTo>
                  <a:pt x="24813712" y="4507894"/>
                </a:moveTo>
                <a:lnTo>
                  <a:pt x="23529446" y="4423711"/>
                </a:lnTo>
                <a:moveTo>
                  <a:pt x="24718214" y="5961666"/>
                </a:moveTo>
                <a:lnTo>
                  <a:pt x="24686276" y="6446571"/>
                </a:lnTo>
                <a:lnTo>
                  <a:pt x="23402168" y="6362388"/>
                </a:lnTo>
                <a:moveTo>
                  <a:pt x="24718214" y="5961666"/>
                </a:moveTo>
                <a:lnTo>
                  <a:pt x="24749994" y="5477249"/>
                </a:lnTo>
                <a:moveTo>
                  <a:pt x="24718214" y="5961666"/>
                </a:moveTo>
                <a:lnTo>
                  <a:pt x="23433948" y="5877498"/>
                </a:lnTo>
                <a:moveTo>
                  <a:pt x="24749994" y="5477249"/>
                </a:moveTo>
                <a:lnTo>
                  <a:pt x="23465886" y="5393065"/>
                </a:lnTo>
                <a:moveTo>
                  <a:pt x="24940990" y="2568777"/>
                </a:moveTo>
                <a:lnTo>
                  <a:pt x="24909210" y="3053682"/>
                </a:lnTo>
                <a:lnTo>
                  <a:pt x="23624944" y="2969499"/>
                </a:lnTo>
                <a:moveTo>
                  <a:pt x="24877430" y="3538571"/>
                </a:moveTo>
                <a:lnTo>
                  <a:pt x="24845492" y="4023005"/>
                </a:lnTo>
                <a:moveTo>
                  <a:pt x="24845492" y="4023005"/>
                </a:moveTo>
                <a:lnTo>
                  <a:pt x="24856664" y="4023744"/>
                </a:lnTo>
                <a:moveTo>
                  <a:pt x="24845492" y="4023005"/>
                </a:moveTo>
                <a:lnTo>
                  <a:pt x="23561384" y="3938837"/>
                </a:lnTo>
                <a:moveTo>
                  <a:pt x="24940990" y="2568777"/>
                </a:moveTo>
                <a:lnTo>
                  <a:pt x="23656882" y="2484594"/>
                </a:lnTo>
                <a:lnTo>
                  <a:pt x="23624944" y="2969499"/>
                </a:lnTo>
                <a:moveTo>
                  <a:pt x="24940990" y="2568777"/>
                </a:moveTo>
                <a:lnTo>
                  <a:pt x="24952160" y="2569500"/>
                </a:lnTo>
                <a:moveTo>
                  <a:pt x="24940990" y="2568777"/>
                </a:moveTo>
                <a:lnTo>
                  <a:pt x="25004708" y="1599423"/>
                </a:lnTo>
                <a:lnTo>
                  <a:pt x="5763304" y="338142"/>
                </a:lnTo>
                <a:cubicBezTo>
                  <a:pt x="5433766" y="316539"/>
                  <a:pt x="631905" y="1774"/>
                  <a:pt x="631905" y="1774"/>
                </a:cubicBezTo>
                <a:lnTo>
                  <a:pt x="604841" y="0"/>
                </a:lnTo>
                <a:lnTo>
                  <a:pt x="0" y="9209356"/>
                </a:lnTo>
                <a:lnTo>
                  <a:pt x="1284177" y="9293539"/>
                </a:lnTo>
                <a:moveTo>
                  <a:pt x="24909210" y="3053651"/>
                </a:moveTo>
                <a:lnTo>
                  <a:pt x="24877430" y="3538556"/>
                </a:lnTo>
                <a:lnTo>
                  <a:pt x="23593164" y="3454388"/>
                </a:lnTo>
                <a:moveTo>
                  <a:pt x="24590780" y="7900799"/>
                </a:moveTo>
                <a:lnTo>
                  <a:pt x="24622718" y="7415910"/>
                </a:lnTo>
                <a:moveTo>
                  <a:pt x="24590780" y="7900799"/>
                </a:moveTo>
                <a:lnTo>
                  <a:pt x="23306672" y="7816615"/>
                </a:lnTo>
                <a:lnTo>
                  <a:pt x="23274890" y="8301049"/>
                </a:lnTo>
                <a:lnTo>
                  <a:pt x="21990782" y="8216849"/>
                </a:lnTo>
                <a:cubicBezTo>
                  <a:pt x="21990782" y="8216849"/>
                  <a:pt x="21573078" y="8189485"/>
                  <a:pt x="21466882" y="8182522"/>
                </a:cubicBezTo>
                <a:cubicBezTo>
                  <a:pt x="21222396" y="8166490"/>
                  <a:pt x="20955724" y="8169257"/>
                  <a:pt x="20799970" y="8169870"/>
                </a:cubicBezTo>
                <a:moveTo>
                  <a:pt x="24590780" y="7900799"/>
                </a:moveTo>
                <a:lnTo>
                  <a:pt x="24601948" y="7901538"/>
                </a:lnTo>
                <a:moveTo>
                  <a:pt x="24622718" y="7415910"/>
                </a:moveTo>
                <a:lnTo>
                  <a:pt x="24654496" y="6931005"/>
                </a:lnTo>
                <a:moveTo>
                  <a:pt x="24622718" y="7415910"/>
                </a:moveTo>
                <a:lnTo>
                  <a:pt x="23338452" y="7331710"/>
                </a:lnTo>
                <a:moveTo>
                  <a:pt x="24558998" y="8385232"/>
                </a:moveTo>
                <a:lnTo>
                  <a:pt x="24527218" y="8870137"/>
                </a:lnTo>
                <a:lnTo>
                  <a:pt x="23242952" y="8785953"/>
                </a:lnTo>
                <a:moveTo>
                  <a:pt x="24558998" y="8385232"/>
                </a:moveTo>
                <a:lnTo>
                  <a:pt x="24590780" y="7900799"/>
                </a:lnTo>
                <a:moveTo>
                  <a:pt x="24558998" y="8385232"/>
                </a:moveTo>
                <a:lnTo>
                  <a:pt x="23274890" y="8301049"/>
                </a:lnTo>
                <a:lnTo>
                  <a:pt x="23242952" y="8785953"/>
                </a:lnTo>
                <a:moveTo>
                  <a:pt x="24654496" y="6931005"/>
                </a:moveTo>
                <a:lnTo>
                  <a:pt x="24686434" y="6446571"/>
                </a:lnTo>
                <a:lnTo>
                  <a:pt x="24697448" y="6447294"/>
                </a:lnTo>
                <a:moveTo>
                  <a:pt x="24654496" y="6931005"/>
                </a:moveTo>
                <a:lnTo>
                  <a:pt x="23370388" y="6846837"/>
                </a:lnTo>
                <a:moveTo>
                  <a:pt x="24463500" y="9839444"/>
                </a:moveTo>
                <a:lnTo>
                  <a:pt x="24431722" y="10323878"/>
                </a:lnTo>
                <a:lnTo>
                  <a:pt x="23147614" y="10239694"/>
                </a:lnTo>
                <a:moveTo>
                  <a:pt x="23338608" y="7331726"/>
                </a:moveTo>
                <a:lnTo>
                  <a:pt x="23306672" y="7816631"/>
                </a:lnTo>
                <a:lnTo>
                  <a:pt x="22022564" y="7732447"/>
                </a:lnTo>
                <a:moveTo>
                  <a:pt x="23242952" y="8785953"/>
                </a:moveTo>
                <a:lnTo>
                  <a:pt x="23211172" y="9270371"/>
                </a:lnTo>
                <a:moveTo>
                  <a:pt x="23242952" y="8785953"/>
                </a:moveTo>
                <a:lnTo>
                  <a:pt x="21958844" y="8701770"/>
                </a:lnTo>
                <a:moveTo>
                  <a:pt x="23433948" y="5877498"/>
                </a:moveTo>
                <a:lnTo>
                  <a:pt x="23465886" y="5393065"/>
                </a:lnTo>
                <a:moveTo>
                  <a:pt x="23433948" y="5877498"/>
                </a:moveTo>
                <a:lnTo>
                  <a:pt x="22149840" y="5793299"/>
                </a:lnTo>
                <a:cubicBezTo>
                  <a:pt x="22139300" y="5953996"/>
                  <a:pt x="22133164" y="6038761"/>
                  <a:pt x="22138828" y="6277685"/>
                </a:cubicBezTo>
                <a:moveTo>
                  <a:pt x="23465886" y="5393065"/>
                </a:moveTo>
                <a:lnTo>
                  <a:pt x="22181622" y="5308881"/>
                </a:lnTo>
                <a:moveTo>
                  <a:pt x="23115676" y="10724599"/>
                </a:moveTo>
                <a:lnTo>
                  <a:pt x="23147614" y="10239709"/>
                </a:lnTo>
                <a:moveTo>
                  <a:pt x="23115676" y="10724599"/>
                </a:moveTo>
                <a:lnTo>
                  <a:pt x="24399940" y="10808782"/>
                </a:lnTo>
                <a:lnTo>
                  <a:pt x="24431722" y="10323878"/>
                </a:lnTo>
                <a:moveTo>
                  <a:pt x="23115676" y="10724599"/>
                </a:moveTo>
                <a:lnTo>
                  <a:pt x="21831568" y="10640431"/>
                </a:lnTo>
                <a:moveTo>
                  <a:pt x="23147614" y="10239709"/>
                </a:moveTo>
                <a:lnTo>
                  <a:pt x="23179392" y="9755261"/>
                </a:lnTo>
                <a:moveTo>
                  <a:pt x="23147614" y="10239709"/>
                </a:moveTo>
                <a:lnTo>
                  <a:pt x="21863348" y="10155526"/>
                </a:lnTo>
                <a:moveTo>
                  <a:pt x="23720600" y="1515244"/>
                </a:moveTo>
                <a:lnTo>
                  <a:pt x="23688662" y="2000144"/>
                </a:lnTo>
                <a:moveTo>
                  <a:pt x="23688662" y="2000144"/>
                </a:moveTo>
                <a:lnTo>
                  <a:pt x="24972772" y="2084312"/>
                </a:lnTo>
                <a:moveTo>
                  <a:pt x="23688662" y="2000144"/>
                </a:moveTo>
                <a:lnTo>
                  <a:pt x="22404554" y="1915976"/>
                </a:lnTo>
                <a:moveTo>
                  <a:pt x="23179392" y="9755261"/>
                </a:moveTo>
                <a:lnTo>
                  <a:pt x="23211172" y="9270387"/>
                </a:lnTo>
                <a:moveTo>
                  <a:pt x="23179392" y="9755261"/>
                </a:moveTo>
                <a:lnTo>
                  <a:pt x="21895126" y="9671092"/>
                </a:lnTo>
                <a:lnTo>
                  <a:pt x="21863348" y="10155526"/>
                </a:lnTo>
                <a:moveTo>
                  <a:pt x="23179392" y="9755261"/>
                </a:moveTo>
                <a:lnTo>
                  <a:pt x="24463500" y="9839460"/>
                </a:lnTo>
                <a:lnTo>
                  <a:pt x="24495438" y="9354555"/>
                </a:lnTo>
                <a:lnTo>
                  <a:pt x="24506452" y="9355294"/>
                </a:lnTo>
                <a:moveTo>
                  <a:pt x="23593164" y="3454388"/>
                </a:moveTo>
                <a:lnTo>
                  <a:pt x="23625102" y="2969483"/>
                </a:lnTo>
                <a:moveTo>
                  <a:pt x="23593164" y="3454388"/>
                </a:moveTo>
                <a:lnTo>
                  <a:pt x="22309056" y="3370204"/>
                </a:lnTo>
                <a:moveTo>
                  <a:pt x="23624944" y="2969499"/>
                </a:moveTo>
                <a:lnTo>
                  <a:pt x="22340836" y="2885315"/>
                </a:lnTo>
                <a:moveTo>
                  <a:pt x="23593164" y="3454388"/>
                </a:moveTo>
                <a:lnTo>
                  <a:pt x="23561384" y="3938821"/>
                </a:lnTo>
                <a:lnTo>
                  <a:pt x="22277118" y="3854653"/>
                </a:lnTo>
                <a:moveTo>
                  <a:pt x="23434106" y="5877482"/>
                </a:moveTo>
                <a:lnTo>
                  <a:pt x="23402168" y="6362388"/>
                </a:lnTo>
                <a:lnTo>
                  <a:pt x="22450808" y="6300020"/>
                </a:lnTo>
                <a:cubicBezTo>
                  <a:pt x="22261858" y="6287634"/>
                  <a:pt x="22138828" y="6277685"/>
                  <a:pt x="22138828" y="6277685"/>
                </a:cubicBezTo>
                <a:moveTo>
                  <a:pt x="23370388" y="6846837"/>
                </a:moveTo>
                <a:lnTo>
                  <a:pt x="23402168" y="6362404"/>
                </a:lnTo>
                <a:moveTo>
                  <a:pt x="23370388" y="6846837"/>
                </a:moveTo>
                <a:lnTo>
                  <a:pt x="23338452" y="7331710"/>
                </a:lnTo>
                <a:moveTo>
                  <a:pt x="23370388" y="6846837"/>
                </a:moveTo>
                <a:lnTo>
                  <a:pt x="22133950" y="6765781"/>
                </a:lnTo>
                <a:moveTo>
                  <a:pt x="23529604" y="4423711"/>
                </a:moveTo>
                <a:lnTo>
                  <a:pt x="23561384" y="3938806"/>
                </a:lnTo>
                <a:moveTo>
                  <a:pt x="23529604" y="4423711"/>
                </a:moveTo>
                <a:lnTo>
                  <a:pt x="23497668" y="4908160"/>
                </a:lnTo>
                <a:lnTo>
                  <a:pt x="22213560" y="4823976"/>
                </a:lnTo>
                <a:moveTo>
                  <a:pt x="23529604" y="4423711"/>
                </a:moveTo>
                <a:lnTo>
                  <a:pt x="22245338" y="4339527"/>
                </a:lnTo>
                <a:moveTo>
                  <a:pt x="23338452" y="7331710"/>
                </a:moveTo>
                <a:lnTo>
                  <a:pt x="22387090" y="7269358"/>
                </a:lnTo>
                <a:cubicBezTo>
                  <a:pt x="22198140" y="7256973"/>
                  <a:pt x="22074952" y="7250780"/>
                  <a:pt x="22074952" y="7250780"/>
                </a:cubicBezTo>
                <a:moveTo>
                  <a:pt x="23688662" y="2000160"/>
                </a:moveTo>
                <a:lnTo>
                  <a:pt x="23656882" y="2484594"/>
                </a:lnTo>
                <a:lnTo>
                  <a:pt x="22372618" y="2400410"/>
                </a:lnTo>
                <a:moveTo>
                  <a:pt x="23211172" y="9270371"/>
                </a:moveTo>
                <a:lnTo>
                  <a:pt x="24495438" y="9354555"/>
                </a:lnTo>
                <a:lnTo>
                  <a:pt x="24527218" y="8870122"/>
                </a:lnTo>
                <a:lnTo>
                  <a:pt x="24538388" y="8870860"/>
                </a:lnTo>
                <a:moveTo>
                  <a:pt x="23211172" y="9270371"/>
                </a:moveTo>
                <a:lnTo>
                  <a:pt x="21927064" y="9186203"/>
                </a:lnTo>
                <a:moveTo>
                  <a:pt x="21831568" y="10640431"/>
                </a:moveTo>
                <a:lnTo>
                  <a:pt x="21863348" y="10155526"/>
                </a:lnTo>
                <a:moveTo>
                  <a:pt x="21831568" y="10640431"/>
                </a:moveTo>
                <a:lnTo>
                  <a:pt x="20547302" y="10556248"/>
                </a:lnTo>
                <a:moveTo>
                  <a:pt x="21863348" y="10155526"/>
                </a:moveTo>
                <a:lnTo>
                  <a:pt x="20579240" y="10071342"/>
                </a:lnTo>
                <a:moveTo>
                  <a:pt x="22340836" y="2885299"/>
                </a:moveTo>
                <a:lnTo>
                  <a:pt x="22308898" y="3370204"/>
                </a:lnTo>
                <a:lnTo>
                  <a:pt x="21024790" y="3286020"/>
                </a:lnTo>
                <a:moveTo>
                  <a:pt x="22277118" y="3854653"/>
                </a:moveTo>
                <a:lnTo>
                  <a:pt x="22308898" y="3370220"/>
                </a:lnTo>
                <a:moveTo>
                  <a:pt x="22277118" y="3854653"/>
                </a:moveTo>
                <a:lnTo>
                  <a:pt x="20993010" y="3770469"/>
                </a:lnTo>
                <a:moveTo>
                  <a:pt x="21927064" y="9186203"/>
                </a:moveTo>
                <a:lnTo>
                  <a:pt x="21895126" y="9671109"/>
                </a:lnTo>
                <a:lnTo>
                  <a:pt x="20611018" y="9586925"/>
                </a:lnTo>
                <a:moveTo>
                  <a:pt x="21927064" y="9186203"/>
                </a:moveTo>
                <a:lnTo>
                  <a:pt x="21958844" y="8701770"/>
                </a:lnTo>
                <a:moveTo>
                  <a:pt x="21927064" y="9186203"/>
                </a:moveTo>
                <a:lnTo>
                  <a:pt x="20642800" y="9102019"/>
                </a:lnTo>
                <a:moveTo>
                  <a:pt x="22436334" y="1431070"/>
                </a:moveTo>
                <a:lnTo>
                  <a:pt x="22404554" y="1915976"/>
                </a:lnTo>
                <a:moveTo>
                  <a:pt x="22404554" y="1915976"/>
                </a:moveTo>
                <a:lnTo>
                  <a:pt x="21120288" y="1831793"/>
                </a:lnTo>
                <a:moveTo>
                  <a:pt x="22022564" y="7732431"/>
                </a:moveTo>
                <a:lnTo>
                  <a:pt x="22074952" y="7250780"/>
                </a:lnTo>
                <a:moveTo>
                  <a:pt x="22022564" y="7732431"/>
                </a:moveTo>
                <a:cubicBezTo>
                  <a:pt x="21593216" y="7704297"/>
                  <a:pt x="21304678" y="7722561"/>
                  <a:pt x="21113838" y="7756637"/>
                </a:cubicBezTo>
                <a:moveTo>
                  <a:pt x="22022564" y="7732431"/>
                </a:moveTo>
                <a:lnTo>
                  <a:pt x="21958844" y="8701770"/>
                </a:lnTo>
                <a:moveTo>
                  <a:pt x="22181622" y="5308897"/>
                </a:moveTo>
                <a:lnTo>
                  <a:pt x="22149840" y="5793330"/>
                </a:lnTo>
                <a:cubicBezTo>
                  <a:pt x="21856424" y="5773620"/>
                  <a:pt x="21532644" y="5736873"/>
                  <a:pt x="21252128" y="5650708"/>
                </a:cubicBezTo>
                <a:cubicBezTo>
                  <a:pt x="21357540" y="5840185"/>
                  <a:pt x="21418582" y="5988638"/>
                  <a:pt x="21488592" y="6165430"/>
                </a:cubicBezTo>
                <a:cubicBezTo>
                  <a:pt x="21381138" y="6137688"/>
                  <a:pt x="21161352" y="6067761"/>
                  <a:pt x="21015036" y="5981942"/>
                </a:cubicBezTo>
                <a:moveTo>
                  <a:pt x="22074952" y="7250780"/>
                </a:moveTo>
                <a:cubicBezTo>
                  <a:pt x="22082190" y="7163280"/>
                  <a:pt x="22118848" y="6995808"/>
                  <a:pt x="22133950" y="6766253"/>
                </a:cubicBezTo>
                <a:moveTo>
                  <a:pt x="22138828" y="6277685"/>
                </a:moveTo>
                <a:cubicBezTo>
                  <a:pt x="22133478" y="6440143"/>
                  <a:pt x="22152202" y="6487956"/>
                  <a:pt x="22133950" y="6765781"/>
                </a:cubicBezTo>
                <a:lnTo>
                  <a:pt x="21562380" y="6728310"/>
                </a:lnTo>
                <a:moveTo>
                  <a:pt x="22138828" y="6277685"/>
                </a:moveTo>
                <a:cubicBezTo>
                  <a:pt x="21841164" y="6258180"/>
                  <a:pt x="21640728" y="6210209"/>
                  <a:pt x="21488592" y="6165414"/>
                </a:cubicBezTo>
                <a:moveTo>
                  <a:pt x="22245338" y="4339527"/>
                </a:moveTo>
                <a:lnTo>
                  <a:pt x="22277276" y="3854622"/>
                </a:lnTo>
                <a:moveTo>
                  <a:pt x="22245338" y="4339527"/>
                </a:moveTo>
                <a:lnTo>
                  <a:pt x="20961230" y="4255359"/>
                </a:lnTo>
                <a:moveTo>
                  <a:pt x="21958844" y="8701770"/>
                </a:moveTo>
                <a:lnTo>
                  <a:pt x="20674580" y="8617586"/>
                </a:lnTo>
                <a:lnTo>
                  <a:pt x="20642800" y="9102019"/>
                </a:lnTo>
                <a:moveTo>
                  <a:pt x="22181622" y="5308881"/>
                </a:moveTo>
                <a:lnTo>
                  <a:pt x="22213560" y="4823992"/>
                </a:lnTo>
                <a:moveTo>
                  <a:pt x="22181622" y="5308881"/>
                </a:moveTo>
                <a:lnTo>
                  <a:pt x="21849030" y="5287081"/>
                </a:lnTo>
                <a:cubicBezTo>
                  <a:pt x="21563480" y="5268361"/>
                  <a:pt x="21279506" y="5234222"/>
                  <a:pt x="20995686" y="5199596"/>
                </a:cubicBezTo>
                <a:cubicBezTo>
                  <a:pt x="21087250" y="5355233"/>
                  <a:pt x="21157262" y="5465209"/>
                  <a:pt x="21252128" y="5651180"/>
                </a:cubicBezTo>
                <a:cubicBezTo>
                  <a:pt x="21018026" y="5564309"/>
                  <a:pt x="20878162" y="5518916"/>
                  <a:pt x="20568856" y="5391367"/>
                </a:cubicBezTo>
                <a:cubicBezTo>
                  <a:pt x="20753400" y="5568599"/>
                  <a:pt x="20900344" y="5766437"/>
                  <a:pt x="21015666" y="5981974"/>
                </a:cubicBezTo>
                <a:moveTo>
                  <a:pt x="22245338" y="4339543"/>
                </a:moveTo>
                <a:lnTo>
                  <a:pt x="22213560" y="4823976"/>
                </a:lnTo>
                <a:lnTo>
                  <a:pt x="20929452" y="4739792"/>
                </a:lnTo>
                <a:moveTo>
                  <a:pt x="22372774" y="2400425"/>
                </a:moveTo>
                <a:lnTo>
                  <a:pt x="22340836" y="2885315"/>
                </a:lnTo>
                <a:moveTo>
                  <a:pt x="22340836" y="2885315"/>
                </a:moveTo>
                <a:lnTo>
                  <a:pt x="21056728" y="2801147"/>
                </a:lnTo>
                <a:moveTo>
                  <a:pt x="22404398" y="1915976"/>
                </a:moveTo>
                <a:lnTo>
                  <a:pt x="22372618" y="2400410"/>
                </a:lnTo>
                <a:moveTo>
                  <a:pt x="22372618" y="2400410"/>
                </a:moveTo>
                <a:lnTo>
                  <a:pt x="21088510" y="2316226"/>
                </a:lnTo>
                <a:moveTo>
                  <a:pt x="20579240" y="10071342"/>
                </a:moveTo>
                <a:lnTo>
                  <a:pt x="20611018" y="9586909"/>
                </a:lnTo>
                <a:moveTo>
                  <a:pt x="20579240" y="10071342"/>
                </a:moveTo>
                <a:lnTo>
                  <a:pt x="19294974" y="9987158"/>
                </a:lnTo>
                <a:moveTo>
                  <a:pt x="21562380" y="6728766"/>
                </a:moveTo>
                <a:cubicBezTo>
                  <a:pt x="21551366" y="6897903"/>
                  <a:pt x="21513608" y="7106696"/>
                  <a:pt x="21415592" y="7277186"/>
                </a:cubicBezTo>
                <a:cubicBezTo>
                  <a:pt x="21613040" y="7231777"/>
                  <a:pt x="21816462" y="7233821"/>
                  <a:pt x="22074952" y="7250749"/>
                </a:cubicBezTo>
                <a:moveTo>
                  <a:pt x="20993010" y="3770469"/>
                </a:moveTo>
                <a:lnTo>
                  <a:pt x="21024790" y="3286052"/>
                </a:lnTo>
                <a:moveTo>
                  <a:pt x="20993010" y="3770469"/>
                </a:moveTo>
                <a:lnTo>
                  <a:pt x="19708746" y="3686286"/>
                </a:lnTo>
                <a:moveTo>
                  <a:pt x="20929294" y="4739792"/>
                </a:moveTo>
                <a:cubicBezTo>
                  <a:pt x="20917964" y="4912199"/>
                  <a:pt x="20908998" y="5049006"/>
                  <a:pt x="20995528" y="5199596"/>
                </a:cubicBezTo>
                <a:cubicBezTo>
                  <a:pt x="20674894" y="5140467"/>
                  <a:pt x="20423800" y="5069423"/>
                  <a:pt x="20097030" y="4955313"/>
                </a:cubicBezTo>
                <a:moveTo>
                  <a:pt x="20642800" y="9102019"/>
                </a:moveTo>
                <a:lnTo>
                  <a:pt x="20611018" y="9586925"/>
                </a:lnTo>
                <a:lnTo>
                  <a:pt x="19326754" y="9502741"/>
                </a:lnTo>
                <a:moveTo>
                  <a:pt x="20642800" y="9102019"/>
                </a:moveTo>
                <a:lnTo>
                  <a:pt x="19358692" y="9017836"/>
                </a:lnTo>
                <a:moveTo>
                  <a:pt x="20961230" y="4255359"/>
                </a:moveTo>
                <a:lnTo>
                  <a:pt x="20929294" y="4739792"/>
                </a:lnTo>
                <a:cubicBezTo>
                  <a:pt x="20497428" y="4711469"/>
                  <a:pt x="19951818" y="4635710"/>
                  <a:pt x="19750594" y="4599921"/>
                </a:cubicBezTo>
                <a:moveTo>
                  <a:pt x="20961230" y="4255359"/>
                </a:moveTo>
                <a:lnTo>
                  <a:pt x="20993010" y="3770454"/>
                </a:lnTo>
                <a:moveTo>
                  <a:pt x="20961230" y="4255359"/>
                </a:moveTo>
                <a:lnTo>
                  <a:pt x="19676964" y="4171175"/>
                </a:lnTo>
                <a:moveTo>
                  <a:pt x="21120288" y="1831808"/>
                </a:moveTo>
                <a:lnTo>
                  <a:pt x="21088510" y="2316226"/>
                </a:lnTo>
                <a:moveTo>
                  <a:pt x="21088510" y="2316226"/>
                </a:moveTo>
                <a:lnTo>
                  <a:pt x="21056728" y="2801131"/>
                </a:lnTo>
                <a:moveTo>
                  <a:pt x="21088510" y="2316226"/>
                </a:moveTo>
                <a:lnTo>
                  <a:pt x="19804244" y="2232058"/>
                </a:lnTo>
                <a:moveTo>
                  <a:pt x="21152226" y="1346888"/>
                </a:moveTo>
                <a:lnTo>
                  <a:pt x="21120288" y="1831793"/>
                </a:lnTo>
                <a:moveTo>
                  <a:pt x="21120288" y="1831793"/>
                </a:moveTo>
                <a:lnTo>
                  <a:pt x="19836180" y="1747609"/>
                </a:lnTo>
                <a:moveTo>
                  <a:pt x="21056728" y="2801131"/>
                </a:moveTo>
                <a:lnTo>
                  <a:pt x="21024790" y="3286020"/>
                </a:lnTo>
                <a:moveTo>
                  <a:pt x="21056728" y="2801131"/>
                </a:moveTo>
                <a:lnTo>
                  <a:pt x="19772464" y="2716963"/>
                </a:lnTo>
                <a:moveTo>
                  <a:pt x="21024790" y="3286020"/>
                </a:moveTo>
                <a:lnTo>
                  <a:pt x="19740684" y="3201853"/>
                </a:lnTo>
                <a:moveTo>
                  <a:pt x="21488592" y="6165430"/>
                </a:moveTo>
                <a:cubicBezTo>
                  <a:pt x="21553254" y="6373877"/>
                  <a:pt x="21574808" y="6539981"/>
                  <a:pt x="21562380" y="6728310"/>
                </a:cubicBezTo>
                <a:lnTo>
                  <a:pt x="21184006" y="6703508"/>
                </a:lnTo>
                <a:moveTo>
                  <a:pt x="20674736" y="8617602"/>
                </a:moveTo>
                <a:lnTo>
                  <a:pt x="20690628" y="8375378"/>
                </a:lnTo>
                <a:cubicBezTo>
                  <a:pt x="20698494" y="8254037"/>
                  <a:pt x="20800442" y="8170860"/>
                  <a:pt x="20800442" y="8170860"/>
                </a:cubicBezTo>
                <a:moveTo>
                  <a:pt x="21113838" y="7756165"/>
                </a:moveTo>
                <a:cubicBezTo>
                  <a:pt x="21242846" y="7593346"/>
                  <a:pt x="21324500" y="7452846"/>
                  <a:pt x="21415434" y="7276714"/>
                </a:cubicBezTo>
                <a:moveTo>
                  <a:pt x="20579240" y="10071342"/>
                </a:moveTo>
                <a:lnTo>
                  <a:pt x="20547302" y="10556248"/>
                </a:lnTo>
                <a:lnTo>
                  <a:pt x="19263194" y="10472064"/>
                </a:lnTo>
                <a:moveTo>
                  <a:pt x="20800442" y="8170372"/>
                </a:moveTo>
                <a:cubicBezTo>
                  <a:pt x="20889804" y="8068003"/>
                  <a:pt x="20956826" y="7973588"/>
                  <a:pt x="21113838" y="7756149"/>
                </a:cubicBezTo>
                <a:moveTo>
                  <a:pt x="20096558" y="4954825"/>
                </a:moveTo>
                <a:cubicBezTo>
                  <a:pt x="20285824" y="5109314"/>
                  <a:pt x="20403504" y="5216320"/>
                  <a:pt x="20568856" y="5391367"/>
                </a:cubicBezTo>
                <a:cubicBezTo>
                  <a:pt x="20241144" y="5252722"/>
                  <a:pt x="19875826" y="5134682"/>
                  <a:pt x="19539460" y="4997829"/>
                </a:cubicBezTo>
                <a:moveTo>
                  <a:pt x="19676964" y="4170719"/>
                </a:moveTo>
                <a:cubicBezTo>
                  <a:pt x="19667526" y="4307494"/>
                  <a:pt x="19655726" y="4494000"/>
                  <a:pt x="19750594" y="4599953"/>
                </a:cubicBezTo>
                <a:cubicBezTo>
                  <a:pt x="19382132" y="4537695"/>
                  <a:pt x="18960654" y="4463020"/>
                  <a:pt x="18586528" y="4366498"/>
                </a:cubicBezTo>
                <a:moveTo>
                  <a:pt x="20097188" y="4954857"/>
                </a:moveTo>
                <a:cubicBezTo>
                  <a:pt x="19977620" y="4860912"/>
                  <a:pt x="19850498" y="4709552"/>
                  <a:pt x="19751068" y="4599984"/>
                </a:cubicBezTo>
                <a:moveTo>
                  <a:pt x="19772464" y="2716947"/>
                </a:moveTo>
                <a:lnTo>
                  <a:pt x="19740684" y="3201853"/>
                </a:lnTo>
                <a:lnTo>
                  <a:pt x="18456576" y="3117669"/>
                </a:lnTo>
                <a:moveTo>
                  <a:pt x="20922686" y="7397316"/>
                </a:moveTo>
                <a:cubicBezTo>
                  <a:pt x="21042884" y="7204287"/>
                  <a:pt x="21160722" y="7057673"/>
                  <a:pt x="21184006" y="6703963"/>
                </a:cubicBezTo>
                <a:moveTo>
                  <a:pt x="19877714" y="8295752"/>
                </a:moveTo>
                <a:cubicBezTo>
                  <a:pt x="20050460" y="8157924"/>
                  <a:pt x="20215812" y="8074651"/>
                  <a:pt x="20403032" y="7924611"/>
                </a:cubicBezTo>
                <a:moveTo>
                  <a:pt x="19740684" y="3201853"/>
                </a:moveTo>
                <a:lnTo>
                  <a:pt x="19708746" y="3686286"/>
                </a:lnTo>
                <a:moveTo>
                  <a:pt x="19708746" y="3686286"/>
                </a:moveTo>
                <a:lnTo>
                  <a:pt x="18424638" y="3602118"/>
                </a:lnTo>
                <a:moveTo>
                  <a:pt x="19804244" y="2232042"/>
                </a:moveTo>
                <a:lnTo>
                  <a:pt x="19772464" y="2716947"/>
                </a:lnTo>
                <a:lnTo>
                  <a:pt x="18488356" y="2632764"/>
                </a:lnTo>
                <a:moveTo>
                  <a:pt x="19804244" y="2232042"/>
                </a:moveTo>
                <a:lnTo>
                  <a:pt x="19836180" y="1747625"/>
                </a:lnTo>
                <a:moveTo>
                  <a:pt x="19804244" y="2232042"/>
                </a:moveTo>
                <a:lnTo>
                  <a:pt x="18520136" y="2147874"/>
                </a:lnTo>
                <a:moveTo>
                  <a:pt x="19676964" y="4171175"/>
                </a:moveTo>
                <a:cubicBezTo>
                  <a:pt x="19687664" y="4009535"/>
                  <a:pt x="19698206" y="3847910"/>
                  <a:pt x="19708902" y="3686270"/>
                </a:cubicBezTo>
                <a:moveTo>
                  <a:pt x="19676964" y="4171175"/>
                </a:moveTo>
                <a:lnTo>
                  <a:pt x="19344218" y="4149359"/>
                </a:lnTo>
                <a:cubicBezTo>
                  <a:pt x="19030190" y="4128769"/>
                  <a:pt x="18716954" y="4102584"/>
                  <a:pt x="18402454" y="4077278"/>
                </a:cubicBezTo>
                <a:moveTo>
                  <a:pt x="19326754" y="9502725"/>
                </a:moveTo>
                <a:lnTo>
                  <a:pt x="19294974" y="9987158"/>
                </a:lnTo>
                <a:lnTo>
                  <a:pt x="18010866" y="9902991"/>
                </a:lnTo>
                <a:moveTo>
                  <a:pt x="19263194" y="10472064"/>
                </a:moveTo>
                <a:lnTo>
                  <a:pt x="19294974" y="9987175"/>
                </a:lnTo>
                <a:moveTo>
                  <a:pt x="19263194" y="10472064"/>
                </a:moveTo>
                <a:lnTo>
                  <a:pt x="17978928" y="10387896"/>
                </a:lnTo>
                <a:moveTo>
                  <a:pt x="19326754" y="9502741"/>
                </a:moveTo>
                <a:lnTo>
                  <a:pt x="19358692" y="9017852"/>
                </a:lnTo>
                <a:moveTo>
                  <a:pt x="19326754" y="9502741"/>
                </a:moveTo>
                <a:lnTo>
                  <a:pt x="18042646" y="9418573"/>
                </a:lnTo>
                <a:moveTo>
                  <a:pt x="19358692" y="9017852"/>
                </a:moveTo>
                <a:cubicBezTo>
                  <a:pt x="19367502" y="8882444"/>
                  <a:pt x="19337452" y="8684260"/>
                  <a:pt x="19487700" y="8601900"/>
                </a:cubicBezTo>
                <a:moveTo>
                  <a:pt x="19358692" y="9017852"/>
                </a:moveTo>
                <a:lnTo>
                  <a:pt x="18082764" y="8945975"/>
                </a:lnTo>
                <a:moveTo>
                  <a:pt x="21015666" y="5981974"/>
                </a:moveTo>
                <a:cubicBezTo>
                  <a:pt x="21113838" y="6157335"/>
                  <a:pt x="21203358" y="6410232"/>
                  <a:pt x="21184006" y="6703508"/>
                </a:cubicBezTo>
                <a:moveTo>
                  <a:pt x="21015666" y="5981974"/>
                </a:moveTo>
                <a:cubicBezTo>
                  <a:pt x="20703056" y="5825033"/>
                  <a:pt x="20571532" y="5764661"/>
                  <a:pt x="20273552" y="5643966"/>
                </a:cubicBezTo>
                <a:moveTo>
                  <a:pt x="21184006" y="6703508"/>
                </a:moveTo>
                <a:lnTo>
                  <a:pt x="20666240" y="6669558"/>
                </a:lnTo>
                <a:moveTo>
                  <a:pt x="19487700" y="8602388"/>
                </a:moveTo>
                <a:cubicBezTo>
                  <a:pt x="19601290" y="8504435"/>
                  <a:pt x="19769788" y="8374308"/>
                  <a:pt x="19877244" y="8295720"/>
                </a:cubicBezTo>
                <a:moveTo>
                  <a:pt x="20922686" y="7397331"/>
                </a:moveTo>
                <a:cubicBezTo>
                  <a:pt x="20780304" y="7593613"/>
                  <a:pt x="20608818" y="7770578"/>
                  <a:pt x="20402560" y="7924564"/>
                </a:cubicBezTo>
                <a:cubicBezTo>
                  <a:pt x="20069340" y="8014705"/>
                  <a:pt x="19734546" y="8098637"/>
                  <a:pt x="19330530" y="8180368"/>
                </a:cubicBezTo>
                <a:moveTo>
                  <a:pt x="19867960" y="1262715"/>
                </a:moveTo>
                <a:lnTo>
                  <a:pt x="19836024" y="1747609"/>
                </a:lnTo>
                <a:lnTo>
                  <a:pt x="18551914" y="1663441"/>
                </a:lnTo>
                <a:moveTo>
                  <a:pt x="18583852" y="1178533"/>
                </a:moveTo>
                <a:lnTo>
                  <a:pt x="18551914" y="1663425"/>
                </a:lnTo>
                <a:moveTo>
                  <a:pt x="18551914" y="1663425"/>
                </a:moveTo>
                <a:lnTo>
                  <a:pt x="18520136" y="2147874"/>
                </a:lnTo>
                <a:moveTo>
                  <a:pt x="18551914" y="1663425"/>
                </a:moveTo>
                <a:lnTo>
                  <a:pt x="17267806" y="1579257"/>
                </a:lnTo>
                <a:moveTo>
                  <a:pt x="18586528" y="4366498"/>
                </a:moveTo>
                <a:cubicBezTo>
                  <a:pt x="18501886" y="4301647"/>
                  <a:pt x="18395532" y="4183639"/>
                  <a:pt x="18402610" y="4076822"/>
                </a:cubicBezTo>
                <a:moveTo>
                  <a:pt x="18586528" y="4366498"/>
                </a:moveTo>
                <a:cubicBezTo>
                  <a:pt x="18696814" y="4464058"/>
                  <a:pt x="18814652" y="4528233"/>
                  <a:pt x="18962698" y="4627804"/>
                </a:cubicBezTo>
                <a:moveTo>
                  <a:pt x="18586528" y="4366498"/>
                </a:moveTo>
                <a:cubicBezTo>
                  <a:pt x="18174328" y="4266063"/>
                  <a:pt x="17576012" y="4182618"/>
                  <a:pt x="17200786" y="4158019"/>
                </a:cubicBezTo>
                <a:moveTo>
                  <a:pt x="18488356" y="2632764"/>
                </a:moveTo>
                <a:lnTo>
                  <a:pt x="18456418" y="3117653"/>
                </a:lnTo>
                <a:lnTo>
                  <a:pt x="17172310" y="3033485"/>
                </a:lnTo>
                <a:moveTo>
                  <a:pt x="18488356" y="2632764"/>
                </a:moveTo>
                <a:lnTo>
                  <a:pt x="18520136" y="2147874"/>
                </a:lnTo>
                <a:moveTo>
                  <a:pt x="18488356" y="2632764"/>
                </a:moveTo>
                <a:lnTo>
                  <a:pt x="17204090" y="2548596"/>
                </a:lnTo>
                <a:moveTo>
                  <a:pt x="18424638" y="3602118"/>
                </a:moveTo>
                <a:cubicBezTo>
                  <a:pt x="18414252" y="3760002"/>
                  <a:pt x="18400566" y="3919096"/>
                  <a:pt x="18402454" y="4077310"/>
                </a:cubicBezTo>
                <a:cubicBezTo>
                  <a:pt x="18142862" y="4060303"/>
                  <a:pt x="17820972" y="3995420"/>
                  <a:pt x="17125426" y="3949824"/>
                </a:cubicBezTo>
                <a:moveTo>
                  <a:pt x="18424638" y="3602118"/>
                </a:moveTo>
                <a:lnTo>
                  <a:pt x="18456418" y="3117684"/>
                </a:lnTo>
                <a:moveTo>
                  <a:pt x="18424638" y="3602118"/>
                </a:moveTo>
                <a:lnTo>
                  <a:pt x="17140372" y="3517934"/>
                </a:lnTo>
                <a:moveTo>
                  <a:pt x="18520136" y="2147874"/>
                </a:moveTo>
                <a:lnTo>
                  <a:pt x="17236028" y="2063691"/>
                </a:lnTo>
                <a:moveTo>
                  <a:pt x="18962698" y="4627804"/>
                </a:moveTo>
                <a:cubicBezTo>
                  <a:pt x="18452484" y="4476271"/>
                  <a:pt x="17899478" y="4393438"/>
                  <a:pt x="17358900" y="4323180"/>
                </a:cubicBezTo>
                <a:moveTo>
                  <a:pt x="18962698" y="4627804"/>
                </a:moveTo>
                <a:cubicBezTo>
                  <a:pt x="19316844" y="4721607"/>
                  <a:pt x="19735176" y="4843136"/>
                  <a:pt x="20096558" y="4954825"/>
                </a:cubicBezTo>
                <a:moveTo>
                  <a:pt x="20273552" y="5643966"/>
                </a:moveTo>
                <a:cubicBezTo>
                  <a:pt x="20016636" y="5426213"/>
                  <a:pt x="19872838" y="5181521"/>
                  <a:pt x="19539618" y="4997813"/>
                </a:cubicBezTo>
                <a:moveTo>
                  <a:pt x="20273552" y="5643966"/>
                </a:moveTo>
                <a:cubicBezTo>
                  <a:pt x="20516466" y="5929492"/>
                  <a:pt x="20651138" y="6314747"/>
                  <a:pt x="20666240" y="6669558"/>
                </a:cubicBezTo>
                <a:moveTo>
                  <a:pt x="20273552" y="5643966"/>
                </a:moveTo>
                <a:cubicBezTo>
                  <a:pt x="19906822" y="5476415"/>
                  <a:pt x="18967574" y="5169246"/>
                  <a:pt x="18261016" y="5022238"/>
                </a:cubicBezTo>
                <a:moveTo>
                  <a:pt x="18710344" y="8471883"/>
                </a:moveTo>
                <a:cubicBezTo>
                  <a:pt x="18556478" y="8541324"/>
                  <a:pt x="18429358" y="8603095"/>
                  <a:pt x="18303180" y="8681872"/>
                </a:cubicBezTo>
                <a:cubicBezTo>
                  <a:pt x="18818744" y="8637092"/>
                  <a:pt x="19114518" y="8613672"/>
                  <a:pt x="19487858" y="8602371"/>
                </a:cubicBezTo>
                <a:moveTo>
                  <a:pt x="20666084" y="6669542"/>
                </a:moveTo>
                <a:cubicBezTo>
                  <a:pt x="20601894" y="7064322"/>
                  <a:pt x="20421124" y="7381850"/>
                  <a:pt x="20142814" y="7635092"/>
                </a:cubicBezTo>
                <a:cubicBezTo>
                  <a:pt x="19912798" y="7819036"/>
                  <a:pt x="19631970" y="8035893"/>
                  <a:pt x="19330530" y="8179866"/>
                </a:cubicBezTo>
                <a:moveTo>
                  <a:pt x="18710188" y="8471868"/>
                </a:moveTo>
                <a:cubicBezTo>
                  <a:pt x="18917546" y="8365491"/>
                  <a:pt x="19136072" y="8285692"/>
                  <a:pt x="19330530" y="8179881"/>
                </a:cubicBezTo>
                <a:cubicBezTo>
                  <a:pt x="18705310" y="8351566"/>
                  <a:pt x="18042646" y="8354253"/>
                  <a:pt x="17402166" y="8385201"/>
                </a:cubicBezTo>
                <a:moveTo>
                  <a:pt x="18082764" y="8945975"/>
                </a:moveTo>
                <a:cubicBezTo>
                  <a:pt x="18090788" y="8781819"/>
                  <a:pt x="18303180" y="8681400"/>
                  <a:pt x="18303180" y="8681400"/>
                </a:cubicBezTo>
                <a:moveTo>
                  <a:pt x="18082764" y="8945975"/>
                </a:moveTo>
                <a:cubicBezTo>
                  <a:pt x="18062312" y="9102727"/>
                  <a:pt x="18053030" y="9261161"/>
                  <a:pt x="18042646" y="9418573"/>
                </a:cubicBezTo>
                <a:moveTo>
                  <a:pt x="18082764" y="8945975"/>
                </a:moveTo>
                <a:lnTo>
                  <a:pt x="16799444" y="8904669"/>
                </a:lnTo>
                <a:moveTo>
                  <a:pt x="17978928" y="10387896"/>
                </a:moveTo>
                <a:lnTo>
                  <a:pt x="18010866" y="9902991"/>
                </a:lnTo>
                <a:moveTo>
                  <a:pt x="17978928" y="10387896"/>
                </a:moveTo>
                <a:lnTo>
                  <a:pt x="16694821" y="10303712"/>
                </a:lnTo>
                <a:moveTo>
                  <a:pt x="18010866" y="9902991"/>
                </a:moveTo>
                <a:lnTo>
                  <a:pt x="18042646" y="9418558"/>
                </a:lnTo>
                <a:lnTo>
                  <a:pt x="16758537" y="9334389"/>
                </a:lnTo>
                <a:moveTo>
                  <a:pt x="18010866" y="9902991"/>
                </a:moveTo>
                <a:lnTo>
                  <a:pt x="16726601" y="9818807"/>
                </a:lnTo>
                <a:moveTo>
                  <a:pt x="20666240" y="6669558"/>
                </a:moveTo>
                <a:lnTo>
                  <a:pt x="18998410" y="6560226"/>
                </a:lnTo>
                <a:cubicBezTo>
                  <a:pt x="19071410" y="6022981"/>
                  <a:pt x="18680766" y="5479810"/>
                  <a:pt x="18261646" y="5022270"/>
                </a:cubicBezTo>
                <a:cubicBezTo>
                  <a:pt x="17022690" y="4759439"/>
                  <a:pt x="15696104" y="4672474"/>
                  <a:pt x="14385738" y="4808195"/>
                </a:cubicBezTo>
                <a:cubicBezTo>
                  <a:pt x="13764185" y="4875200"/>
                  <a:pt x="13115098" y="5020855"/>
                  <a:pt x="12486354" y="5165033"/>
                </a:cubicBezTo>
                <a:moveTo>
                  <a:pt x="18962698" y="4628276"/>
                </a:moveTo>
                <a:cubicBezTo>
                  <a:pt x="19153850" y="4751848"/>
                  <a:pt x="19357590" y="4863537"/>
                  <a:pt x="19539460" y="4998269"/>
                </a:cubicBezTo>
                <a:cubicBezTo>
                  <a:pt x="18914556" y="4832621"/>
                  <a:pt x="18305540" y="4612024"/>
                  <a:pt x="17654520" y="4542992"/>
                </a:cubicBezTo>
                <a:moveTo>
                  <a:pt x="16758537" y="9334389"/>
                </a:moveTo>
                <a:cubicBezTo>
                  <a:pt x="16767978" y="9190557"/>
                  <a:pt x="16773642" y="9046490"/>
                  <a:pt x="16800072" y="8904700"/>
                </a:cubicBezTo>
                <a:moveTo>
                  <a:pt x="16758537" y="9334389"/>
                </a:moveTo>
                <a:lnTo>
                  <a:pt x="16726601" y="9818807"/>
                </a:lnTo>
                <a:moveTo>
                  <a:pt x="16758537" y="9334389"/>
                </a:moveTo>
                <a:lnTo>
                  <a:pt x="15474273" y="9250206"/>
                </a:lnTo>
                <a:moveTo>
                  <a:pt x="16726601" y="9818807"/>
                </a:moveTo>
                <a:lnTo>
                  <a:pt x="16694821" y="10303712"/>
                </a:lnTo>
                <a:lnTo>
                  <a:pt x="15410602" y="10219528"/>
                </a:lnTo>
                <a:moveTo>
                  <a:pt x="17267806" y="1579257"/>
                </a:moveTo>
                <a:lnTo>
                  <a:pt x="17236028" y="2063691"/>
                </a:lnTo>
                <a:moveTo>
                  <a:pt x="17267806" y="1579257"/>
                </a:moveTo>
                <a:lnTo>
                  <a:pt x="17299588" y="1094351"/>
                </a:lnTo>
                <a:moveTo>
                  <a:pt x="17267806" y="1579257"/>
                </a:moveTo>
                <a:lnTo>
                  <a:pt x="15983542" y="1495075"/>
                </a:lnTo>
                <a:moveTo>
                  <a:pt x="17236028" y="2063691"/>
                </a:moveTo>
                <a:lnTo>
                  <a:pt x="17204090" y="2548596"/>
                </a:lnTo>
                <a:moveTo>
                  <a:pt x="17236028" y="2063691"/>
                </a:moveTo>
                <a:lnTo>
                  <a:pt x="15951762" y="1979523"/>
                </a:lnTo>
                <a:moveTo>
                  <a:pt x="16799444" y="8904669"/>
                </a:moveTo>
                <a:cubicBezTo>
                  <a:pt x="16806208" y="8803479"/>
                  <a:pt x="16902020" y="8707648"/>
                  <a:pt x="16902020" y="8707648"/>
                </a:cubicBezTo>
                <a:cubicBezTo>
                  <a:pt x="17401064" y="8736600"/>
                  <a:pt x="17938966" y="8716811"/>
                  <a:pt x="18303180" y="8681872"/>
                </a:cubicBezTo>
                <a:moveTo>
                  <a:pt x="16799444" y="8904669"/>
                </a:moveTo>
                <a:lnTo>
                  <a:pt x="15487866" y="8816367"/>
                </a:lnTo>
                <a:moveTo>
                  <a:pt x="17204090" y="2548596"/>
                </a:moveTo>
                <a:lnTo>
                  <a:pt x="15919982" y="2464396"/>
                </a:lnTo>
                <a:moveTo>
                  <a:pt x="17172310" y="3033501"/>
                </a:moveTo>
                <a:lnTo>
                  <a:pt x="17140372" y="3517934"/>
                </a:lnTo>
                <a:moveTo>
                  <a:pt x="17140372" y="3517934"/>
                </a:moveTo>
                <a:lnTo>
                  <a:pt x="15856264" y="3433766"/>
                </a:lnTo>
                <a:moveTo>
                  <a:pt x="16726601" y="9818807"/>
                </a:moveTo>
                <a:lnTo>
                  <a:pt x="15442492" y="9734623"/>
                </a:lnTo>
                <a:moveTo>
                  <a:pt x="17204090" y="2548580"/>
                </a:moveTo>
                <a:lnTo>
                  <a:pt x="17172310" y="3033485"/>
                </a:lnTo>
                <a:lnTo>
                  <a:pt x="15888202" y="2949301"/>
                </a:lnTo>
                <a:moveTo>
                  <a:pt x="17402166" y="8385673"/>
                </a:moveTo>
                <a:cubicBezTo>
                  <a:pt x="17653260" y="8263326"/>
                  <a:pt x="17771570" y="8190160"/>
                  <a:pt x="18066716" y="7989305"/>
                </a:cubicBezTo>
                <a:cubicBezTo>
                  <a:pt x="18542318" y="7588065"/>
                  <a:pt x="18944448" y="7143900"/>
                  <a:pt x="18998254" y="6560697"/>
                </a:cubicBezTo>
                <a:moveTo>
                  <a:pt x="16901864" y="8707648"/>
                </a:moveTo>
                <a:cubicBezTo>
                  <a:pt x="16967942" y="8634813"/>
                  <a:pt x="17080274" y="8564539"/>
                  <a:pt x="17080274" y="8564539"/>
                </a:cubicBezTo>
                <a:cubicBezTo>
                  <a:pt x="17222026" y="8475483"/>
                  <a:pt x="17402166" y="8385201"/>
                  <a:pt x="17402166" y="8385201"/>
                </a:cubicBezTo>
                <a:moveTo>
                  <a:pt x="17200630" y="4158019"/>
                </a:moveTo>
                <a:cubicBezTo>
                  <a:pt x="17171838" y="4110489"/>
                  <a:pt x="17138798" y="4037748"/>
                  <a:pt x="17124954" y="3949321"/>
                </a:cubicBezTo>
                <a:moveTo>
                  <a:pt x="17140530" y="3517934"/>
                </a:moveTo>
                <a:cubicBezTo>
                  <a:pt x="17131562" y="3614268"/>
                  <a:pt x="17115514" y="3840963"/>
                  <a:pt x="17125426" y="3949352"/>
                </a:cubicBezTo>
                <a:moveTo>
                  <a:pt x="17201730" y="4158098"/>
                </a:moveTo>
                <a:cubicBezTo>
                  <a:pt x="17261516" y="4239657"/>
                  <a:pt x="17302262" y="4282802"/>
                  <a:pt x="17358742" y="4323196"/>
                </a:cubicBezTo>
                <a:cubicBezTo>
                  <a:pt x="16736670" y="4270652"/>
                  <a:pt x="16113494" y="4230729"/>
                  <a:pt x="15489707" y="4211020"/>
                </a:cubicBezTo>
                <a:moveTo>
                  <a:pt x="17654676" y="4542552"/>
                </a:moveTo>
                <a:cubicBezTo>
                  <a:pt x="17526770" y="4444772"/>
                  <a:pt x="17463050" y="4407663"/>
                  <a:pt x="17359372" y="4322756"/>
                </a:cubicBezTo>
                <a:moveTo>
                  <a:pt x="18261488" y="5022254"/>
                </a:moveTo>
                <a:cubicBezTo>
                  <a:pt x="18060580" y="4859467"/>
                  <a:pt x="17900422" y="4703092"/>
                  <a:pt x="17654520" y="4542536"/>
                </a:cubicBezTo>
                <a:moveTo>
                  <a:pt x="10846386" y="1158336"/>
                </a:moveTo>
                <a:lnTo>
                  <a:pt x="10814575" y="1642772"/>
                </a:lnTo>
                <a:moveTo>
                  <a:pt x="10846386" y="1158336"/>
                </a:moveTo>
                <a:lnTo>
                  <a:pt x="10878229" y="673426"/>
                </a:lnTo>
                <a:moveTo>
                  <a:pt x="10846386" y="1158336"/>
                </a:moveTo>
                <a:lnTo>
                  <a:pt x="9562215" y="1074149"/>
                </a:lnTo>
                <a:moveTo>
                  <a:pt x="10846386" y="1158336"/>
                </a:moveTo>
                <a:lnTo>
                  <a:pt x="12130541" y="1242500"/>
                </a:lnTo>
                <a:moveTo>
                  <a:pt x="10814575" y="1642772"/>
                </a:moveTo>
                <a:lnTo>
                  <a:pt x="10782701" y="2127677"/>
                </a:lnTo>
                <a:moveTo>
                  <a:pt x="10814575" y="1642772"/>
                </a:moveTo>
                <a:lnTo>
                  <a:pt x="12098730" y="1726956"/>
                </a:lnTo>
                <a:moveTo>
                  <a:pt x="10814575" y="1642772"/>
                </a:moveTo>
                <a:lnTo>
                  <a:pt x="9530388" y="1558589"/>
                </a:lnTo>
                <a:moveTo>
                  <a:pt x="10305289" y="9397889"/>
                </a:moveTo>
                <a:lnTo>
                  <a:pt x="10273446" y="9882778"/>
                </a:lnTo>
                <a:lnTo>
                  <a:pt x="8989260" y="9798610"/>
                </a:lnTo>
                <a:moveTo>
                  <a:pt x="10555692" y="5519827"/>
                </a:moveTo>
                <a:cubicBezTo>
                  <a:pt x="10544160" y="5695519"/>
                  <a:pt x="10517886" y="5844350"/>
                  <a:pt x="10507424" y="6003648"/>
                </a:cubicBezTo>
                <a:moveTo>
                  <a:pt x="10555614" y="5519341"/>
                </a:moveTo>
                <a:cubicBezTo>
                  <a:pt x="10555614" y="5519341"/>
                  <a:pt x="10567822" y="5399226"/>
                  <a:pt x="10575783" y="5277870"/>
                </a:cubicBezTo>
                <a:lnTo>
                  <a:pt x="10591688" y="5035661"/>
                </a:lnTo>
                <a:cubicBezTo>
                  <a:pt x="10832070" y="5051426"/>
                  <a:pt x="11198942" y="5080645"/>
                  <a:pt x="11548855" y="5027347"/>
                </a:cubicBezTo>
                <a:moveTo>
                  <a:pt x="10337085" y="8913455"/>
                </a:moveTo>
                <a:lnTo>
                  <a:pt x="10305258" y="9397889"/>
                </a:lnTo>
                <a:lnTo>
                  <a:pt x="9021087" y="9313705"/>
                </a:lnTo>
                <a:moveTo>
                  <a:pt x="10337085" y="8913455"/>
                </a:moveTo>
                <a:lnTo>
                  <a:pt x="10368913" y="8428566"/>
                </a:lnTo>
                <a:moveTo>
                  <a:pt x="10337085" y="8913455"/>
                </a:moveTo>
                <a:lnTo>
                  <a:pt x="9052883" y="8829287"/>
                </a:lnTo>
                <a:moveTo>
                  <a:pt x="10464347" y="6974794"/>
                </a:moveTo>
                <a:lnTo>
                  <a:pt x="10432536" y="7459228"/>
                </a:lnTo>
                <a:lnTo>
                  <a:pt x="9148365" y="7375059"/>
                </a:lnTo>
                <a:lnTo>
                  <a:pt x="9116522" y="7859965"/>
                </a:lnTo>
                <a:moveTo>
                  <a:pt x="10782731" y="2127662"/>
                </a:moveTo>
                <a:lnTo>
                  <a:pt x="10750888" y="2612551"/>
                </a:lnTo>
                <a:moveTo>
                  <a:pt x="10750888" y="2612551"/>
                </a:moveTo>
                <a:lnTo>
                  <a:pt x="12035043" y="2696735"/>
                </a:lnTo>
                <a:moveTo>
                  <a:pt x="10750888" y="2612551"/>
                </a:moveTo>
                <a:lnTo>
                  <a:pt x="9466717" y="2528383"/>
                </a:lnTo>
                <a:moveTo>
                  <a:pt x="10687250" y="3581905"/>
                </a:moveTo>
                <a:lnTo>
                  <a:pt x="10655422" y="4066339"/>
                </a:lnTo>
                <a:moveTo>
                  <a:pt x="10687250" y="3581905"/>
                </a:moveTo>
                <a:lnTo>
                  <a:pt x="10719077" y="3096984"/>
                </a:lnTo>
                <a:moveTo>
                  <a:pt x="10687250" y="3581905"/>
                </a:moveTo>
                <a:lnTo>
                  <a:pt x="9403063" y="3497721"/>
                </a:lnTo>
                <a:moveTo>
                  <a:pt x="10655422" y="4066339"/>
                </a:moveTo>
                <a:lnTo>
                  <a:pt x="9371251" y="3982155"/>
                </a:lnTo>
                <a:moveTo>
                  <a:pt x="10655422" y="4066339"/>
                </a:moveTo>
                <a:lnTo>
                  <a:pt x="11939593" y="4150506"/>
                </a:lnTo>
                <a:moveTo>
                  <a:pt x="10368881" y="8428566"/>
                </a:moveTo>
                <a:lnTo>
                  <a:pt x="10400693" y="7944132"/>
                </a:lnTo>
                <a:lnTo>
                  <a:pt x="11684864" y="8028316"/>
                </a:lnTo>
                <a:moveTo>
                  <a:pt x="10368881" y="8428566"/>
                </a:moveTo>
                <a:lnTo>
                  <a:pt x="11653068" y="8512733"/>
                </a:lnTo>
                <a:moveTo>
                  <a:pt x="10368881" y="8428566"/>
                </a:moveTo>
                <a:lnTo>
                  <a:pt x="9084726" y="8344382"/>
                </a:lnTo>
                <a:moveTo>
                  <a:pt x="10491817" y="6490549"/>
                </a:moveTo>
                <a:cubicBezTo>
                  <a:pt x="10491817" y="6490549"/>
                  <a:pt x="10488198" y="6611245"/>
                  <a:pt x="10480222" y="6732585"/>
                </a:cubicBezTo>
                <a:lnTo>
                  <a:pt x="10464317" y="6974794"/>
                </a:lnTo>
                <a:lnTo>
                  <a:pt x="9180145" y="6890626"/>
                </a:lnTo>
                <a:moveTo>
                  <a:pt x="10507361" y="6003632"/>
                </a:moveTo>
                <a:cubicBezTo>
                  <a:pt x="10493548" y="6213997"/>
                  <a:pt x="10503444" y="6314386"/>
                  <a:pt x="10491943" y="6489606"/>
                </a:cubicBezTo>
                <a:cubicBezTo>
                  <a:pt x="10491943" y="6489606"/>
                  <a:pt x="10353966" y="6480568"/>
                  <a:pt x="10163458" y="6468073"/>
                </a:cubicBezTo>
                <a:lnTo>
                  <a:pt x="9212005" y="6405705"/>
                </a:lnTo>
                <a:moveTo>
                  <a:pt x="10507361" y="6003632"/>
                </a:moveTo>
                <a:lnTo>
                  <a:pt x="9243879" y="5920832"/>
                </a:lnTo>
                <a:moveTo>
                  <a:pt x="10507361" y="6003632"/>
                </a:moveTo>
                <a:lnTo>
                  <a:pt x="11123456" y="6044043"/>
                </a:lnTo>
                <a:moveTo>
                  <a:pt x="10782701" y="2127677"/>
                </a:moveTo>
                <a:lnTo>
                  <a:pt x="12066887" y="2211845"/>
                </a:lnTo>
                <a:moveTo>
                  <a:pt x="10782701" y="2127677"/>
                </a:moveTo>
                <a:lnTo>
                  <a:pt x="9498529" y="2043493"/>
                </a:lnTo>
                <a:moveTo>
                  <a:pt x="10750841" y="2612582"/>
                </a:moveTo>
                <a:lnTo>
                  <a:pt x="10719029" y="3097016"/>
                </a:lnTo>
                <a:lnTo>
                  <a:pt x="9434859" y="3012832"/>
                </a:lnTo>
                <a:moveTo>
                  <a:pt x="10623563" y="4551244"/>
                </a:moveTo>
                <a:lnTo>
                  <a:pt x="10591752" y="5035661"/>
                </a:lnTo>
                <a:lnTo>
                  <a:pt x="9307550" y="4951493"/>
                </a:lnTo>
                <a:lnTo>
                  <a:pt x="9275706" y="5436398"/>
                </a:lnTo>
                <a:moveTo>
                  <a:pt x="10623563" y="4551244"/>
                </a:moveTo>
                <a:lnTo>
                  <a:pt x="10655390" y="4066339"/>
                </a:lnTo>
                <a:moveTo>
                  <a:pt x="10623563" y="4551244"/>
                </a:moveTo>
                <a:lnTo>
                  <a:pt x="9339392" y="4467060"/>
                </a:lnTo>
                <a:moveTo>
                  <a:pt x="10432504" y="7459228"/>
                </a:moveTo>
                <a:lnTo>
                  <a:pt x="10400662" y="7944132"/>
                </a:lnTo>
                <a:lnTo>
                  <a:pt x="9116475" y="7859949"/>
                </a:lnTo>
                <a:moveTo>
                  <a:pt x="5662142" y="1780254"/>
                </a:moveTo>
                <a:cubicBezTo>
                  <a:pt x="5661451" y="2001826"/>
                  <a:pt x="5657045" y="2068815"/>
                  <a:pt x="5658194" y="2262267"/>
                </a:cubicBezTo>
                <a:moveTo>
                  <a:pt x="5662142" y="1780254"/>
                </a:moveTo>
                <a:cubicBezTo>
                  <a:pt x="5366902" y="1715262"/>
                  <a:pt x="4894730" y="1114507"/>
                  <a:pt x="4402830" y="1082261"/>
                </a:cubicBezTo>
                <a:moveTo>
                  <a:pt x="5662142" y="1780254"/>
                </a:moveTo>
                <a:cubicBezTo>
                  <a:pt x="5753786" y="1805088"/>
                  <a:pt x="6336921" y="1836241"/>
                  <a:pt x="6479129" y="1845561"/>
                </a:cubicBezTo>
                <a:lnTo>
                  <a:pt x="6930187" y="1875142"/>
                </a:lnTo>
                <a:moveTo>
                  <a:pt x="5658194" y="2262267"/>
                </a:moveTo>
                <a:cubicBezTo>
                  <a:pt x="5209165" y="2055926"/>
                  <a:pt x="4912304" y="1707105"/>
                  <a:pt x="4366723" y="1631817"/>
                </a:cubicBezTo>
                <a:moveTo>
                  <a:pt x="5658194" y="2262267"/>
                </a:moveTo>
                <a:cubicBezTo>
                  <a:pt x="5740618" y="2281333"/>
                  <a:pt x="5827447" y="2289821"/>
                  <a:pt x="5911822" y="2295353"/>
                </a:cubicBezTo>
                <a:lnTo>
                  <a:pt x="6898297" y="2360015"/>
                </a:lnTo>
                <a:lnTo>
                  <a:pt x="6930156" y="1875126"/>
                </a:lnTo>
                <a:moveTo>
                  <a:pt x="5455005" y="4698958"/>
                </a:moveTo>
                <a:lnTo>
                  <a:pt x="5486817" y="4214524"/>
                </a:lnTo>
                <a:lnTo>
                  <a:pt x="6771003" y="4298708"/>
                </a:lnTo>
                <a:moveTo>
                  <a:pt x="5455005" y="4698958"/>
                </a:moveTo>
                <a:lnTo>
                  <a:pt x="6739176" y="4783142"/>
                </a:lnTo>
                <a:moveTo>
                  <a:pt x="5455005" y="4698958"/>
                </a:moveTo>
                <a:lnTo>
                  <a:pt x="5254428" y="4685802"/>
                </a:lnTo>
                <a:cubicBezTo>
                  <a:pt x="4865467" y="4660308"/>
                  <a:pt x="4587831" y="4887224"/>
                  <a:pt x="4154818" y="4858838"/>
                </a:cubicBezTo>
                <a:moveTo>
                  <a:pt x="5455005" y="4698958"/>
                </a:moveTo>
                <a:lnTo>
                  <a:pt x="5391335" y="5668281"/>
                </a:lnTo>
                <a:lnTo>
                  <a:pt x="4107179" y="5584097"/>
                </a:lnTo>
                <a:moveTo>
                  <a:pt x="5200355" y="8576736"/>
                </a:moveTo>
                <a:lnTo>
                  <a:pt x="5168543" y="9061169"/>
                </a:lnTo>
                <a:lnTo>
                  <a:pt x="3884356" y="8976986"/>
                </a:lnTo>
                <a:moveTo>
                  <a:pt x="5200355" y="8576736"/>
                </a:moveTo>
                <a:lnTo>
                  <a:pt x="5232197" y="8091847"/>
                </a:lnTo>
                <a:moveTo>
                  <a:pt x="5200355" y="8576736"/>
                </a:moveTo>
                <a:lnTo>
                  <a:pt x="3916184" y="8492568"/>
                </a:lnTo>
                <a:moveTo>
                  <a:pt x="5658225" y="2262283"/>
                </a:moveTo>
                <a:cubicBezTo>
                  <a:pt x="5658194" y="2449087"/>
                  <a:pt x="5652908" y="2602602"/>
                  <a:pt x="5637521" y="2763912"/>
                </a:cubicBezTo>
                <a:lnTo>
                  <a:pt x="6866517" y="2844465"/>
                </a:lnTo>
                <a:moveTo>
                  <a:pt x="5592415" y="3263937"/>
                </a:moveTo>
                <a:cubicBezTo>
                  <a:pt x="5613214" y="3060614"/>
                  <a:pt x="5631338" y="2930534"/>
                  <a:pt x="5637489" y="2763896"/>
                </a:cubicBezTo>
                <a:lnTo>
                  <a:pt x="4298128" y="2676113"/>
                </a:lnTo>
                <a:moveTo>
                  <a:pt x="5592415" y="3263937"/>
                </a:moveTo>
                <a:cubicBezTo>
                  <a:pt x="5579797" y="3456022"/>
                  <a:pt x="5550314" y="3580648"/>
                  <a:pt x="5533291" y="3742335"/>
                </a:cubicBezTo>
                <a:moveTo>
                  <a:pt x="5592415" y="3263937"/>
                </a:moveTo>
                <a:cubicBezTo>
                  <a:pt x="5662882" y="3261957"/>
                  <a:pt x="5679433" y="3253171"/>
                  <a:pt x="5848183" y="3264220"/>
                </a:cubicBezTo>
                <a:lnTo>
                  <a:pt x="6834674" y="3328898"/>
                </a:lnTo>
                <a:moveTo>
                  <a:pt x="5709640" y="821626"/>
                </a:moveTo>
                <a:lnTo>
                  <a:pt x="5677828" y="1306056"/>
                </a:lnTo>
                <a:lnTo>
                  <a:pt x="5622638" y="1302440"/>
                </a:lnTo>
                <a:cubicBezTo>
                  <a:pt x="5587616" y="1300143"/>
                  <a:pt x="5549244" y="1283984"/>
                  <a:pt x="5501527" y="1263917"/>
                </a:cubicBezTo>
                <a:cubicBezTo>
                  <a:pt x="5167678" y="1064647"/>
                  <a:pt x="4864665" y="809525"/>
                  <a:pt x="4424446" y="752908"/>
                </a:cubicBezTo>
                <a:moveTo>
                  <a:pt x="5709640" y="821626"/>
                </a:moveTo>
                <a:lnTo>
                  <a:pt x="5741483" y="336712"/>
                </a:lnTo>
                <a:moveTo>
                  <a:pt x="5709640" y="821626"/>
                </a:moveTo>
                <a:lnTo>
                  <a:pt x="5509063" y="808462"/>
                </a:lnTo>
                <a:cubicBezTo>
                  <a:pt x="5146092" y="784671"/>
                  <a:pt x="4841081" y="519528"/>
                  <a:pt x="4441500" y="493335"/>
                </a:cubicBezTo>
                <a:moveTo>
                  <a:pt x="5136715" y="9546074"/>
                </a:moveTo>
                <a:lnTo>
                  <a:pt x="5168575" y="9061169"/>
                </a:lnTo>
                <a:moveTo>
                  <a:pt x="5136715" y="9546074"/>
                </a:moveTo>
                <a:lnTo>
                  <a:pt x="6420871" y="9630242"/>
                </a:lnTo>
                <a:lnTo>
                  <a:pt x="6452730" y="9145353"/>
                </a:lnTo>
                <a:lnTo>
                  <a:pt x="7736885" y="9229521"/>
                </a:lnTo>
                <a:moveTo>
                  <a:pt x="5136715" y="9546074"/>
                </a:moveTo>
                <a:lnTo>
                  <a:pt x="3852544" y="9461890"/>
                </a:lnTo>
                <a:moveTo>
                  <a:pt x="5486801" y="4214981"/>
                </a:moveTo>
                <a:lnTo>
                  <a:pt x="5491773" y="4139080"/>
                </a:lnTo>
                <a:cubicBezTo>
                  <a:pt x="5493283" y="4116132"/>
                  <a:pt x="5495548" y="4089931"/>
                  <a:pt x="5497892" y="4062315"/>
                </a:cubicBezTo>
                <a:cubicBezTo>
                  <a:pt x="5510605" y="3957761"/>
                  <a:pt x="5519840" y="3817198"/>
                  <a:pt x="5533276" y="3742335"/>
                </a:cubicBezTo>
                <a:cubicBezTo>
                  <a:pt x="5084168" y="3869569"/>
                  <a:pt x="4743051" y="4283855"/>
                  <a:pt x="4193442" y="4269945"/>
                </a:cubicBezTo>
                <a:moveTo>
                  <a:pt x="5327633" y="6638091"/>
                </a:moveTo>
                <a:lnTo>
                  <a:pt x="5359476" y="6153186"/>
                </a:lnTo>
                <a:lnTo>
                  <a:pt x="6643678" y="6237369"/>
                </a:lnTo>
                <a:moveTo>
                  <a:pt x="5327633" y="6638091"/>
                </a:moveTo>
                <a:lnTo>
                  <a:pt x="5295821" y="7122508"/>
                </a:lnTo>
                <a:moveTo>
                  <a:pt x="5327633" y="6638091"/>
                </a:moveTo>
                <a:lnTo>
                  <a:pt x="6611819" y="6722259"/>
                </a:lnTo>
                <a:moveTo>
                  <a:pt x="5327633" y="6638091"/>
                </a:moveTo>
                <a:lnTo>
                  <a:pt x="4043446" y="6553891"/>
                </a:lnTo>
                <a:moveTo>
                  <a:pt x="5295821" y="7122508"/>
                </a:moveTo>
                <a:lnTo>
                  <a:pt x="4011634" y="7038325"/>
                </a:lnTo>
                <a:moveTo>
                  <a:pt x="5295821" y="7122508"/>
                </a:moveTo>
                <a:lnTo>
                  <a:pt x="6579992" y="7206692"/>
                </a:lnTo>
                <a:moveTo>
                  <a:pt x="5391303" y="5668281"/>
                </a:moveTo>
                <a:lnTo>
                  <a:pt x="5359460" y="6153186"/>
                </a:lnTo>
                <a:lnTo>
                  <a:pt x="4075304" y="6069002"/>
                </a:lnTo>
                <a:moveTo>
                  <a:pt x="5676774" y="1305997"/>
                </a:moveTo>
                <a:cubicBezTo>
                  <a:pt x="5669647" y="1463154"/>
                  <a:pt x="5653285" y="1622999"/>
                  <a:pt x="5661592" y="1780223"/>
                </a:cubicBezTo>
                <a:moveTo>
                  <a:pt x="5295774" y="7122508"/>
                </a:moveTo>
                <a:lnTo>
                  <a:pt x="5263931" y="7607414"/>
                </a:lnTo>
                <a:lnTo>
                  <a:pt x="3979775" y="7523230"/>
                </a:lnTo>
                <a:moveTo>
                  <a:pt x="1666131" y="3477068"/>
                </a:moveTo>
                <a:lnTo>
                  <a:pt x="1697943" y="2992651"/>
                </a:lnTo>
                <a:moveTo>
                  <a:pt x="1666131" y="3477068"/>
                </a:moveTo>
                <a:lnTo>
                  <a:pt x="1634272" y="3961989"/>
                </a:lnTo>
                <a:moveTo>
                  <a:pt x="1666131" y="3477068"/>
                </a:moveTo>
                <a:lnTo>
                  <a:pt x="381954" y="3392900"/>
                </a:lnTo>
                <a:moveTo>
                  <a:pt x="1666131" y="3477068"/>
                </a:moveTo>
                <a:lnTo>
                  <a:pt x="2652607" y="3541731"/>
                </a:lnTo>
                <a:cubicBezTo>
                  <a:pt x="2687093" y="3543994"/>
                  <a:pt x="2872724" y="3549574"/>
                  <a:pt x="2934679" y="3571987"/>
                </a:cubicBezTo>
                <a:moveTo>
                  <a:pt x="1697943" y="2992651"/>
                </a:moveTo>
                <a:lnTo>
                  <a:pt x="1729801" y="2507730"/>
                </a:lnTo>
                <a:moveTo>
                  <a:pt x="1697943" y="2992651"/>
                </a:moveTo>
                <a:lnTo>
                  <a:pt x="403160" y="2907760"/>
                </a:lnTo>
                <a:moveTo>
                  <a:pt x="1602492" y="4446422"/>
                </a:moveTo>
                <a:lnTo>
                  <a:pt x="1634304" y="3961989"/>
                </a:lnTo>
                <a:moveTo>
                  <a:pt x="1602492" y="4446422"/>
                </a:moveTo>
                <a:lnTo>
                  <a:pt x="2886663" y="4530606"/>
                </a:lnTo>
                <a:moveTo>
                  <a:pt x="1602492" y="4446422"/>
                </a:moveTo>
                <a:lnTo>
                  <a:pt x="318315" y="4362239"/>
                </a:lnTo>
                <a:moveTo>
                  <a:pt x="1347818" y="8324201"/>
                </a:moveTo>
                <a:lnTo>
                  <a:pt x="1379664" y="7839312"/>
                </a:lnTo>
                <a:moveTo>
                  <a:pt x="1347818" y="8324201"/>
                </a:moveTo>
                <a:lnTo>
                  <a:pt x="2631997" y="8408384"/>
                </a:lnTo>
                <a:lnTo>
                  <a:pt x="2663840" y="7923495"/>
                </a:lnTo>
                <a:moveTo>
                  <a:pt x="1347818" y="8324201"/>
                </a:moveTo>
                <a:lnTo>
                  <a:pt x="63640" y="8240033"/>
                </a:lnTo>
                <a:moveTo>
                  <a:pt x="1411411" y="7354878"/>
                </a:moveTo>
                <a:lnTo>
                  <a:pt x="1443258" y="6869973"/>
                </a:lnTo>
                <a:lnTo>
                  <a:pt x="2727447" y="6954157"/>
                </a:lnTo>
                <a:moveTo>
                  <a:pt x="1411411" y="7354878"/>
                </a:moveTo>
                <a:lnTo>
                  <a:pt x="1379615" y="7839312"/>
                </a:lnTo>
                <a:moveTo>
                  <a:pt x="1411411" y="7354878"/>
                </a:moveTo>
                <a:lnTo>
                  <a:pt x="127234" y="7270695"/>
                </a:lnTo>
                <a:moveTo>
                  <a:pt x="1793456" y="1538423"/>
                </a:moveTo>
                <a:lnTo>
                  <a:pt x="1825315" y="1053519"/>
                </a:lnTo>
                <a:moveTo>
                  <a:pt x="1793456" y="1538423"/>
                </a:moveTo>
                <a:lnTo>
                  <a:pt x="509285" y="1454241"/>
                </a:lnTo>
                <a:moveTo>
                  <a:pt x="1793456" y="1538423"/>
                </a:moveTo>
                <a:lnTo>
                  <a:pt x="2244530" y="1567988"/>
                </a:lnTo>
                <a:cubicBezTo>
                  <a:pt x="2787908" y="1603604"/>
                  <a:pt x="2932571" y="1632399"/>
                  <a:pt x="3063877" y="1613223"/>
                </a:cubicBezTo>
                <a:moveTo>
                  <a:pt x="1825315" y="1053519"/>
                </a:moveTo>
                <a:lnTo>
                  <a:pt x="1857095" y="569070"/>
                </a:lnTo>
                <a:moveTo>
                  <a:pt x="1825315" y="1053519"/>
                </a:moveTo>
                <a:lnTo>
                  <a:pt x="541117" y="969340"/>
                </a:lnTo>
                <a:moveTo>
                  <a:pt x="1315958" y="8808634"/>
                </a:moveTo>
                <a:lnTo>
                  <a:pt x="1284111" y="9293539"/>
                </a:lnTo>
                <a:lnTo>
                  <a:pt x="2568295" y="9377707"/>
                </a:lnTo>
                <a:moveTo>
                  <a:pt x="1538806" y="5415746"/>
                </a:moveTo>
                <a:lnTo>
                  <a:pt x="1570617" y="4931312"/>
                </a:lnTo>
                <a:moveTo>
                  <a:pt x="1538806" y="5415746"/>
                </a:moveTo>
                <a:lnTo>
                  <a:pt x="1506961" y="5900650"/>
                </a:lnTo>
                <a:moveTo>
                  <a:pt x="1538806" y="5415746"/>
                </a:moveTo>
                <a:lnTo>
                  <a:pt x="254622" y="5331577"/>
                </a:lnTo>
                <a:moveTo>
                  <a:pt x="1570617" y="4931312"/>
                </a:moveTo>
                <a:lnTo>
                  <a:pt x="1602461" y="4446407"/>
                </a:lnTo>
                <a:moveTo>
                  <a:pt x="1570617" y="4931312"/>
                </a:moveTo>
                <a:lnTo>
                  <a:pt x="286431" y="4847128"/>
                </a:lnTo>
                <a:moveTo>
                  <a:pt x="1729786" y="2507761"/>
                </a:moveTo>
                <a:lnTo>
                  <a:pt x="1761597" y="2023328"/>
                </a:lnTo>
                <a:cubicBezTo>
                  <a:pt x="1979166" y="2037584"/>
                  <a:pt x="2196718" y="2051840"/>
                  <a:pt x="2414287" y="2066111"/>
                </a:cubicBezTo>
                <a:cubicBezTo>
                  <a:pt x="2523063" y="2073247"/>
                  <a:pt x="2631855" y="2080367"/>
                  <a:pt x="2740663" y="2087031"/>
                </a:cubicBezTo>
                <a:cubicBezTo>
                  <a:pt x="2822914" y="2092423"/>
                  <a:pt x="2923603" y="2109382"/>
                  <a:pt x="3004360" y="2088776"/>
                </a:cubicBezTo>
                <a:moveTo>
                  <a:pt x="1729786" y="2507761"/>
                </a:moveTo>
                <a:lnTo>
                  <a:pt x="2958782" y="2588330"/>
                </a:lnTo>
                <a:moveTo>
                  <a:pt x="1729786" y="2507761"/>
                </a:moveTo>
                <a:lnTo>
                  <a:pt x="434989" y="2422886"/>
                </a:lnTo>
                <a:moveTo>
                  <a:pt x="1475135" y="6385540"/>
                </a:moveTo>
                <a:lnTo>
                  <a:pt x="1443319" y="6869973"/>
                </a:lnTo>
                <a:lnTo>
                  <a:pt x="159142" y="6785789"/>
                </a:lnTo>
                <a:moveTo>
                  <a:pt x="1475135" y="6385540"/>
                </a:moveTo>
                <a:lnTo>
                  <a:pt x="1506961" y="5900650"/>
                </a:lnTo>
                <a:moveTo>
                  <a:pt x="1475135" y="6385540"/>
                </a:moveTo>
                <a:lnTo>
                  <a:pt x="190938" y="6301372"/>
                </a:lnTo>
                <a:moveTo>
                  <a:pt x="1857095" y="569070"/>
                </a:moveTo>
                <a:lnTo>
                  <a:pt x="1888954" y="84169"/>
                </a:lnTo>
                <a:moveTo>
                  <a:pt x="1857095" y="569070"/>
                </a:moveTo>
                <a:lnTo>
                  <a:pt x="3141266" y="653251"/>
                </a:lnTo>
                <a:lnTo>
                  <a:pt x="3173109" y="168350"/>
                </a:lnTo>
                <a:moveTo>
                  <a:pt x="1857095" y="569070"/>
                </a:moveTo>
                <a:lnTo>
                  <a:pt x="572924" y="484891"/>
                </a:lnTo>
                <a:moveTo>
                  <a:pt x="1379615" y="7839312"/>
                </a:moveTo>
                <a:lnTo>
                  <a:pt x="95437" y="7755128"/>
                </a:lnTo>
                <a:moveTo>
                  <a:pt x="1379615" y="7839312"/>
                </a:moveTo>
                <a:lnTo>
                  <a:pt x="2663793" y="7923495"/>
                </a:lnTo>
                <a:moveTo>
                  <a:pt x="1634272" y="3961989"/>
                </a:moveTo>
                <a:lnTo>
                  <a:pt x="2918475" y="4046173"/>
                </a:lnTo>
                <a:moveTo>
                  <a:pt x="1634272" y="3961989"/>
                </a:moveTo>
                <a:lnTo>
                  <a:pt x="350101" y="3877805"/>
                </a:lnTo>
                <a:moveTo>
                  <a:pt x="1506961" y="5900650"/>
                </a:moveTo>
                <a:lnTo>
                  <a:pt x="222779" y="5816467"/>
                </a:lnTo>
                <a:moveTo>
                  <a:pt x="1506961" y="5900650"/>
                </a:moveTo>
                <a:lnTo>
                  <a:pt x="2791118" y="5984834"/>
                </a:lnTo>
                <a:moveTo>
                  <a:pt x="1793441" y="1538407"/>
                </a:moveTo>
                <a:lnTo>
                  <a:pt x="1761597" y="2023296"/>
                </a:lnTo>
                <a:lnTo>
                  <a:pt x="477423" y="1939128"/>
                </a:lnTo>
                <a:moveTo>
                  <a:pt x="1347747" y="8324185"/>
                </a:moveTo>
                <a:lnTo>
                  <a:pt x="1315932" y="8808618"/>
                </a:lnTo>
                <a:lnTo>
                  <a:pt x="31754" y="8724434"/>
                </a:lnTo>
                <a:moveTo>
                  <a:pt x="2918475" y="4046173"/>
                </a:moveTo>
                <a:lnTo>
                  <a:pt x="2886663" y="4530606"/>
                </a:lnTo>
                <a:moveTo>
                  <a:pt x="2918475" y="4046173"/>
                </a:moveTo>
                <a:lnTo>
                  <a:pt x="2923446" y="3970272"/>
                </a:lnTo>
                <a:cubicBezTo>
                  <a:pt x="2936268" y="3774918"/>
                  <a:pt x="2932414" y="3696062"/>
                  <a:pt x="2934176" y="3571956"/>
                </a:cubicBezTo>
                <a:moveTo>
                  <a:pt x="2886663" y="4530606"/>
                </a:moveTo>
                <a:lnTo>
                  <a:pt x="3087240" y="4543731"/>
                </a:lnTo>
                <a:cubicBezTo>
                  <a:pt x="3444909" y="4575182"/>
                  <a:pt x="3702171" y="4829179"/>
                  <a:pt x="4154818" y="4858838"/>
                </a:cubicBezTo>
                <a:moveTo>
                  <a:pt x="2958782" y="2588330"/>
                </a:moveTo>
                <a:cubicBezTo>
                  <a:pt x="2969276" y="2428560"/>
                  <a:pt x="2978479" y="2288484"/>
                  <a:pt x="3003841" y="2088289"/>
                </a:cubicBezTo>
                <a:cubicBezTo>
                  <a:pt x="3030382" y="1960174"/>
                  <a:pt x="3042701" y="1772757"/>
                  <a:pt x="3062980" y="1609875"/>
                </a:cubicBezTo>
                <a:moveTo>
                  <a:pt x="2958782" y="2588330"/>
                </a:moveTo>
                <a:cubicBezTo>
                  <a:pt x="2949578" y="2728406"/>
                  <a:pt x="2947659" y="2895295"/>
                  <a:pt x="2938062" y="3089943"/>
                </a:cubicBezTo>
                <a:cubicBezTo>
                  <a:pt x="3368746" y="3299789"/>
                  <a:pt x="3715591" y="3698954"/>
                  <a:pt x="4229533" y="3720409"/>
                </a:cubicBezTo>
                <a:lnTo>
                  <a:pt x="4298128" y="2676113"/>
                </a:lnTo>
                <a:moveTo>
                  <a:pt x="2958782" y="2588330"/>
                </a:moveTo>
                <a:lnTo>
                  <a:pt x="4298128" y="2676113"/>
                </a:lnTo>
                <a:moveTo>
                  <a:pt x="3141329" y="653273"/>
                </a:moveTo>
                <a:lnTo>
                  <a:pt x="3109502" y="1137705"/>
                </a:lnTo>
                <a:moveTo>
                  <a:pt x="3109502" y="1137705"/>
                </a:moveTo>
                <a:cubicBezTo>
                  <a:pt x="3109502" y="1137705"/>
                  <a:pt x="3091236" y="1415528"/>
                  <a:pt x="3063043" y="1609891"/>
                </a:cubicBezTo>
                <a:cubicBezTo>
                  <a:pt x="3310976" y="1583784"/>
                  <a:pt x="3894456" y="1048938"/>
                  <a:pt x="4402830" y="1082261"/>
                </a:cubicBezTo>
                <a:moveTo>
                  <a:pt x="3109502" y="1137705"/>
                </a:moveTo>
                <a:lnTo>
                  <a:pt x="1825331" y="1053526"/>
                </a:lnTo>
                <a:moveTo>
                  <a:pt x="2938125" y="3089943"/>
                </a:moveTo>
                <a:cubicBezTo>
                  <a:pt x="2947360" y="3225115"/>
                  <a:pt x="2935057" y="3412516"/>
                  <a:pt x="2934176" y="3571956"/>
                </a:cubicBezTo>
                <a:moveTo>
                  <a:pt x="2934176" y="3571956"/>
                </a:moveTo>
                <a:cubicBezTo>
                  <a:pt x="3410281" y="3796089"/>
                  <a:pt x="3681781" y="4214289"/>
                  <a:pt x="4193489" y="4269945"/>
                </a:cubicBezTo>
                <a:lnTo>
                  <a:pt x="4229580" y="3720393"/>
                </a:lnTo>
                <a:moveTo>
                  <a:pt x="2854836" y="5015496"/>
                </a:moveTo>
                <a:lnTo>
                  <a:pt x="2823024" y="5499929"/>
                </a:lnTo>
                <a:moveTo>
                  <a:pt x="2854836" y="5015496"/>
                </a:moveTo>
                <a:lnTo>
                  <a:pt x="2886695" y="4530606"/>
                </a:lnTo>
                <a:moveTo>
                  <a:pt x="2854836" y="5015496"/>
                </a:moveTo>
                <a:lnTo>
                  <a:pt x="1570665" y="4931328"/>
                </a:lnTo>
                <a:moveTo>
                  <a:pt x="2823024" y="5499929"/>
                </a:moveTo>
                <a:lnTo>
                  <a:pt x="4107179" y="5584097"/>
                </a:lnTo>
                <a:moveTo>
                  <a:pt x="2823024" y="5499929"/>
                </a:moveTo>
                <a:lnTo>
                  <a:pt x="1538853" y="5415746"/>
                </a:lnTo>
                <a:moveTo>
                  <a:pt x="2663793" y="7923495"/>
                </a:moveTo>
                <a:lnTo>
                  <a:pt x="2695604" y="7439062"/>
                </a:lnTo>
                <a:lnTo>
                  <a:pt x="3979775" y="7523230"/>
                </a:lnTo>
                <a:moveTo>
                  <a:pt x="2663793" y="7923495"/>
                </a:moveTo>
                <a:lnTo>
                  <a:pt x="3947948" y="8007663"/>
                </a:lnTo>
                <a:lnTo>
                  <a:pt x="3979775" y="7523230"/>
                </a:lnTo>
                <a:moveTo>
                  <a:pt x="2568295" y="9377707"/>
                </a:moveTo>
                <a:lnTo>
                  <a:pt x="2600138" y="8892802"/>
                </a:lnTo>
                <a:lnTo>
                  <a:pt x="3884340" y="8976986"/>
                </a:lnTo>
                <a:lnTo>
                  <a:pt x="3916152" y="8492552"/>
                </a:lnTo>
                <a:moveTo>
                  <a:pt x="2568295" y="9377707"/>
                </a:moveTo>
                <a:lnTo>
                  <a:pt x="3852450" y="9461875"/>
                </a:lnTo>
                <a:lnTo>
                  <a:pt x="3884293" y="8976986"/>
                </a:lnTo>
                <a:moveTo>
                  <a:pt x="2822961" y="5499929"/>
                </a:moveTo>
                <a:lnTo>
                  <a:pt x="2791118" y="5984834"/>
                </a:lnTo>
                <a:moveTo>
                  <a:pt x="2791118" y="5984834"/>
                </a:moveTo>
                <a:lnTo>
                  <a:pt x="2759275" y="6469723"/>
                </a:lnTo>
                <a:moveTo>
                  <a:pt x="2791118" y="5984834"/>
                </a:moveTo>
                <a:lnTo>
                  <a:pt x="4075304" y="6069002"/>
                </a:lnTo>
                <a:moveTo>
                  <a:pt x="2759275" y="6469723"/>
                </a:moveTo>
                <a:lnTo>
                  <a:pt x="2727447" y="6954157"/>
                </a:lnTo>
                <a:moveTo>
                  <a:pt x="2759275" y="6469723"/>
                </a:moveTo>
                <a:lnTo>
                  <a:pt x="1475099" y="6385555"/>
                </a:lnTo>
                <a:moveTo>
                  <a:pt x="2759275" y="6469723"/>
                </a:moveTo>
                <a:lnTo>
                  <a:pt x="4043446" y="6553891"/>
                </a:lnTo>
                <a:moveTo>
                  <a:pt x="2727479" y="6954157"/>
                </a:moveTo>
                <a:lnTo>
                  <a:pt x="2695636" y="7439062"/>
                </a:lnTo>
                <a:lnTo>
                  <a:pt x="1411460" y="7354878"/>
                </a:lnTo>
                <a:moveTo>
                  <a:pt x="2727447" y="6954157"/>
                </a:moveTo>
                <a:lnTo>
                  <a:pt x="4011634" y="7038325"/>
                </a:lnTo>
                <a:moveTo>
                  <a:pt x="4298128" y="2676113"/>
                </a:moveTo>
                <a:lnTo>
                  <a:pt x="4366723" y="1631817"/>
                </a:lnTo>
                <a:moveTo>
                  <a:pt x="4043446" y="6553891"/>
                </a:moveTo>
                <a:lnTo>
                  <a:pt x="4011634" y="7038325"/>
                </a:lnTo>
                <a:moveTo>
                  <a:pt x="4043446" y="6553891"/>
                </a:moveTo>
                <a:lnTo>
                  <a:pt x="4075304" y="6069002"/>
                </a:lnTo>
                <a:moveTo>
                  <a:pt x="4011634" y="7038325"/>
                </a:moveTo>
                <a:lnTo>
                  <a:pt x="3979775" y="7523230"/>
                </a:lnTo>
                <a:moveTo>
                  <a:pt x="4457312" y="252523"/>
                </a:moveTo>
                <a:lnTo>
                  <a:pt x="4441500" y="493335"/>
                </a:lnTo>
                <a:moveTo>
                  <a:pt x="4441500" y="493335"/>
                </a:moveTo>
                <a:cubicBezTo>
                  <a:pt x="3970288" y="462446"/>
                  <a:pt x="3762176" y="693947"/>
                  <a:pt x="3341890" y="666397"/>
                </a:cubicBezTo>
                <a:lnTo>
                  <a:pt x="3141314" y="653248"/>
                </a:lnTo>
                <a:moveTo>
                  <a:pt x="4193505" y="4269945"/>
                </a:moveTo>
                <a:lnTo>
                  <a:pt x="4171904" y="4598837"/>
                </a:lnTo>
                <a:moveTo>
                  <a:pt x="4402830" y="1082261"/>
                </a:moveTo>
                <a:lnTo>
                  <a:pt x="4424415" y="753372"/>
                </a:lnTo>
                <a:cubicBezTo>
                  <a:pt x="4004680" y="725857"/>
                  <a:pt x="3684204" y="972102"/>
                  <a:pt x="3289752" y="1119395"/>
                </a:cubicBezTo>
                <a:cubicBezTo>
                  <a:pt x="3220355" y="1145431"/>
                  <a:pt x="3109439" y="1138162"/>
                  <a:pt x="3109439" y="1138162"/>
                </a:cubicBezTo>
                <a:moveTo>
                  <a:pt x="4366723" y="1631817"/>
                </a:moveTo>
                <a:cubicBezTo>
                  <a:pt x="3854086" y="1590684"/>
                  <a:pt x="3461082" y="1894286"/>
                  <a:pt x="3003872" y="2088273"/>
                </a:cubicBezTo>
                <a:moveTo>
                  <a:pt x="4402766" y="1082272"/>
                </a:moveTo>
                <a:lnTo>
                  <a:pt x="4366676" y="1631817"/>
                </a:lnTo>
                <a:moveTo>
                  <a:pt x="4107148" y="5584097"/>
                </a:moveTo>
                <a:lnTo>
                  <a:pt x="4075304" y="6069002"/>
                </a:lnTo>
                <a:moveTo>
                  <a:pt x="4136254" y="5141363"/>
                </a:moveTo>
                <a:lnTo>
                  <a:pt x="4107179" y="5584097"/>
                </a:lnTo>
                <a:moveTo>
                  <a:pt x="4136254" y="5141363"/>
                </a:moveTo>
                <a:lnTo>
                  <a:pt x="4154818" y="4858838"/>
                </a:lnTo>
                <a:moveTo>
                  <a:pt x="4136254" y="5141363"/>
                </a:moveTo>
                <a:cubicBezTo>
                  <a:pt x="4432360" y="5160774"/>
                  <a:pt x="4743963" y="5139303"/>
                  <a:pt x="4901023" y="5149598"/>
                </a:cubicBezTo>
                <a:lnTo>
                  <a:pt x="5423193" y="5183816"/>
                </a:lnTo>
                <a:moveTo>
                  <a:pt x="4136254" y="5141363"/>
                </a:moveTo>
                <a:cubicBezTo>
                  <a:pt x="3793987" y="5118934"/>
                  <a:pt x="3618063" y="5071136"/>
                  <a:pt x="3509586" y="5059317"/>
                </a:cubicBezTo>
                <a:cubicBezTo>
                  <a:pt x="3292143" y="5035174"/>
                  <a:pt x="3072923" y="5029751"/>
                  <a:pt x="2854836" y="5015464"/>
                </a:cubicBezTo>
                <a:moveTo>
                  <a:pt x="3948026" y="8007663"/>
                </a:moveTo>
                <a:lnTo>
                  <a:pt x="3916184" y="8492568"/>
                </a:lnTo>
                <a:moveTo>
                  <a:pt x="3916184" y="8492568"/>
                </a:moveTo>
                <a:lnTo>
                  <a:pt x="2632012" y="8408369"/>
                </a:lnTo>
                <a:lnTo>
                  <a:pt x="2600201" y="8892802"/>
                </a:lnTo>
                <a:lnTo>
                  <a:pt x="1316024" y="8808634"/>
                </a:lnTo>
                <a:moveTo>
                  <a:pt x="4154818" y="4858838"/>
                </a:moveTo>
                <a:lnTo>
                  <a:pt x="4171888" y="4598837"/>
                </a:lnTo>
                <a:moveTo>
                  <a:pt x="4441469" y="493350"/>
                </a:moveTo>
                <a:lnTo>
                  <a:pt x="4424383" y="753369"/>
                </a:lnTo>
                <a:moveTo>
                  <a:pt x="4171888" y="4598837"/>
                </a:moveTo>
                <a:cubicBezTo>
                  <a:pt x="4665409" y="4655184"/>
                  <a:pt x="5160991" y="4193149"/>
                  <a:pt x="5486817" y="4214493"/>
                </a:cubicBezTo>
                <a:moveTo>
                  <a:pt x="4171888" y="4598837"/>
                </a:moveTo>
                <a:cubicBezTo>
                  <a:pt x="3763308" y="4596055"/>
                  <a:pt x="3251726" y="4067989"/>
                  <a:pt x="2918475" y="4046141"/>
                </a:cubicBezTo>
                <a:moveTo>
                  <a:pt x="6516337" y="8176030"/>
                </a:moveTo>
                <a:lnTo>
                  <a:pt x="6484494" y="8660920"/>
                </a:lnTo>
                <a:lnTo>
                  <a:pt x="5200323" y="8576751"/>
                </a:lnTo>
                <a:moveTo>
                  <a:pt x="6516337" y="8176030"/>
                </a:moveTo>
                <a:lnTo>
                  <a:pt x="6548180" y="7691597"/>
                </a:lnTo>
                <a:lnTo>
                  <a:pt x="7832335" y="7775781"/>
                </a:lnTo>
                <a:moveTo>
                  <a:pt x="6516337" y="8176030"/>
                </a:moveTo>
                <a:lnTo>
                  <a:pt x="5232182" y="8091847"/>
                </a:lnTo>
                <a:moveTo>
                  <a:pt x="6516337" y="8176030"/>
                </a:moveTo>
                <a:lnTo>
                  <a:pt x="7800540" y="8260199"/>
                </a:lnTo>
                <a:moveTo>
                  <a:pt x="6484447" y="8660904"/>
                </a:moveTo>
                <a:lnTo>
                  <a:pt x="6452635" y="9145338"/>
                </a:lnTo>
                <a:lnTo>
                  <a:pt x="5168449" y="9061154"/>
                </a:lnTo>
                <a:moveTo>
                  <a:pt x="6707364" y="5268031"/>
                </a:moveTo>
                <a:lnTo>
                  <a:pt x="6675537" y="5752465"/>
                </a:lnTo>
                <a:moveTo>
                  <a:pt x="6675537" y="5752465"/>
                </a:moveTo>
                <a:lnTo>
                  <a:pt x="6643678" y="6237369"/>
                </a:lnTo>
                <a:moveTo>
                  <a:pt x="6675537" y="5752465"/>
                </a:moveTo>
                <a:lnTo>
                  <a:pt x="7959724" y="5836648"/>
                </a:lnTo>
                <a:moveTo>
                  <a:pt x="6675537" y="5752465"/>
                </a:moveTo>
                <a:lnTo>
                  <a:pt x="5391366" y="5668297"/>
                </a:lnTo>
                <a:moveTo>
                  <a:pt x="6739145" y="4783126"/>
                </a:moveTo>
                <a:lnTo>
                  <a:pt x="6707301" y="5268031"/>
                </a:lnTo>
                <a:lnTo>
                  <a:pt x="5423115" y="5183847"/>
                </a:lnTo>
                <a:moveTo>
                  <a:pt x="6771003" y="4298708"/>
                </a:moveTo>
                <a:lnTo>
                  <a:pt x="6802846" y="3813819"/>
                </a:lnTo>
                <a:lnTo>
                  <a:pt x="8087017" y="3897971"/>
                </a:lnTo>
                <a:lnTo>
                  <a:pt x="8118845" y="3413538"/>
                </a:lnTo>
                <a:moveTo>
                  <a:pt x="6771003" y="4298708"/>
                </a:moveTo>
                <a:lnTo>
                  <a:pt x="6739176" y="4783142"/>
                </a:lnTo>
                <a:moveTo>
                  <a:pt x="6962031" y="1390234"/>
                </a:moveTo>
                <a:lnTo>
                  <a:pt x="6930187" y="1875142"/>
                </a:lnTo>
                <a:moveTo>
                  <a:pt x="6962031" y="1390234"/>
                </a:moveTo>
                <a:lnTo>
                  <a:pt x="6993842" y="905794"/>
                </a:lnTo>
                <a:moveTo>
                  <a:pt x="6962031" y="1390234"/>
                </a:moveTo>
                <a:lnTo>
                  <a:pt x="5677875" y="1306052"/>
                </a:lnTo>
                <a:moveTo>
                  <a:pt x="6962031" y="1390234"/>
                </a:moveTo>
                <a:lnTo>
                  <a:pt x="8246217" y="1474414"/>
                </a:lnTo>
                <a:moveTo>
                  <a:pt x="6930187" y="1875142"/>
                </a:moveTo>
                <a:lnTo>
                  <a:pt x="8214374" y="1959310"/>
                </a:lnTo>
                <a:lnTo>
                  <a:pt x="8246217" y="1474414"/>
                </a:lnTo>
                <a:moveTo>
                  <a:pt x="7025685" y="420894"/>
                </a:moveTo>
                <a:lnTo>
                  <a:pt x="6993842" y="905794"/>
                </a:lnTo>
                <a:moveTo>
                  <a:pt x="6993842" y="905794"/>
                </a:moveTo>
                <a:lnTo>
                  <a:pt x="5709671" y="821615"/>
                </a:lnTo>
                <a:moveTo>
                  <a:pt x="6993842" y="905794"/>
                </a:moveTo>
                <a:lnTo>
                  <a:pt x="8278013" y="989967"/>
                </a:lnTo>
                <a:lnTo>
                  <a:pt x="8309856" y="505066"/>
                </a:lnTo>
                <a:moveTo>
                  <a:pt x="6739176" y="4783142"/>
                </a:moveTo>
                <a:lnTo>
                  <a:pt x="8023347" y="4867310"/>
                </a:lnTo>
                <a:moveTo>
                  <a:pt x="6611819" y="6722259"/>
                </a:moveTo>
                <a:lnTo>
                  <a:pt x="6579992" y="7206692"/>
                </a:lnTo>
                <a:moveTo>
                  <a:pt x="6611819" y="6722259"/>
                </a:moveTo>
                <a:lnTo>
                  <a:pt x="6643647" y="6237369"/>
                </a:lnTo>
                <a:moveTo>
                  <a:pt x="6611819" y="6722259"/>
                </a:moveTo>
                <a:lnTo>
                  <a:pt x="7895990" y="6806442"/>
                </a:lnTo>
                <a:moveTo>
                  <a:pt x="6579992" y="7206692"/>
                </a:moveTo>
                <a:lnTo>
                  <a:pt x="6548133" y="7691613"/>
                </a:lnTo>
                <a:lnTo>
                  <a:pt x="5263978" y="7607414"/>
                </a:lnTo>
                <a:lnTo>
                  <a:pt x="5232150" y="8091847"/>
                </a:lnTo>
                <a:lnTo>
                  <a:pt x="3947979" y="8007663"/>
                </a:lnTo>
                <a:moveTo>
                  <a:pt x="6643678" y="6237369"/>
                </a:moveTo>
                <a:lnTo>
                  <a:pt x="7927849" y="6321553"/>
                </a:lnTo>
                <a:moveTo>
                  <a:pt x="6898344" y="2360031"/>
                </a:moveTo>
                <a:lnTo>
                  <a:pt x="6866517" y="2844465"/>
                </a:lnTo>
                <a:moveTo>
                  <a:pt x="6866517" y="2844465"/>
                </a:moveTo>
                <a:lnTo>
                  <a:pt x="8150688" y="2928648"/>
                </a:lnTo>
                <a:moveTo>
                  <a:pt x="6866517" y="2844465"/>
                </a:moveTo>
                <a:lnTo>
                  <a:pt x="6802862" y="3813787"/>
                </a:lnTo>
                <a:moveTo>
                  <a:pt x="7832335" y="7775781"/>
                </a:moveTo>
                <a:lnTo>
                  <a:pt x="7864178" y="7290876"/>
                </a:lnTo>
                <a:moveTo>
                  <a:pt x="7832335" y="7775781"/>
                </a:moveTo>
                <a:lnTo>
                  <a:pt x="7800540" y="8260199"/>
                </a:lnTo>
                <a:moveTo>
                  <a:pt x="7832335" y="7775781"/>
                </a:moveTo>
                <a:lnTo>
                  <a:pt x="9116522" y="7859965"/>
                </a:lnTo>
                <a:moveTo>
                  <a:pt x="7864178" y="7290876"/>
                </a:moveTo>
                <a:lnTo>
                  <a:pt x="7895990" y="6806442"/>
                </a:lnTo>
                <a:moveTo>
                  <a:pt x="7864178" y="7290876"/>
                </a:moveTo>
                <a:lnTo>
                  <a:pt x="6580023" y="7206692"/>
                </a:lnTo>
                <a:moveTo>
                  <a:pt x="7864178" y="7290876"/>
                </a:moveTo>
                <a:lnTo>
                  <a:pt x="9148365" y="7375028"/>
                </a:lnTo>
                <a:lnTo>
                  <a:pt x="9180177" y="6890626"/>
                </a:lnTo>
                <a:moveTo>
                  <a:pt x="8023347" y="4867310"/>
                </a:moveTo>
                <a:lnTo>
                  <a:pt x="7991504" y="5352199"/>
                </a:lnTo>
                <a:lnTo>
                  <a:pt x="6707317" y="5268031"/>
                </a:lnTo>
                <a:moveTo>
                  <a:pt x="8023347" y="4867310"/>
                </a:moveTo>
                <a:lnTo>
                  <a:pt x="8055159" y="4382892"/>
                </a:lnTo>
                <a:moveTo>
                  <a:pt x="8023347" y="4867310"/>
                </a:moveTo>
                <a:lnTo>
                  <a:pt x="9307518" y="4951493"/>
                </a:lnTo>
                <a:lnTo>
                  <a:pt x="9339345" y="4467060"/>
                </a:lnTo>
                <a:moveTo>
                  <a:pt x="8150735" y="2928633"/>
                </a:moveTo>
                <a:lnTo>
                  <a:pt x="8118892" y="3413522"/>
                </a:lnTo>
                <a:moveTo>
                  <a:pt x="8118892" y="3413522"/>
                </a:moveTo>
                <a:lnTo>
                  <a:pt x="6834705" y="3329354"/>
                </a:lnTo>
                <a:moveTo>
                  <a:pt x="8118892" y="3413522"/>
                </a:moveTo>
                <a:lnTo>
                  <a:pt x="9403063" y="3497721"/>
                </a:lnTo>
                <a:moveTo>
                  <a:pt x="7927849" y="6321553"/>
                </a:moveTo>
                <a:lnTo>
                  <a:pt x="7895990" y="6806442"/>
                </a:lnTo>
                <a:moveTo>
                  <a:pt x="7927849" y="6321553"/>
                </a:moveTo>
                <a:lnTo>
                  <a:pt x="7959692" y="5836632"/>
                </a:lnTo>
                <a:moveTo>
                  <a:pt x="7895990" y="6806442"/>
                </a:moveTo>
                <a:lnTo>
                  <a:pt x="9180177" y="6890626"/>
                </a:lnTo>
                <a:moveTo>
                  <a:pt x="7736885" y="9229521"/>
                </a:moveTo>
                <a:lnTo>
                  <a:pt x="7705010" y="9714426"/>
                </a:lnTo>
                <a:moveTo>
                  <a:pt x="7736885" y="9229521"/>
                </a:moveTo>
                <a:lnTo>
                  <a:pt x="9021040" y="9313690"/>
                </a:lnTo>
                <a:moveTo>
                  <a:pt x="7736885" y="9229521"/>
                </a:moveTo>
                <a:lnTo>
                  <a:pt x="7800540" y="8260199"/>
                </a:lnTo>
                <a:moveTo>
                  <a:pt x="8087049" y="3897987"/>
                </a:moveTo>
                <a:lnTo>
                  <a:pt x="8055206" y="4382892"/>
                </a:lnTo>
                <a:moveTo>
                  <a:pt x="8055206" y="4382892"/>
                </a:moveTo>
                <a:lnTo>
                  <a:pt x="6771019" y="4298708"/>
                </a:lnTo>
                <a:moveTo>
                  <a:pt x="8055206" y="4382892"/>
                </a:moveTo>
                <a:lnTo>
                  <a:pt x="9339392" y="4467060"/>
                </a:lnTo>
                <a:moveTo>
                  <a:pt x="7959724" y="5836648"/>
                </a:moveTo>
                <a:lnTo>
                  <a:pt x="7991535" y="5352214"/>
                </a:lnTo>
                <a:lnTo>
                  <a:pt x="9275706" y="5436398"/>
                </a:lnTo>
                <a:moveTo>
                  <a:pt x="7959724" y="5836648"/>
                </a:moveTo>
                <a:lnTo>
                  <a:pt x="9243879" y="5920832"/>
                </a:lnTo>
                <a:moveTo>
                  <a:pt x="7705010" y="9714426"/>
                </a:moveTo>
                <a:lnTo>
                  <a:pt x="6420839" y="9630242"/>
                </a:lnTo>
                <a:moveTo>
                  <a:pt x="7705010" y="9714426"/>
                </a:moveTo>
                <a:lnTo>
                  <a:pt x="8989196" y="9798594"/>
                </a:lnTo>
                <a:lnTo>
                  <a:pt x="9021040" y="9313690"/>
                </a:lnTo>
                <a:moveTo>
                  <a:pt x="8246217" y="1474414"/>
                </a:moveTo>
                <a:lnTo>
                  <a:pt x="8278029" y="989981"/>
                </a:lnTo>
                <a:lnTo>
                  <a:pt x="9562184" y="1074155"/>
                </a:lnTo>
                <a:moveTo>
                  <a:pt x="7800540" y="8260199"/>
                </a:moveTo>
                <a:lnTo>
                  <a:pt x="9084726" y="8344382"/>
                </a:lnTo>
                <a:moveTo>
                  <a:pt x="8182500" y="2444199"/>
                </a:moveTo>
                <a:lnTo>
                  <a:pt x="8214343" y="1959294"/>
                </a:lnTo>
                <a:lnTo>
                  <a:pt x="9498529" y="2043493"/>
                </a:lnTo>
                <a:moveTo>
                  <a:pt x="8182500" y="2444199"/>
                </a:moveTo>
                <a:lnTo>
                  <a:pt x="8150688" y="2928648"/>
                </a:lnTo>
                <a:moveTo>
                  <a:pt x="8182500" y="2444199"/>
                </a:moveTo>
                <a:lnTo>
                  <a:pt x="9466686" y="2528399"/>
                </a:lnTo>
                <a:moveTo>
                  <a:pt x="8182500" y="2444199"/>
                </a:moveTo>
                <a:lnTo>
                  <a:pt x="6898329" y="2360015"/>
                </a:lnTo>
                <a:moveTo>
                  <a:pt x="8150688" y="2928648"/>
                </a:moveTo>
                <a:lnTo>
                  <a:pt x="9434859" y="3012832"/>
                </a:lnTo>
                <a:moveTo>
                  <a:pt x="9275706" y="5436398"/>
                </a:moveTo>
                <a:lnTo>
                  <a:pt x="9243879" y="5920832"/>
                </a:lnTo>
                <a:moveTo>
                  <a:pt x="9243879" y="5920832"/>
                </a:moveTo>
                <a:lnTo>
                  <a:pt x="9212035" y="6405721"/>
                </a:lnTo>
                <a:moveTo>
                  <a:pt x="9212035" y="6405721"/>
                </a:moveTo>
                <a:lnTo>
                  <a:pt x="9180177" y="6890626"/>
                </a:lnTo>
                <a:moveTo>
                  <a:pt x="9212035" y="6405721"/>
                </a:moveTo>
                <a:lnTo>
                  <a:pt x="7927865" y="6321538"/>
                </a:lnTo>
                <a:moveTo>
                  <a:pt x="9371235" y="3982171"/>
                </a:moveTo>
                <a:lnTo>
                  <a:pt x="9339392" y="4467060"/>
                </a:lnTo>
                <a:moveTo>
                  <a:pt x="9562184" y="1074155"/>
                </a:moveTo>
                <a:lnTo>
                  <a:pt x="9530372" y="1558589"/>
                </a:lnTo>
                <a:moveTo>
                  <a:pt x="9562184" y="1074155"/>
                </a:moveTo>
                <a:lnTo>
                  <a:pt x="9594027" y="589247"/>
                </a:lnTo>
                <a:moveTo>
                  <a:pt x="9530372" y="1558589"/>
                </a:moveTo>
                <a:lnTo>
                  <a:pt x="9498529" y="2043493"/>
                </a:lnTo>
                <a:moveTo>
                  <a:pt x="9530372" y="1558589"/>
                </a:moveTo>
                <a:lnTo>
                  <a:pt x="8246186" y="1474408"/>
                </a:lnTo>
                <a:moveTo>
                  <a:pt x="9116522" y="7859965"/>
                </a:moveTo>
                <a:lnTo>
                  <a:pt x="9084726" y="8344382"/>
                </a:lnTo>
                <a:moveTo>
                  <a:pt x="9403063" y="3497721"/>
                </a:moveTo>
                <a:lnTo>
                  <a:pt x="9371251" y="3982155"/>
                </a:lnTo>
                <a:moveTo>
                  <a:pt x="9403063" y="3497721"/>
                </a:moveTo>
                <a:lnTo>
                  <a:pt x="9434921" y="3012801"/>
                </a:lnTo>
                <a:moveTo>
                  <a:pt x="9371251" y="3982155"/>
                </a:moveTo>
                <a:lnTo>
                  <a:pt x="8087081" y="3897971"/>
                </a:lnTo>
                <a:moveTo>
                  <a:pt x="9498529" y="2043493"/>
                </a:moveTo>
                <a:lnTo>
                  <a:pt x="9466686" y="2528399"/>
                </a:lnTo>
                <a:moveTo>
                  <a:pt x="9466686" y="2528399"/>
                </a:moveTo>
                <a:lnTo>
                  <a:pt x="9434859" y="3012832"/>
                </a:lnTo>
                <a:moveTo>
                  <a:pt x="9021040" y="9313690"/>
                </a:moveTo>
                <a:lnTo>
                  <a:pt x="9052851" y="8829272"/>
                </a:lnTo>
                <a:moveTo>
                  <a:pt x="9084726" y="8344382"/>
                </a:moveTo>
                <a:lnTo>
                  <a:pt x="9052883" y="8829287"/>
                </a:lnTo>
                <a:moveTo>
                  <a:pt x="9052883" y="8829287"/>
                </a:moveTo>
                <a:lnTo>
                  <a:pt x="6484525" y="8660920"/>
                </a:lnTo>
                <a:moveTo>
                  <a:pt x="11589397" y="9482057"/>
                </a:moveTo>
                <a:lnTo>
                  <a:pt x="11621209" y="8997623"/>
                </a:lnTo>
                <a:moveTo>
                  <a:pt x="11589397" y="9482057"/>
                </a:moveTo>
                <a:lnTo>
                  <a:pt x="11557539" y="9966962"/>
                </a:lnTo>
                <a:lnTo>
                  <a:pt x="10273352" y="9882778"/>
                </a:lnTo>
                <a:moveTo>
                  <a:pt x="11589397" y="9482057"/>
                </a:moveTo>
                <a:lnTo>
                  <a:pt x="12873584" y="9566240"/>
                </a:lnTo>
                <a:moveTo>
                  <a:pt x="11589397" y="9482057"/>
                </a:moveTo>
                <a:lnTo>
                  <a:pt x="10305227" y="9397873"/>
                </a:lnTo>
                <a:moveTo>
                  <a:pt x="11621209" y="8997623"/>
                </a:moveTo>
                <a:lnTo>
                  <a:pt x="11653068" y="8512733"/>
                </a:lnTo>
                <a:moveTo>
                  <a:pt x="11621209" y="8997623"/>
                </a:moveTo>
                <a:lnTo>
                  <a:pt x="10337038" y="8913455"/>
                </a:lnTo>
                <a:moveTo>
                  <a:pt x="12098730" y="1726956"/>
                </a:moveTo>
                <a:lnTo>
                  <a:pt x="12066887" y="2211845"/>
                </a:lnTo>
                <a:moveTo>
                  <a:pt x="12098730" y="1726956"/>
                </a:moveTo>
                <a:lnTo>
                  <a:pt x="12130541" y="1242500"/>
                </a:lnTo>
                <a:moveTo>
                  <a:pt x="12098730" y="1726956"/>
                </a:moveTo>
                <a:lnTo>
                  <a:pt x="13382917" y="1811140"/>
                </a:lnTo>
                <a:moveTo>
                  <a:pt x="12066887" y="2211845"/>
                </a:moveTo>
                <a:lnTo>
                  <a:pt x="12035043" y="2696735"/>
                </a:lnTo>
                <a:moveTo>
                  <a:pt x="12066887" y="2211845"/>
                </a:moveTo>
                <a:lnTo>
                  <a:pt x="13351074" y="2296029"/>
                </a:lnTo>
                <a:lnTo>
                  <a:pt x="13382917" y="1811140"/>
                </a:lnTo>
                <a:moveTo>
                  <a:pt x="11684864" y="8028316"/>
                </a:moveTo>
                <a:lnTo>
                  <a:pt x="11700769" y="7786092"/>
                </a:lnTo>
                <a:cubicBezTo>
                  <a:pt x="11708731" y="7664751"/>
                  <a:pt x="11645721" y="7561345"/>
                  <a:pt x="11645721" y="7561345"/>
                </a:cubicBezTo>
                <a:moveTo>
                  <a:pt x="11684864" y="8028316"/>
                </a:moveTo>
                <a:lnTo>
                  <a:pt x="11653068" y="8512733"/>
                </a:lnTo>
                <a:moveTo>
                  <a:pt x="12162401" y="757600"/>
                </a:moveTo>
                <a:lnTo>
                  <a:pt x="12130541" y="1242500"/>
                </a:lnTo>
                <a:moveTo>
                  <a:pt x="12130541" y="1242500"/>
                </a:moveTo>
                <a:lnTo>
                  <a:pt x="13414713" y="1326681"/>
                </a:lnTo>
                <a:moveTo>
                  <a:pt x="11971389" y="3666073"/>
                </a:moveTo>
                <a:lnTo>
                  <a:pt x="11939593" y="4150506"/>
                </a:lnTo>
                <a:moveTo>
                  <a:pt x="11971389" y="3666073"/>
                </a:moveTo>
                <a:lnTo>
                  <a:pt x="10687203" y="3581889"/>
                </a:lnTo>
                <a:moveTo>
                  <a:pt x="11971389" y="3666073"/>
                </a:moveTo>
                <a:lnTo>
                  <a:pt x="12035043" y="2696750"/>
                </a:lnTo>
                <a:moveTo>
                  <a:pt x="11939562" y="4150506"/>
                </a:moveTo>
                <a:lnTo>
                  <a:pt x="11923656" y="4392731"/>
                </a:lnTo>
                <a:cubicBezTo>
                  <a:pt x="11915679" y="4514071"/>
                  <a:pt x="11839674" y="4608362"/>
                  <a:pt x="11839674" y="4608362"/>
                </a:cubicBezTo>
                <a:moveTo>
                  <a:pt x="11939593" y="4150506"/>
                </a:moveTo>
                <a:lnTo>
                  <a:pt x="12272294" y="4172322"/>
                </a:lnTo>
                <a:cubicBezTo>
                  <a:pt x="12530610" y="4182665"/>
                  <a:pt x="12814744" y="4213990"/>
                  <a:pt x="13140632" y="4177462"/>
                </a:cubicBezTo>
                <a:moveTo>
                  <a:pt x="11123456" y="6044043"/>
                </a:moveTo>
                <a:cubicBezTo>
                  <a:pt x="11111908" y="6219734"/>
                  <a:pt x="11124101" y="6399324"/>
                  <a:pt x="11191500" y="6598074"/>
                </a:cubicBezTo>
                <a:cubicBezTo>
                  <a:pt x="10929801" y="6549836"/>
                  <a:pt x="10727667" y="6511642"/>
                  <a:pt x="10491927" y="6490078"/>
                </a:cubicBezTo>
                <a:moveTo>
                  <a:pt x="11123456" y="6044043"/>
                </a:moveTo>
                <a:lnTo>
                  <a:pt x="11503937" y="6068971"/>
                </a:lnTo>
                <a:moveTo>
                  <a:pt x="11646287" y="7561361"/>
                </a:moveTo>
                <a:cubicBezTo>
                  <a:pt x="11572296" y="7413945"/>
                  <a:pt x="11506029" y="7278805"/>
                  <a:pt x="11412797" y="7108001"/>
                </a:cubicBezTo>
                <a:cubicBezTo>
                  <a:pt x="11288272" y="7064542"/>
                  <a:pt x="11223674" y="7057956"/>
                  <a:pt x="11130048" y="7039111"/>
                </a:cubicBezTo>
                <a:cubicBezTo>
                  <a:pt x="11036422" y="7020281"/>
                  <a:pt x="10940909" y="7014009"/>
                  <a:pt x="10846071" y="7005444"/>
                </a:cubicBezTo>
                <a:cubicBezTo>
                  <a:pt x="10718935" y="6993813"/>
                  <a:pt x="10591736" y="6983124"/>
                  <a:pt x="10464379" y="6974779"/>
                </a:cubicBezTo>
                <a:moveTo>
                  <a:pt x="11191531" y="6598058"/>
                </a:moveTo>
                <a:cubicBezTo>
                  <a:pt x="11264594" y="6808470"/>
                  <a:pt x="11334700" y="6974448"/>
                  <a:pt x="11412813" y="7107545"/>
                </a:cubicBezTo>
                <a:cubicBezTo>
                  <a:pt x="11640780" y="7182723"/>
                  <a:pt x="11842978" y="7251959"/>
                  <a:pt x="12088126" y="7357425"/>
                </a:cubicBezTo>
                <a:moveTo>
                  <a:pt x="12035043" y="2696735"/>
                </a:moveTo>
                <a:lnTo>
                  <a:pt x="13319230" y="2780918"/>
                </a:lnTo>
                <a:moveTo>
                  <a:pt x="11840162" y="4608393"/>
                </a:moveTo>
                <a:cubicBezTo>
                  <a:pt x="11747654" y="4742999"/>
                  <a:pt x="11684817" y="4864040"/>
                  <a:pt x="11549389" y="5027378"/>
                </a:cubicBezTo>
                <a:moveTo>
                  <a:pt x="11263368" y="5504110"/>
                </a:moveTo>
                <a:cubicBezTo>
                  <a:pt x="11162599" y="5699826"/>
                  <a:pt x="11137694" y="5827595"/>
                  <a:pt x="11123440" y="6044498"/>
                </a:cubicBezTo>
                <a:moveTo>
                  <a:pt x="11549436" y="5027394"/>
                </a:moveTo>
                <a:cubicBezTo>
                  <a:pt x="11442658" y="5168130"/>
                  <a:pt x="11370523" y="5300802"/>
                  <a:pt x="11263415" y="5503623"/>
                </a:cubicBezTo>
                <a:cubicBezTo>
                  <a:pt x="11433156" y="5475237"/>
                  <a:pt x="11595439" y="5438819"/>
                  <a:pt x="11752593" y="5391241"/>
                </a:cubicBezTo>
                <a:cubicBezTo>
                  <a:pt x="11916859" y="5154046"/>
                  <a:pt x="12064763" y="5019771"/>
                  <a:pt x="12251684" y="4867812"/>
                </a:cubicBezTo>
                <a:cubicBezTo>
                  <a:pt x="12599850" y="4751832"/>
                  <a:pt x="12974384" y="4729325"/>
                  <a:pt x="13275399" y="4617321"/>
                </a:cubicBezTo>
                <a:moveTo>
                  <a:pt x="13140664" y="4177494"/>
                </a:moveTo>
                <a:cubicBezTo>
                  <a:pt x="13039628" y="4287564"/>
                  <a:pt x="12912711" y="4402508"/>
                  <a:pt x="12761818" y="4492837"/>
                </a:cubicBezTo>
                <a:moveTo>
                  <a:pt x="11661721" y="6773813"/>
                </a:moveTo>
                <a:cubicBezTo>
                  <a:pt x="11570550" y="6612094"/>
                  <a:pt x="11483815" y="6325970"/>
                  <a:pt x="11503858" y="6069442"/>
                </a:cubicBezTo>
                <a:moveTo>
                  <a:pt x="12905427" y="9081823"/>
                </a:moveTo>
                <a:lnTo>
                  <a:pt x="12937271" y="8596917"/>
                </a:lnTo>
                <a:moveTo>
                  <a:pt x="12905427" y="9081823"/>
                </a:moveTo>
                <a:lnTo>
                  <a:pt x="14190133" y="9166037"/>
                </a:lnTo>
                <a:moveTo>
                  <a:pt x="12905427" y="9081823"/>
                </a:moveTo>
                <a:lnTo>
                  <a:pt x="11621240" y="8997639"/>
                </a:lnTo>
                <a:moveTo>
                  <a:pt x="12251620" y="4868269"/>
                </a:moveTo>
                <a:cubicBezTo>
                  <a:pt x="12427576" y="4720774"/>
                  <a:pt x="12519944" y="4653424"/>
                  <a:pt x="12762275" y="4493340"/>
                </a:cubicBezTo>
                <a:moveTo>
                  <a:pt x="11503937" y="6068971"/>
                </a:moveTo>
                <a:cubicBezTo>
                  <a:pt x="11514651" y="5857002"/>
                  <a:pt x="11607427" y="5604766"/>
                  <a:pt x="11752562" y="5391257"/>
                </a:cubicBezTo>
                <a:moveTo>
                  <a:pt x="11503937" y="6068971"/>
                </a:moveTo>
                <a:lnTo>
                  <a:pt x="11995302" y="6101176"/>
                </a:lnTo>
                <a:moveTo>
                  <a:pt x="13319215" y="2780934"/>
                </a:moveTo>
                <a:lnTo>
                  <a:pt x="13287403" y="3265368"/>
                </a:lnTo>
                <a:lnTo>
                  <a:pt x="10719045" y="3097000"/>
                </a:lnTo>
                <a:moveTo>
                  <a:pt x="12879185" y="8157877"/>
                </a:moveTo>
                <a:cubicBezTo>
                  <a:pt x="12879185" y="8157877"/>
                  <a:pt x="12961074" y="8233353"/>
                  <a:pt x="12953113" y="8354693"/>
                </a:cubicBezTo>
                <a:lnTo>
                  <a:pt x="12937192" y="8596917"/>
                </a:lnTo>
                <a:lnTo>
                  <a:pt x="11653021" y="8512733"/>
                </a:lnTo>
                <a:moveTo>
                  <a:pt x="13351074" y="2296013"/>
                </a:moveTo>
                <a:lnTo>
                  <a:pt x="13319230" y="2780918"/>
                </a:lnTo>
                <a:moveTo>
                  <a:pt x="13319230" y="2780918"/>
                </a:moveTo>
                <a:lnTo>
                  <a:pt x="14603952" y="2865118"/>
                </a:lnTo>
                <a:lnTo>
                  <a:pt x="14635795" y="2380244"/>
                </a:lnTo>
                <a:moveTo>
                  <a:pt x="13382917" y="1811140"/>
                </a:moveTo>
                <a:lnTo>
                  <a:pt x="13414713" y="1326681"/>
                </a:lnTo>
                <a:moveTo>
                  <a:pt x="13382917" y="1811140"/>
                </a:moveTo>
                <a:lnTo>
                  <a:pt x="14667607" y="1895339"/>
                </a:lnTo>
                <a:moveTo>
                  <a:pt x="13287451" y="3265336"/>
                </a:moveTo>
                <a:lnTo>
                  <a:pt x="13255607" y="3750241"/>
                </a:lnTo>
                <a:lnTo>
                  <a:pt x="11971436" y="3666057"/>
                </a:lnTo>
                <a:moveTo>
                  <a:pt x="13140585" y="4177934"/>
                </a:moveTo>
                <a:cubicBezTo>
                  <a:pt x="13140585" y="4177934"/>
                  <a:pt x="13231646" y="4113806"/>
                  <a:pt x="13239622" y="3992450"/>
                </a:cubicBezTo>
                <a:lnTo>
                  <a:pt x="13255529" y="3750241"/>
                </a:lnTo>
                <a:cubicBezTo>
                  <a:pt x="13572324" y="3771004"/>
                  <a:pt x="13888977" y="3794140"/>
                  <a:pt x="14206023" y="3811147"/>
                </a:cubicBezTo>
                <a:cubicBezTo>
                  <a:pt x="14394565" y="3821143"/>
                  <a:pt x="14533910" y="3825576"/>
                  <a:pt x="14533910" y="3825576"/>
                </a:cubicBezTo>
                <a:cubicBezTo>
                  <a:pt x="14515550" y="3983412"/>
                  <a:pt x="14406348" y="4023304"/>
                  <a:pt x="14311810" y="4099440"/>
                </a:cubicBezTo>
                <a:moveTo>
                  <a:pt x="12544864" y="7795774"/>
                </a:moveTo>
                <a:cubicBezTo>
                  <a:pt x="12713283" y="7957854"/>
                  <a:pt x="12784505" y="8017566"/>
                  <a:pt x="12879217" y="8157877"/>
                </a:cubicBezTo>
                <a:cubicBezTo>
                  <a:pt x="13224252" y="8227538"/>
                  <a:pt x="13645685" y="8302212"/>
                  <a:pt x="14029580" y="8388549"/>
                </a:cubicBezTo>
                <a:moveTo>
                  <a:pt x="12545383" y="7795805"/>
                </a:moveTo>
                <a:cubicBezTo>
                  <a:pt x="12356071" y="7635187"/>
                  <a:pt x="12267920" y="7549416"/>
                  <a:pt x="12088126" y="7357425"/>
                </a:cubicBezTo>
                <a:moveTo>
                  <a:pt x="12088126" y="7357425"/>
                </a:moveTo>
                <a:cubicBezTo>
                  <a:pt x="11960581" y="7246489"/>
                  <a:pt x="11789393" y="7005192"/>
                  <a:pt x="11661799" y="6773325"/>
                </a:cubicBezTo>
                <a:moveTo>
                  <a:pt x="12088126" y="7357425"/>
                </a:moveTo>
                <a:cubicBezTo>
                  <a:pt x="12418262" y="7515984"/>
                  <a:pt x="12786661" y="7587185"/>
                  <a:pt x="13070307" y="7739410"/>
                </a:cubicBezTo>
                <a:moveTo>
                  <a:pt x="12873584" y="9566240"/>
                </a:moveTo>
                <a:lnTo>
                  <a:pt x="12905396" y="9081806"/>
                </a:lnTo>
                <a:moveTo>
                  <a:pt x="12873584" y="9566240"/>
                </a:moveTo>
                <a:lnTo>
                  <a:pt x="14158290" y="9650455"/>
                </a:lnTo>
                <a:moveTo>
                  <a:pt x="12873631" y="9566240"/>
                </a:moveTo>
                <a:lnTo>
                  <a:pt x="12841773" y="10051145"/>
                </a:lnTo>
                <a:lnTo>
                  <a:pt x="11557601" y="9966962"/>
                </a:lnTo>
                <a:moveTo>
                  <a:pt x="13446556" y="841781"/>
                </a:moveTo>
                <a:lnTo>
                  <a:pt x="13414713" y="1326681"/>
                </a:lnTo>
                <a:moveTo>
                  <a:pt x="14190133" y="9166037"/>
                </a:moveTo>
                <a:lnTo>
                  <a:pt x="14206039" y="8923813"/>
                </a:lnTo>
                <a:cubicBezTo>
                  <a:pt x="14214000" y="8802473"/>
                  <a:pt x="14214503" y="8689589"/>
                  <a:pt x="14214503" y="8689589"/>
                </a:cubicBezTo>
                <a:moveTo>
                  <a:pt x="14190133" y="9166037"/>
                </a:moveTo>
                <a:lnTo>
                  <a:pt x="14158290" y="9650455"/>
                </a:lnTo>
                <a:moveTo>
                  <a:pt x="14190133" y="9166037"/>
                </a:moveTo>
                <a:lnTo>
                  <a:pt x="15474273" y="9250206"/>
                </a:lnTo>
                <a:moveTo>
                  <a:pt x="14603889" y="2865133"/>
                </a:moveTo>
                <a:lnTo>
                  <a:pt x="14572062" y="3349567"/>
                </a:lnTo>
                <a:moveTo>
                  <a:pt x="14572062" y="3349567"/>
                </a:moveTo>
                <a:lnTo>
                  <a:pt x="13287355" y="3265352"/>
                </a:lnTo>
                <a:moveTo>
                  <a:pt x="14572062" y="3349567"/>
                </a:moveTo>
                <a:lnTo>
                  <a:pt x="15856264" y="3433766"/>
                </a:lnTo>
                <a:moveTo>
                  <a:pt x="14731277" y="925990"/>
                </a:moveTo>
                <a:lnTo>
                  <a:pt x="14699434" y="1410890"/>
                </a:lnTo>
                <a:moveTo>
                  <a:pt x="14699434" y="1410890"/>
                </a:moveTo>
                <a:lnTo>
                  <a:pt x="14667607" y="1895339"/>
                </a:lnTo>
                <a:moveTo>
                  <a:pt x="14699434" y="1410890"/>
                </a:moveTo>
                <a:lnTo>
                  <a:pt x="15983542" y="1495075"/>
                </a:lnTo>
                <a:moveTo>
                  <a:pt x="14699434" y="1410890"/>
                </a:moveTo>
                <a:lnTo>
                  <a:pt x="13414728" y="1326676"/>
                </a:lnTo>
                <a:moveTo>
                  <a:pt x="14029580" y="8388549"/>
                </a:moveTo>
                <a:cubicBezTo>
                  <a:pt x="13853232" y="8290408"/>
                  <a:pt x="13815819" y="8235255"/>
                  <a:pt x="13647070" y="8118803"/>
                </a:cubicBezTo>
                <a:moveTo>
                  <a:pt x="14029580" y="8388549"/>
                </a:moveTo>
                <a:cubicBezTo>
                  <a:pt x="14485484" y="8498415"/>
                  <a:pt x="14918922" y="8536719"/>
                  <a:pt x="15397386" y="8603361"/>
                </a:cubicBezTo>
                <a:moveTo>
                  <a:pt x="14126447" y="10135345"/>
                </a:moveTo>
                <a:lnTo>
                  <a:pt x="14158290" y="9650455"/>
                </a:lnTo>
                <a:moveTo>
                  <a:pt x="14126447" y="10135345"/>
                </a:moveTo>
                <a:lnTo>
                  <a:pt x="15410602" y="10219528"/>
                </a:lnTo>
                <a:moveTo>
                  <a:pt x="14126447" y="10135345"/>
                </a:moveTo>
                <a:lnTo>
                  <a:pt x="12841741" y="10051145"/>
                </a:lnTo>
                <a:moveTo>
                  <a:pt x="14158290" y="9650455"/>
                </a:moveTo>
                <a:lnTo>
                  <a:pt x="15442445" y="9734623"/>
                </a:lnTo>
                <a:moveTo>
                  <a:pt x="14667607" y="1895339"/>
                </a:moveTo>
                <a:lnTo>
                  <a:pt x="15951762" y="1979523"/>
                </a:lnTo>
                <a:moveTo>
                  <a:pt x="14667638" y="1895339"/>
                </a:moveTo>
                <a:lnTo>
                  <a:pt x="14635795" y="2380244"/>
                </a:lnTo>
                <a:moveTo>
                  <a:pt x="14635795" y="2380244"/>
                </a:moveTo>
                <a:lnTo>
                  <a:pt x="13351089" y="2296029"/>
                </a:lnTo>
                <a:moveTo>
                  <a:pt x="14030052" y="8388596"/>
                </a:moveTo>
                <a:cubicBezTo>
                  <a:pt x="14113971" y="8474084"/>
                  <a:pt x="14217020" y="8527885"/>
                  <a:pt x="14214425" y="8689101"/>
                </a:cubicBezTo>
                <a:lnTo>
                  <a:pt x="12937176" y="8596886"/>
                </a:lnTo>
                <a:moveTo>
                  <a:pt x="14572109" y="3349551"/>
                </a:moveTo>
                <a:lnTo>
                  <a:pt x="14556188" y="3591776"/>
                </a:lnTo>
                <a:cubicBezTo>
                  <a:pt x="14548226" y="3713116"/>
                  <a:pt x="14533957" y="3825104"/>
                  <a:pt x="14533957" y="3825104"/>
                </a:cubicBezTo>
                <a:cubicBezTo>
                  <a:pt x="14972806" y="3853867"/>
                  <a:pt x="15465950" y="3842896"/>
                  <a:pt x="15812999" y="3865656"/>
                </a:cubicBezTo>
                <a:cubicBezTo>
                  <a:pt x="15778701" y="3966909"/>
                  <a:pt x="15751169" y="4019217"/>
                  <a:pt x="15695947" y="4065002"/>
                </a:cubicBezTo>
                <a:cubicBezTo>
                  <a:pt x="15202331" y="4075471"/>
                  <a:pt x="14777830" y="4047650"/>
                  <a:pt x="14311842" y="4099440"/>
                </a:cubicBezTo>
                <a:moveTo>
                  <a:pt x="11994799" y="6101616"/>
                </a:moveTo>
                <a:cubicBezTo>
                  <a:pt x="11996514" y="6505434"/>
                  <a:pt x="12175899" y="6898312"/>
                  <a:pt x="12359705" y="7093871"/>
                </a:cubicBezTo>
                <a:cubicBezTo>
                  <a:pt x="12590882" y="7371570"/>
                  <a:pt x="12830634" y="7583491"/>
                  <a:pt x="13070307" y="7739882"/>
                </a:cubicBezTo>
                <a:moveTo>
                  <a:pt x="12486354" y="5165033"/>
                </a:moveTo>
                <a:cubicBezTo>
                  <a:pt x="12743631" y="4996509"/>
                  <a:pt x="12974353" y="4729325"/>
                  <a:pt x="13275368" y="4617305"/>
                </a:cubicBezTo>
                <a:moveTo>
                  <a:pt x="12486354" y="5165033"/>
                </a:moveTo>
                <a:cubicBezTo>
                  <a:pt x="12200427" y="5250270"/>
                  <a:pt x="12017722" y="5305581"/>
                  <a:pt x="11752027" y="5391210"/>
                </a:cubicBezTo>
                <a:moveTo>
                  <a:pt x="13275368" y="4617305"/>
                </a:moveTo>
                <a:cubicBezTo>
                  <a:pt x="13537900" y="4498542"/>
                  <a:pt x="13688809" y="4399741"/>
                  <a:pt x="13897330" y="4316485"/>
                </a:cubicBezTo>
                <a:moveTo>
                  <a:pt x="13275368" y="4617305"/>
                </a:moveTo>
                <a:cubicBezTo>
                  <a:pt x="13894924" y="4507360"/>
                  <a:pt x="14487875" y="4405070"/>
                  <a:pt x="15121623" y="4395796"/>
                </a:cubicBezTo>
                <a:moveTo>
                  <a:pt x="11995302" y="6101176"/>
                </a:moveTo>
                <a:cubicBezTo>
                  <a:pt x="12001470" y="5747749"/>
                  <a:pt x="12143206" y="5463904"/>
                  <a:pt x="12486872" y="5165065"/>
                </a:cubicBezTo>
                <a:moveTo>
                  <a:pt x="11995302" y="6101176"/>
                </a:moveTo>
                <a:lnTo>
                  <a:pt x="13443441" y="6196111"/>
                </a:lnTo>
                <a:cubicBezTo>
                  <a:pt x="13446524" y="5654276"/>
                  <a:pt x="13907966" y="5119892"/>
                  <a:pt x="14385691" y="4808195"/>
                </a:cubicBezTo>
                <a:cubicBezTo>
                  <a:pt x="14631658" y="4649762"/>
                  <a:pt x="14853191" y="4523109"/>
                  <a:pt x="15121623" y="4395796"/>
                </a:cubicBezTo>
                <a:moveTo>
                  <a:pt x="13897330" y="4316485"/>
                </a:moveTo>
                <a:cubicBezTo>
                  <a:pt x="14036660" y="4247972"/>
                  <a:pt x="14196395" y="4169053"/>
                  <a:pt x="14311857" y="4098984"/>
                </a:cubicBezTo>
                <a:moveTo>
                  <a:pt x="13897330" y="4316485"/>
                </a:moveTo>
                <a:cubicBezTo>
                  <a:pt x="13516346" y="4372440"/>
                  <a:pt x="13124175" y="4436143"/>
                  <a:pt x="12762306" y="4492884"/>
                </a:cubicBezTo>
                <a:cubicBezTo>
                  <a:pt x="12452922" y="4553994"/>
                  <a:pt x="12164493" y="4596259"/>
                  <a:pt x="11840209" y="4608409"/>
                </a:cubicBezTo>
                <a:moveTo>
                  <a:pt x="13647557" y="8119305"/>
                </a:moveTo>
                <a:cubicBezTo>
                  <a:pt x="13451842" y="8007663"/>
                  <a:pt x="13301877" y="7856679"/>
                  <a:pt x="13070260" y="7739866"/>
                </a:cubicBezTo>
                <a:moveTo>
                  <a:pt x="15121623" y="4395796"/>
                </a:moveTo>
                <a:cubicBezTo>
                  <a:pt x="15226041" y="4347590"/>
                  <a:pt x="15383117" y="4260483"/>
                  <a:pt x="15490320" y="4210579"/>
                </a:cubicBezTo>
                <a:moveTo>
                  <a:pt x="15121623" y="4395796"/>
                </a:moveTo>
                <a:cubicBezTo>
                  <a:pt x="15831092" y="4353814"/>
                  <a:pt x="16956456" y="4396063"/>
                  <a:pt x="17654676" y="4542536"/>
                </a:cubicBezTo>
                <a:moveTo>
                  <a:pt x="15489786" y="4210564"/>
                </a:moveTo>
                <a:cubicBezTo>
                  <a:pt x="15577951" y="4166460"/>
                  <a:pt x="15633000" y="4123488"/>
                  <a:pt x="15695475" y="4065002"/>
                </a:cubicBezTo>
                <a:moveTo>
                  <a:pt x="14871157" y="8200471"/>
                </a:moveTo>
                <a:cubicBezTo>
                  <a:pt x="15024268" y="8279201"/>
                  <a:pt x="15115456" y="8359518"/>
                  <a:pt x="15212479" y="8432228"/>
                </a:cubicBezTo>
                <a:cubicBezTo>
                  <a:pt x="15913846" y="8512090"/>
                  <a:pt x="16415407" y="8544954"/>
                  <a:pt x="17080274" y="8565010"/>
                </a:cubicBezTo>
                <a:moveTo>
                  <a:pt x="14196065" y="7695574"/>
                </a:moveTo>
                <a:cubicBezTo>
                  <a:pt x="13763350" y="7321840"/>
                  <a:pt x="13372675" y="6778653"/>
                  <a:pt x="13443425" y="6196566"/>
                </a:cubicBezTo>
                <a:moveTo>
                  <a:pt x="14196065" y="7695574"/>
                </a:moveTo>
                <a:cubicBezTo>
                  <a:pt x="13503084" y="7535804"/>
                  <a:pt x="12931371" y="7371759"/>
                  <a:pt x="12359657" y="7093855"/>
                </a:cubicBezTo>
                <a:moveTo>
                  <a:pt x="14196065" y="7695574"/>
                </a:moveTo>
                <a:cubicBezTo>
                  <a:pt x="15477577" y="7998830"/>
                  <a:pt x="16804162" y="8085796"/>
                  <a:pt x="18066716" y="7989289"/>
                </a:cubicBezTo>
                <a:moveTo>
                  <a:pt x="14196048" y="7695558"/>
                </a:moveTo>
                <a:cubicBezTo>
                  <a:pt x="14419296" y="7882865"/>
                  <a:pt x="14622328" y="8037338"/>
                  <a:pt x="14871692" y="8200488"/>
                </a:cubicBezTo>
                <a:cubicBezTo>
                  <a:pt x="14049246" y="8088704"/>
                  <a:pt x="13586499" y="7944966"/>
                  <a:pt x="13070244" y="7739850"/>
                </a:cubicBezTo>
                <a:moveTo>
                  <a:pt x="15397921" y="8603409"/>
                </a:moveTo>
                <a:cubicBezTo>
                  <a:pt x="15328839" y="8519351"/>
                  <a:pt x="15293676" y="8494942"/>
                  <a:pt x="15213046" y="8432244"/>
                </a:cubicBezTo>
                <a:moveTo>
                  <a:pt x="15397921" y="8603409"/>
                </a:moveTo>
                <a:cubicBezTo>
                  <a:pt x="15397921" y="8603409"/>
                  <a:pt x="15483130" y="8693220"/>
                  <a:pt x="15487834" y="8816336"/>
                </a:cubicBezTo>
                <a:lnTo>
                  <a:pt x="14214487" y="8689086"/>
                </a:lnTo>
                <a:moveTo>
                  <a:pt x="15397921" y="8603409"/>
                </a:moveTo>
                <a:cubicBezTo>
                  <a:pt x="15872626" y="8661831"/>
                  <a:pt x="16402820" y="8688582"/>
                  <a:pt x="16902492" y="8707695"/>
                </a:cubicBezTo>
                <a:moveTo>
                  <a:pt x="15410602" y="10219528"/>
                </a:moveTo>
                <a:lnTo>
                  <a:pt x="15442445" y="9734623"/>
                </a:lnTo>
                <a:moveTo>
                  <a:pt x="15442445" y="9734623"/>
                </a:moveTo>
                <a:lnTo>
                  <a:pt x="15474273" y="9250206"/>
                </a:lnTo>
                <a:moveTo>
                  <a:pt x="15474273" y="9250206"/>
                </a:moveTo>
                <a:cubicBezTo>
                  <a:pt x="15483759" y="9105917"/>
                  <a:pt x="15498060" y="8960986"/>
                  <a:pt x="15487866" y="8816336"/>
                </a:cubicBezTo>
                <a:moveTo>
                  <a:pt x="15888044" y="2949333"/>
                </a:moveTo>
                <a:lnTo>
                  <a:pt x="15856264" y="3433766"/>
                </a:lnTo>
                <a:moveTo>
                  <a:pt x="15856264" y="3433766"/>
                </a:moveTo>
                <a:cubicBezTo>
                  <a:pt x="15846824" y="3578054"/>
                  <a:pt x="15842576" y="3723631"/>
                  <a:pt x="15812999" y="3865671"/>
                </a:cubicBezTo>
                <a:lnTo>
                  <a:pt x="17124954" y="3949352"/>
                </a:lnTo>
                <a:moveTo>
                  <a:pt x="15919982" y="2464396"/>
                </a:moveTo>
                <a:lnTo>
                  <a:pt x="15888044" y="2949301"/>
                </a:lnTo>
                <a:lnTo>
                  <a:pt x="14603921" y="2865118"/>
                </a:lnTo>
                <a:moveTo>
                  <a:pt x="15919982" y="2464396"/>
                </a:moveTo>
                <a:lnTo>
                  <a:pt x="15951762" y="1979523"/>
                </a:lnTo>
                <a:moveTo>
                  <a:pt x="15919982" y="2464396"/>
                </a:moveTo>
                <a:lnTo>
                  <a:pt x="14635747" y="2380244"/>
                </a:lnTo>
                <a:moveTo>
                  <a:pt x="16015479" y="1010175"/>
                </a:moveTo>
                <a:lnTo>
                  <a:pt x="15983542" y="1495075"/>
                </a:lnTo>
                <a:moveTo>
                  <a:pt x="15951762" y="1979523"/>
                </a:moveTo>
                <a:lnTo>
                  <a:pt x="15983542" y="1495086"/>
                </a:lnTo>
                <a:moveTo>
                  <a:pt x="24431722" y="10323878"/>
                </a:moveTo>
                <a:lnTo>
                  <a:pt x="24442890" y="10324617"/>
                </a:lnTo>
                <a:moveTo>
                  <a:pt x="24474672" y="9840199"/>
                </a:moveTo>
                <a:lnTo>
                  <a:pt x="24463658" y="9839460"/>
                </a:lnTo>
                <a:moveTo>
                  <a:pt x="11684880" y="8028300"/>
                </a:moveTo>
                <a:cubicBezTo>
                  <a:pt x="11895022" y="8042069"/>
                  <a:pt x="12369051" y="8070785"/>
                  <a:pt x="12879185" y="8158364"/>
                </a:cubicBezTo>
                <a:moveTo>
                  <a:pt x="20674580" y="8617586"/>
                </a:moveTo>
                <a:lnTo>
                  <a:pt x="20341988" y="8595770"/>
                </a:lnTo>
                <a:cubicBezTo>
                  <a:pt x="20054866" y="8576956"/>
                  <a:pt x="19729040" y="8587141"/>
                  <a:pt x="19488328" y="8602418"/>
                </a:cubicBezTo>
                <a:moveTo>
                  <a:pt x="11646271" y="7561376"/>
                </a:moveTo>
                <a:cubicBezTo>
                  <a:pt x="12028640" y="7638676"/>
                  <a:pt x="12246743" y="7693436"/>
                  <a:pt x="12545352" y="7796293"/>
                </a:cubicBezTo>
                <a:moveTo>
                  <a:pt x="10432568" y="7459228"/>
                </a:moveTo>
                <a:cubicBezTo>
                  <a:pt x="10833737" y="7485523"/>
                  <a:pt x="11250341" y="7487881"/>
                  <a:pt x="11645783" y="7560874"/>
                </a:cubicBezTo>
                <a:moveTo>
                  <a:pt x="19877714" y="8295736"/>
                </a:moveTo>
                <a:cubicBezTo>
                  <a:pt x="19360108" y="8388361"/>
                  <a:pt x="19115936" y="8411890"/>
                  <a:pt x="18710818" y="8471900"/>
                </a:cubicBezTo>
                <a:moveTo>
                  <a:pt x="12545414" y="7795821"/>
                </a:moveTo>
                <a:cubicBezTo>
                  <a:pt x="12938812" y="7916187"/>
                  <a:pt x="13113634" y="7980818"/>
                  <a:pt x="13647621" y="8118850"/>
                </a:cubicBezTo>
                <a:moveTo>
                  <a:pt x="18710188" y="8471883"/>
                </a:moveTo>
                <a:cubicBezTo>
                  <a:pt x="18160170" y="8553914"/>
                  <a:pt x="17625572" y="8563109"/>
                  <a:pt x="17080274" y="8564539"/>
                </a:cubicBezTo>
                <a:moveTo>
                  <a:pt x="20800442" y="8170357"/>
                </a:moveTo>
                <a:cubicBezTo>
                  <a:pt x="20474932" y="8185257"/>
                  <a:pt x="20238310" y="8226201"/>
                  <a:pt x="19877714" y="8295264"/>
                </a:cubicBezTo>
                <a:moveTo>
                  <a:pt x="13647557" y="8119337"/>
                </a:moveTo>
                <a:cubicBezTo>
                  <a:pt x="14179372" y="8290643"/>
                  <a:pt x="14704311" y="8355636"/>
                  <a:pt x="15213031" y="8432275"/>
                </a:cubicBezTo>
                <a:moveTo>
                  <a:pt x="24570168" y="8385956"/>
                </a:moveTo>
                <a:lnTo>
                  <a:pt x="24558998" y="8385217"/>
                </a:lnTo>
                <a:moveTo>
                  <a:pt x="11191453" y="6598058"/>
                </a:moveTo>
                <a:cubicBezTo>
                  <a:pt x="11397914" y="6659577"/>
                  <a:pt x="11512259" y="6703775"/>
                  <a:pt x="11661705" y="6773325"/>
                </a:cubicBezTo>
                <a:moveTo>
                  <a:pt x="11661752" y="6773797"/>
                </a:moveTo>
                <a:cubicBezTo>
                  <a:pt x="11943148" y="6895279"/>
                  <a:pt x="12096276" y="6957552"/>
                  <a:pt x="12360192" y="7093886"/>
                </a:cubicBezTo>
                <a:moveTo>
                  <a:pt x="21415434" y="7277170"/>
                </a:moveTo>
                <a:cubicBezTo>
                  <a:pt x="21278718" y="7298782"/>
                  <a:pt x="21106444" y="7333125"/>
                  <a:pt x="20922056" y="7397268"/>
                </a:cubicBezTo>
                <a:moveTo>
                  <a:pt x="20922686" y="7397316"/>
                </a:moveTo>
                <a:cubicBezTo>
                  <a:pt x="20627224" y="7489940"/>
                  <a:pt x="20428046" y="7537108"/>
                  <a:pt x="20142814" y="7635564"/>
                </a:cubicBezTo>
                <a:moveTo>
                  <a:pt x="24622718" y="7415894"/>
                </a:moveTo>
                <a:lnTo>
                  <a:pt x="24633886" y="7416633"/>
                </a:lnTo>
                <a:moveTo>
                  <a:pt x="20142814" y="7635108"/>
                </a:moveTo>
                <a:cubicBezTo>
                  <a:pt x="19805030" y="7748008"/>
                  <a:pt x="18872548" y="7914615"/>
                  <a:pt x="18066244" y="7988802"/>
                </a:cubicBezTo>
                <a:moveTo>
                  <a:pt x="24665668" y="6931728"/>
                </a:moveTo>
                <a:lnTo>
                  <a:pt x="24654654" y="6931005"/>
                </a:lnTo>
                <a:moveTo>
                  <a:pt x="18998254" y="6560194"/>
                </a:moveTo>
                <a:cubicBezTo>
                  <a:pt x="17124166" y="6459947"/>
                  <a:pt x="15319918" y="6341672"/>
                  <a:pt x="13443409" y="6196079"/>
                </a:cubicBezTo>
                <a:moveTo>
                  <a:pt x="9275737" y="5436398"/>
                </a:moveTo>
                <a:lnTo>
                  <a:pt x="10227192" y="5498766"/>
                </a:lnTo>
                <a:cubicBezTo>
                  <a:pt x="10417700" y="5511246"/>
                  <a:pt x="10555661" y="5520299"/>
                  <a:pt x="10555661" y="5520299"/>
                </a:cubicBezTo>
                <a:moveTo>
                  <a:pt x="10555676" y="5519796"/>
                </a:moveTo>
                <a:cubicBezTo>
                  <a:pt x="10790220" y="5527168"/>
                  <a:pt x="11036438" y="5551310"/>
                  <a:pt x="11263383" y="5504063"/>
                </a:cubicBezTo>
                <a:moveTo>
                  <a:pt x="24761164" y="5477971"/>
                </a:moveTo>
                <a:lnTo>
                  <a:pt x="24749994" y="5477249"/>
                </a:lnTo>
                <a:moveTo>
                  <a:pt x="15489769" y="4210548"/>
                </a:moveTo>
                <a:cubicBezTo>
                  <a:pt x="14977762" y="4248978"/>
                  <a:pt x="14447096" y="4214194"/>
                  <a:pt x="13896795" y="4316454"/>
                </a:cubicBezTo>
                <a:moveTo>
                  <a:pt x="11840225" y="4608393"/>
                </a:moveTo>
                <a:cubicBezTo>
                  <a:pt x="11840225" y="4608393"/>
                  <a:pt x="11736420" y="4614774"/>
                  <a:pt x="11564650" y="4609163"/>
                </a:cubicBezTo>
                <a:cubicBezTo>
                  <a:pt x="11479032" y="4606365"/>
                  <a:pt x="10623579" y="4550772"/>
                  <a:pt x="10623579" y="4550772"/>
                </a:cubicBezTo>
                <a:moveTo>
                  <a:pt x="17200786" y="4157957"/>
                </a:moveTo>
                <a:cubicBezTo>
                  <a:pt x="16699226" y="4126505"/>
                  <a:pt x="16197666" y="4094112"/>
                  <a:pt x="15695475" y="4064971"/>
                </a:cubicBezTo>
                <a:moveTo>
                  <a:pt x="24792944" y="4993051"/>
                </a:moveTo>
                <a:lnTo>
                  <a:pt x="24781932" y="4992328"/>
                </a:lnTo>
                <a:moveTo>
                  <a:pt x="14311291" y="4099408"/>
                </a:moveTo>
                <a:cubicBezTo>
                  <a:pt x="13919514" y="4133013"/>
                  <a:pt x="13491913" y="4152031"/>
                  <a:pt x="13140600" y="4177934"/>
                </a:cubicBezTo>
                <a:moveTo>
                  <a:pt x="5533323" y="3742335"/>
                </a:moveTo>
                <a:cubicBezTo>
                  <a:pt x="5601697" y="3723757"/>
                  <a:pt x="5708680" y="3742068"/>
                  <a:pt x="5816937" y="3749157"/>
                </a:cubicBezTo>
                <a:lnTo>
                  <a:pt x="6803413" y="3813819"/>
                </a:lnTo>
                <a:moveTo>
                  <a:pt x="17402166" y="8385657"/>
                </a:moveTo>
                <a:cubicBezTo>
                  <a:pt x="16570374" y="8400321"/>
                  <a:pt x="15721277" y="8344665"/>
                  <a:pt x="14871708" y="8200471"/>
                </a:cubicBezTo>
                <a:moveTo>
                  <a:pt x="21113996" y="7756165"/>
                </a:moveTo>
                <a:cubicBezTo>
                  <a:pt x="20895784" y="7806320"/>
                  <a:pt x="20741758" y="7839045"/>
                  <a:pt x="20402560" y="7924564"/>
                </a:cubicBezTo>
                <a:moveTo>
                  <a:pt x="24729384" y="5962405"/>
                </a:moveTo>
                <a:lnTo>
                  <a:pt x="24718214" y="5961666"/>
                </a:lnTo>
                <a:moveTo>
                  <a:pt x="12251605" y="4868284"/>
                </a:moveTo>
                <a:cubicBezTo>
                  <a:pt x="12003735" y="4901448"/>
                  <a:pt x="11785333" y="4981231"/>
                  <a:pt x="11549373" y="5027865"/>
                </a:cubicBezTo>
                <a:moveTo>
                  <a:pt x="4229596" y="3720409"/>
                </a:moveTo>
                <a:cubicBezTo>
                  <a:pt x="4780038" y="3721666"/>
                  <a:pt x="5123044" y="3367736"/>
                  <a:pt x="5592446" y="3263937"/>
                </a:cubicBezTo>
                <a:moveTo>
                  <a:pt x="1697927" y="2992635"/>
                </a:moveTo>
                <a:lnTo>
                  <a:pt x="2684403" y="3057297"/>
                </a:lnTo>
                <a:cubicBezTo>
                  <a:pt x="2848904" y="3068080"/>
                  <a:pt x="2903450" y="3081534"/>
                  <a:pt x="2938046" y="3090399"/>
                </a:cubicBezTo>
                <a:moveTo>
                  <a:pt x="24824882" y="4508602"/>
                </a:moveTo>
                <a:lnTo>
                  <a:pt x="24813712" y="4507879"/>
                </a:lnTo>
                <a:moveTo>
                  <a:pt x="24888442" y="3539279"/>
                </a:moveTo>
                <a:lnTo>
                  <a:pt x="24877430" y="3538556"/>
                </a:lnTo>
                <a:moveTo>
                  <a:pt x="24920380" y="3054405"/>
                </a:moveTo>
                <a:lnTo>
                  <a:pt x="24909210" y="3053682"/>
                </a:lnTo>
                <a:moveTo>
                  <a:pt x="24984098" y="2085067"/>
                </a:moveTo>
                <a:lnTo>
                  <a:pt x="24972926" y="2084328"/>
                </a:lnTo>
              </a:path>
            </a:pathLst>
          </a:custGeom>
          <a:noFill/>
          <a:ln w="50800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" name="Прямоугольник с двумя скругленными соседними углами 1">
            <a:extLst>
              <a:ext uri="{FF2B5EF4-FFF2-40B4-BE49-F238E27FC236}">
                <a16:creationId xmlns:a16="http://schemas.microsoft.com/office/drawing/2014/main" id="{D14AB6AF-FA24-2897-A6B0-51568448997D}"/>
              </a:ext>
            </a:extLst>
          </p:cNvPr>
          <p:cNvSpPr/>
          <p:nvPr userDrawn="1"/>
        </p:nvSpPr>
        <p:spPr>
          <a:xfrm rot="16200000">
            <a:off x="11780856" y="-330904"/>
            <a:ext cx="13715999" cy="14377805"/>
          </a:xfrm>
          <a:prstGeom prst="round2SameRect">
            <a:avLst>
              <a:gd name="adj1" fmla="val 10785"/>
              <a:gd name="adj2" fmla="val 0"/>
            </a:avLst>
          </a:prstGeom>
          <a:solidFill>
            <a:schemeClr val="accent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sp>
        <p:nvSpPr>
          <p:cNvPr id="21" name="Заголовок 20">
            <a:extLst>
              <a:ext uri="{FF2B5EF4-FFF2-40B4-BE49-F238E27FC236}">
                <a16:creationId xmlns:a16="http://schemas.microsoft.com/office/drawing/2014/main" id="{7436C6E8-2BF2-A7DD-A6E8-F7A22E55E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2338" y="2896152"/>
            <a:ext cx="9082271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4" name="Текст 11">
            <a:extLst>
              <a:ext uri="{FF2B5EF4-FFF2-40B4-BE49-F238E27FC236}">
                <a16:creationId xmlns:a16="http://schemas.microsoft.com/office/drawing/2014/main" id="{FB35FDBA-707E-E9DF-589B-D71AF7CBF8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477138" y="2896152"/>
            <a:ext cx="9419476" cy="88639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20000" indent="-720000" algn="l" defTabSz="1828595" rtl="0" eaLnBrk="1" latinLnBrk="0" hangingPunct="1">
              <a:lnSpc>
                <a:spcPct val="90000"/>
              </a:lnSpc>
              <a:spcAft>
                <a:spcPts val="5000"/>
              </a:spcAft>
              <a:buClr>
                <a:srgbClr val="2D65F4"/>
              </a:buClr>
              <a:buSzPct val="100000"/>
              <a:buFont typeface="+mj-lt"/>
              <a:buAutoNum type="arabicPeriod"/>
              <a:defRPr lang="ru-RU" sz="3200" kern="1200" dirty="0">
                <a:solidFill>
                  <a:schemeClr val="tx1"/>
                </a:solidFill>
                <a:latin typeface="YS Text Regular" pitchFamily="2" charset="77"/>
                <a:ea typeface="YS Text Wide Text Regular" pitchFamily="34" charset="-122"/>
                <a:cs typeface="YS Text Wide Text Regular" pitchFamily="34" charset="-12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291246881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ичи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Заголовок 20">
            <a:extLst>
              <a:ext uri="{FF2B5EF4-FFF2-40B4-BE49-F238E27FC236}">
                <a16:creationId xmlns:a16="http://schemas.microsoft.com/office/drawing/2014/main" id="{7436C6E8-2BF2-A7DD-A6E8-F7A22E55E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2338" y="791369"/>
            <a:ext cx="21029613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Прямоугольник: скругленные углы 9">
            <a:extLst>
              <a:ext uri="{FF2B5EF4-FFF2-40B4-BE49-F238E27FC236}">
                <a16:creationId xmlns:a16="http://schemas.microsoft.com/office/drawing/2014/main" id="{F2BCE7DE-C7F3-4DAA-DBDC-B4C5EAD50858}"/>
              </a:ext>
            </a:extLst>
          </p:cNvPr>
          <p:cNvSpPr/>
          <p:nvPr userDrawn="1"/>
        </p:nvSpPr>
        <p:spPr>
          <a:xfrm>
            <a:off x="922338" y="4167008"/>
            <a:ext cx="5312560" cy="7297878"/>
          </a:xfrm>
          <a:prstGeom prst="roundRect">
            <a:avLst>
              <a:gd name="adj" fmla="val 9707"/>
            </a:avLst>
          </a:prstGeom>
          <a:solidFill>
            <a:srgbClr val="FFFFFF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216000" rtlCol="0" anchor="t" anchorCtr="0"/>
          <a:lstStyle/>
          <a:p>
            <a:pPr marL="19049">
              <a:spcBef>
                <a:spcPts val="6666"/>
              </a:spcBef>
              <a:buSzPct val="90000"/>
            </a:pPr>
            <a:endParaRPr lang="ru-RU" sz="4000" b="1" dirty="0">
              <a:solidFill>
                <a:schemeClr val="tx1"/>
              </a:solidFill>
              <a:latin typeface="YS Text Bold" pitchFamily="2" charset="0"/>
              <a:ea typeface="YS Text Wide Text Regular" pitchFamily="34" charset="-122"/>
              <a:cs typeface="YS Text Bold" pitchFamily="2" charset="0"/>
            </a:endParaRPr>
          </a:p>
        </p:txBody>
      </p:sp>
      <p:sp>
        <p:nvSpPr>
          <p:cNvPr id="5" name="Прямоугольник: скругленные углы 9">
            <a:extLst>
              <a:ext uri="{FF2B5EF4-FFF2-40B4-BE49-F238E27FC236}">
                <a16:creationId xmlns:a16="http://schemas.microsoft.com/office/drawing/2014/main" id="{26995F7A-F5D3-202C-9F0D-E6A2983F3B84}"/>
              </a:ext>
            </a:extLst>
          </p:cNvPr>
          <p:cNvSpPr/>
          <p:nvPr userDrawn="1"/>
        </p:nvSpPr>
        <p:spPr>
          <a:xfrm>
            <a:off x="6664064" y="4167008"/>
            <a:ext cx="5312560" cy="7297878"/>
          </a:xfrm>
          <a:prstGeom prst="roundRect">
            <a:avLst>
              <a:gd name="adj" fmla="val 9707"/>
            </a:avLst>
          </a:prstGeom>
          <a:solidFill>
            <a:srgbClr val="FFFFFF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216000" rtlCol="0" anchor="t" anchorCtr="0"/>
          <a:lstStyle/>
          <a:p>
            <a:pPr marL="19049">
              <a:spcBef>
                <a:spcPts val="6666"/>
              </a:spcBef>
              <a:buSzPct val="90000"/>
            </a:pPr>
            <a:endParaRPr lang="ru-RU" sz="4000" b="1" dirty="0">
              <a:solidFill>
                <a:schemeClr val="tx1"/>
              </a:solidFill>
              <a:latin typeface="YS Text Bold" pitchFamily="2" charset="0"/>
              <a:ea typeface="YS Text Wide Text Regular" pitchFamily="34" charset="-122"/>
              <a:cs typeface="YS Text Bold" pitchFamily="2" charset="0"/>
            </a:endParaRPr>
          </a:p>
        </p:txBody>
      </p:sp>
      <p:sp>
        <p:nvSpPr>
          <p:cNvPr id="9" name="Прямоугольник: скругленные углы 9">
            <a:extLst>
              <a:ext uri="{FF2B5EF4-FFF2-40B4-BE49-F238E27FC236}">
                <a16:creationId xmlns:a16="http://schemas.microsoft.com/office/drawing/2014/main" id="{496E7C6D-920D-F87E-58FA-48AA24689AB0}"/>
              </a:ext>
            </a:extLst>
          </p:cNvPr>
          <p:cNvSpPr/>
          <p:nvPr userDrawn="1"/>
        </p:nvSpPr>
        <p:spPr>
          <a:xfrm>
            <a:off x="12405789" y="4167008"/>
            <a:ext cx="5312560" cy="7297878"/>
          </a:xfrm>
          <a:prstGeom prst="roundRect">
            <a:avLst>
              <a:gd name="adj" fmla="val 9707"/>
            </a:avLst>
          </a:prstGeom>
          <a:solidFill>
            <a:srgbClr val="FFFFFF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216000" rtlCol="0" anchor="t" anchorCtr="0"/>
          <a:lstStyle/>
          <a:p>
            <a:pPr marL="19049">
              <a:spcBef>
                <a:spcPts val="6666"/>
              </a:spcBef>
              <a:buSzPct val="90000"/>
            </a:pPr>
            <a:endParaRPr lang="ru-RU" sz="4000" b="1" dirty="0">
              <a:solidFill>
                <a:schemeClr val="tx1"/>
              </a:solidFill>
              <a:latin typeface="YS Text Bold" pitchFamily="2" charset="0"/>
              <a:ea typeface="YS Text Wide Text Regular" pitchFamily="34" charset="-122"/>
              <a:cs typeface="YS Text Bold" pitchFamily="2" charset="0"/>
            </a:endParaRPr>
          </a:p>
        </p:txBody>
      </p:sp>
      <p:sp>
        <p:nvSpPr>
          <p:cNvPr id="11" name="Прямоугольник: скругленные углы 9">
            <a:extLst>
              <a:ext uri="{FF2B5EF4-FFF2-40B4-BE49-F238E27FC236}">
                <a16:creationId xmlns:a16="http://schemas.microsoft.com/office/drawing/2014/main" id="{93752896-A8BD-ED92-9EE0-2610A437C61D}"/>
              </a:ext>
            </a:extLst>
          </p:cNvPr>
          <p:cNvSpPr/>
          <p:nvPr userDrawn="1"/>
        </p:nvSpPr>
        <p:spPr>
          <a:xfrm>
            <a:off x="18147515" y="4167008"/>
            <a:ext cx="5312560" cy="7297878"/>
          </a:xfrm>
          <a:prstGeom prst="roundRect">
            <a:avLst>
              <a:gd name="adj" fmla="val 9707"/>
            </a:avLst>
          </a:prstGeom>
          <a:solidFill>
            <a:srgbClr val="FFFFFF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216000" rtlCol="0" anchor="t" anchorCtr="0"/>
          <a:lstStyle/>
          <a:p>
            <a:pPr marL="19049">
              <a:spcBef>
                <a:spcPts val="6666"/>
              </a:spcBef>
              <a:buSzPct val="90000"/>
            </a:pPr>
            <a:endParaRPr lang="ru-RU" sz="4000" b="1" dirty="0">
              <a:solidFill>
                <a:schemeClr val="tx1"/>
              </a:solidFill>
              <a:latin typeface="YS Text Bold" pitchFamily="2" charset="0"/>
              <a:ea typeface="YS Text Wide Text Regular" pitchFamily="34" charset="-122"/>
              <a:cs typeface="YS Text Bold" pitchFamily="2" charset="0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0B5DD7B7-D74A-DCA7-1664-C6D4D552E8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7294" y="12405403"/>
            <a:ext cx="1752600" cy="1612900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6D06A438-3294-83DB-4466-2B9B1D473DA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18349" y="-771525"/>
            <a:ext cx="2794000" cy="2794000"/>
          </a:xfrm>
          <a:prstGeom prst="rect">
            <a:avLst/>
          </a:prstGeom>
        </p:spPr>
      </p:pic>
      <p:sp>
        <p:nvSpPr>
          <p:cNvPr id="23" name="Текст 11">
            <a:extLst>
              <a:ext uri="{FF2B5EF4-FFF2-40B4-BE49-F238E27FC236}">
                <a16:creationId xmlns:a16="http://schemas.microsoft.com/office/drawing/2014/main" id="{F2D49195-EA69-67E7-7AD3-533861B378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66473" y="4746982"/>
            <a:ext cx="4604714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tx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ение </a:t>
            </a:r>
            <a:br>
              <a:rPr lang="ru-RU" dirty="0"/>
            </a:br>
            <a:r>
              <a:rPr lang="ru-RU" dirty="0"/>
              <a:t>к заголовку</a:t>
            </a:r>
          </a:p>
        </p:txBody>
      </p:sp>
      <p:sp>
        <p:nvSpPr>
          <p:cNvPr id="24" name="Текст 11">
            <a:extLst>
              <a:ext uri="{FF2B5EF4-FFF2-40B4-BE49-F238E27FC236}">
                <a16:creationId xmlns:a16="http://schemas.microsoft.com/office/drawing/2014/main" id="{70702BF6-173C-1586-E20D-50323BB2CC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08199" y="4746982"/>
            <a:ext cx="4604714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tx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ение </a:t>
            </a:r>
            <a:br>
              <a:rPr lang="ru-RU" dirty="0"/>
            </a:br>
            <a:r>
              <a:rPr lang="ru-RU" dirty="0"/>
              <a:t>к заголовку</a:t>
            </a:r>
          </a:p>
        </p:txBody>
      </p:sp>
      <p:sp>
        <p:nvSpPr>
          <p:cNvPr id="25" name="Текст 11">
            <a:extLst>
              <a:ext uri="{FF2B5EF4-FFF2-40B4-BE49-F238E27FC236}">
                <a16:creationId xmlns:a16="http://schemas.microsoft.com/office/drawing/2014/main" id="{A028BE4C-D99C-9CE6-E671-996E1AA907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849924" y="4746982"/>
            <a:ext cx="4604714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tx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ение </a:t>
            </a:r>
            <a:br>
              <a:rPr lang="ru-RU" dirty="0"/>
            </a:br>
            <a:r>
              <a:rPr lang="ru-RU" dirty="0"/>
              <a:t>к заголовку</a:t>
            </a:r>
          </a:p>
        </p:txBody>
      </p:sp>
      <p:sp>
        <p:nvSpPr>
          <p:cNvPr id="27" name="Текст 11">
            <a:extLst>
              <a:ext uri="{FF2B5EF4-FFF2-40B4-BE49-F238E27FC236}">
                <a16:creationId xmlns:a16="http://schemas.microsoft.com/office/drawing/2014/main" id="{650B56F1-CDCD-13DB-8511-BA9D66D31E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591650" y="4746982"/>
            <a:ext cx="4604714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tx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ение </a:t>
            </a:r>
            <a:br>
              <a:rPr lang="ru-RU" dirty="0"/>
            </a:br>
            <a:r>
              <a:rPr lang="ru-RU" dirty="0"/>
              <a:t>к заголовку</a:t>
            </a:r>
          </a:p>
        </p:txBody>
      </p:sp>
      <p:sp>
        <p:nvSpPr>
          <p:cNvPr id="29" name="Текст 11">
            <a:extLst>
              <a:ext uri="{FF2B5EF4-FFF2-40B4-BE49-F238E27FC236}">
                <a16:creationId xmlns:a16="http://schemas.microsoft.com/office/drawing/2014/main" id="{D3FDC6F5-D297-9813-B775-158D71261F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08199" y="10256296"/>
            <a:ext cx="4604714" cy="72019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sp>
        <p:nvSpPr>
          <p:cNvPr id="32" name="Текст 11">
            <a:extLst>
              <a:ext uri="{FF2B5EF4-FFF2-40B4-BE49-F238E27FC236}">
                <a16:creationId xmlns:a16="http://schemas.microsoft.com/office/drawing/2014/main" id="{3F45A190-3C5D-7694-5824-A669309506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66473" y="10256296"/>
            <a:ext cx="4604714" cy="72019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sp>
        <p:nvSpPr>
          <p:cNvPr id="33" name="Текст 11">
            <a:extLst>
              <a:ext uri="{FF2B5EF4-FFF2-40B4-BE49-F238E27FC236}">
                <a16:creationId xmlns:a16="http://schemas.microsoft.com/office/drawing/2014/main" id="{ADEFD54D-2B9B-B2AB-4E85-ABEB7D5A9E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849924" y="10256296"/>
            <a:ext cx="4604714" cy="72019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sp>
        <p:nvSpPr>
          <p:cNvPr id="34" name="Текст 11">
            <a:extLst>
              <a:ext uri="{FF2B5EF4-FFF2-40B4-BE49-F238E27FC236}">
                <a16:creationId xmlns:a16="http://schemas.microsoft.com/office/drawing/2014/main" id="{015E4653-7403-7CA6-0EBE-92010CEAB5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591650" y="10256296"/>
            <a:ext cx="4604714" cy="72019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</p:spTree>
    <p:extLst>
      <p:ext uri="{BB962C8B-B14F-4D97-AF65-F5344CB8AC3E}">
        <p14:creationId xmlns:p14="http://schemas.microsoft.com/office/powerpoint/2010/main" val="198104306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фичи и акцент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Заголовок 20">
            <a:extLst>
              <a:ext uri="{FF2B5EF4-FFF2-40B4-BE49-F238E27FC236}">
                <a16:creationId xmlns:a16="http://schemas.microsoft.com/office/drawing/2014/main" id="{7436C6E8-2BF2-A7DD-A6E8-F7A22E55E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2338" y="791369"/>
            <a:ext cx="21029613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dirty="0"/>
            </a:lvl1pPr>
          </a:lstStyle>
          <a:p>
            <a:pPr lvl="0">
              <a:lnSpc>
                <a:spcPct val="90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Прямоугольник: скругленные углы 9">
            <a:extLst>
              <a:ext uri="{FF2B5EF4-FFF2-40B4-BE49-F238E27FC236}">
                <a16:creationId xmlns:a16="http://schemas.microsoft.com/office/drawing/2014/main" id="{F2BCE7DE-C7F3-4DAA-DBDC-B4C5EAD50858}"/>
              </a:ext>
            </a:extLst>
          </p:cNvPr>
          <p:cNvSpPr/>
          <p:nvPr userDrawn="1"/>
        </p:nvSpPr>
        <p:spPr>
          <a:xfrm>
            <a:off x="922338" y="4167008"/>
            <a:ext cx="5312560" cy="7297878"/>
          </a:xfrm>
          <a:prstGeom prst="roundRect">
            <a:avLst>
              <a:gd name="adj" fmla="val 9707"/>
            </a:avLst>
          </a:prstGeom>
          <a:solidFill>
            <a:srgbClr val="FFFFFF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216000" rtlCol="0" anchor="t" anchorCtr="0"/>
          <a:lstStyle/>
          <a:p>
            <a:pPr marL="19049">
              <a:spcBef>
                <a:spcPts val="6666"/>
              </a:spcBef>
              <a:buSzPct val="90000"/>
            </a:pPr>
            <a:endParaRPr lang="ru-RU" sz="4000" b="1" dirty="0">
              <a:solidFill>
                <a:schemeClr val="tx1"/>
              </a:solidFill>
              <a:latin typeface="YS Text Bold" pitchFamily="2" charset="0"/>
              <a:ea typeface="YS Text Wide Text Regular" pitchFamily="34" charset="-122"/>
              <a:cs typeface="YS Text Bold" pitchFamily="2" charset="0"/>
            </a:endParaRPr>
          </a:p>
        </p:txBody>
      </p:sp>
      <p:sp>
        <p:nvSpPr>
          <p:cNvPr id="5" name="Прямоугольник: скругленные углы 9">
            <a:extLst>
              <a:ext uri="{FF2B5EF4-FFF2-40B4-BE49-F238E27FC236}">
                <a16:creationId xmlns:a16="http://schemas.microsoft.com/office/drawing/2014/main" id="{26995F7A-F5D3-202C-9F0D-E6A2983F3B84}"/>
              </a:ext>
            </a:extLst>
          </p:cNvPr>
          <p:cNvSpPr/>
          <p:nvPr userDrawn="1"/>
        </p:nvSpPr>
        <p:spPr>
          <a:xfrm>
            <a:off x="6664064" y="4167008"/>
            <a:ext cx="5312560" cy="7297878"/>
          </a:xfrm>
          <a:prstGeom prst="roundRect">
            <a:avLst>
              <a:gd name="adj" fmla="val 9707"/>
            </a:avLst>
          </a:prstGeom>
          <a:solidFill>
            <a:srgbClr val="FFFFFF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216000" rtlCol="0" anchor="t" anchorCtr="0"/>
          <a:lstStyle/>
          <a:p>
            <a:pPr marL="19049">
              <a:spcBef>
                <a:spcPts val="6666"/>
              </a:spcBef>
              <a:buSzPct val="90000"/>
            </a:pPr>
            <a:endParaRPr lang="ru-RU" sz="4000" b="1" dirty="0">
              <a:solidFill>
                <a:schemeClr val="tx1"/>
              </a:solidFill>
              <a:latin typeface="YS Text Bold" pitchFamily="2" charset="0"/>
              <a:ea typeface="YS Text Wide Text Regular" pitchFamily="34" charset="-122"/>
              <a:cs typeface="YS Text Bold" pitchFamily="2" charset="0"/>
            </a:endParaRPr>
          </a:p>
        </p:txBody>
      </p:sp>
      <p:sp>
        <p:nvSpPr>
          <p:cNvPr id="9" name="Прямоугольник: скругленные углы 9">
            <a:extLst>
              <a:ext uri="{FF2B5EF4-FFF2-40B4-BE49-F238E27FC236}">
                <a16:creationId xmlns:a16="http://schemas.microsoft.com/office/drawing/2014/main" id="{496E7C6D-920D-F87E-58FA-48AA24689AB0}"/>
              </a:ext>
            </a:extLst>
          </p:cNvPr>
          <p:cNvSpPr/>
          <p:nvPr userDrawn="1"/>
        </p:nvSpPr>
        <p:spPr>
          <a:xfrm>
            <a:off x="12405789" y="4167008"/>
            <a:ext cx="5312560" cy="7297878"/>
          </a:xfrm>
          <a:prstGeom prst="roundRect">
            <a:avLst>
              <a:gd name="adj" fmla="val 9707"/>
            </a:avLst>
          </a:prstGeom>
          <a:solidFill>
            <a:srgbClr val="FFFFFF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216000" rtlCol="0" anchor="t" anchorCtr="0"/>
          <a:lstStyle/>
          <a:p>
            <a:pPr marL="19049">
              <a:spcBef>
                <a:spcPts val="6666"/>
              </a:spcBef>
              <a:buSzPct val="90000"/>
            </a:pPr>
            <a:endParaRPr lang="ru-RU" sz="4000" b="1" dirty="0">
              <a:solidFill>
                <a:schemeClr val="tx1"/>
              </a:solidFill>
              <a:latin typeface="YS Text Bold" pitchFamily="2" charset="0"/>
              <a:ea typeface="YS Text Wide Text Regular" pitchFamily="34" charset="-122"/>
              <a:cs typeface="YS Text Bold" pitchFamily="2" charset="0"/>
            </a:endParaRPr>
          </a:p>
        </p:txBody>
      </p:sp>
      <p:sp>
        <p:nvSpPr>
          <p:cNvPr id="23" name="Текст 11">
            <a:extLst>
              <a:ext uri="{FF2B5EF4-FFF2-40B4-BE49-F238E27FC236}">
                <a16:creationId xmlns:a16="http://schemas.microsoft.com/office/drawing/2014/main" id="{F2D49195-EA69-67E7-7AD3-533861B378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66473" y="4746982"/>
            <a:ext cx="4604714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tx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ение </a:t>
            </a:r>
            <a:br>
              <a:rPr lang="ru-RU" dirty="0"/>
            </a:br>
            <a:r>
              <a:rPr lang="ru-RU" dirty="0"/>
              <a:t>к заголовку</a:t>
            </a:r>
          </a:p>
        </p:txBody>
      </p:sp>
      <p:sp>
        <p:nvSpPr>
          <p:cNvPr id="24" name="Текст 11">
            <a:extLst>
              <a:ext uri="{FF2B5EF4-FFF2-40B4-BE49-F238E27FC236}">
                <a16:creationId xmlns:a16="http://schemas.microsoft.com/office/drawing/2014/main" id="{70702BF6-173C-1586-E20D-50323BB2CC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08199" y="4746982"/>
            <a:ext cx="4604714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tx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ение </a:t>
            </a:r>
            <a:br>
              <a:rPr lang="ru-RU" dirty="0"/>
            </a:br>
            <a:r>
              <a:rPr lang="ru-RU" dirty="0"/>
              <a:t>к заголовку</a:t>
            </a:r>
          </a:p>
        </p:txBody>
      </p:sp>
      <p:sp>
        <p:nvSpPr>
          <p:cNvPr id="25" name="Текст 11">
            <a:extLst>
              <a:ext uri="{FF2B5EF4-FFF2-40B4-BE49-F238E27FC236}">
                <a16:creationId xmlns:a16="http://schemas.microsoft.com/office/drawing/2014/main" id="{A028BE4C-D99C-9CE6-E671-996E1AA907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849924" y="4746982"/>
            <a:ext cx="4604714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tx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ение </a:t>
            </a:r>
            <a:br>
              <a:rPr lang="ru-RU" dirty="0"/>
            </a:br>
            <a:r>
              <a:rPr lang="ru-RU" dirty="0"/>
              <a:t>к заголовку</a:t>
            </a:r>
          </a:p>
        </p:txBody>
      </p:sp>
      <p:sp>
        <p:nvSpPr>
          <p:cNvPr id="29" name="Текст 11">
            <a:extLst>
              <a:ext uri="{FF2B5EF4-FFF2-40B4-BE49-F238E27FC236}">
                <a16:creationId xmlns:a16="http://schemas.microsoft.com/office/drawing/2014/main" id="{D3FDC6F5-D297-9813-B775-158D71261F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08199" y="10256296"/>
            <a:ext cx="4604714" cy="72019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sp>
        <p:nvSpPr>
          <p:cNvPr id="32" name="Текст 11">
            <a:extLst>
              <a:ext uri="{FF2B5EF4-FFF2-40B4-BE49-F238E27FC236}">
                <a16:creationId xmlns:a16="http://schemas.microsoft.com/office/drawing/2014/main" id="{3F45A190-3C5D-7694-5824-A669309506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66473" y="10256296"/>
            <a:ext cx="4604714" cy="72019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sp>
        <p:nvSpPr>
          <p:cNvPr id="33" name="Текст 11">
            <a:extLst>
              <a:ext uri="{FF2B5EF4-FFF2-40B4-BE49-F238E27FC236}">
                <a16:creationId xmlns:a16="http://schemas.microsoft.com/office/drawing/2014/main" id="{ADEFD54D-2B9B-B2AB-4E85-ABEB7D5A9E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849924" y="10256296"/>
            <a:ext cx="4604714" cy="72019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7A296B6C-9BBF-C904-E652-03288A3750D9}"/>
              </a:ext>
            </a:extLst>
          </p:cNvPr>
          <p:cNvSpPr/>
          <p:nvPr userDrawn="1"/>
        </p:nvSpPr>
        <p:spPr>
          <a:xfrm rot="240000">
            <a:off x="17296330" y="3578005"/>
            <a:ext cx="6170889" cy="8476968"/>
          </a:xfrm>
          <a:prstGeom prst="roundRect">
            <a:avLst>
              <a:gd name="adj" fmla="val 9471"/>
            </a:avLst>
          </a:prstGeom>
          <a:gradFill>
            <a:gsLst>
              <a:gs pos="0">
                <a:srgbClr val="FFC4FF"/>
              </a:gs>
              <a:gs pos="100000">
                <a:srgbClr val="A9FDFF"/>
              </a:gs>
            </a:gsLst>
            <a:lin ang="17400000" scaled="0"/>
          </a:gradFill>
          <a:ln w="19050">
            <a:noFill/>
          </a:ln>
          <a:effectLst>
            <a:outerShdw blurRad="635000" dist="228600" dir="8100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tIns="432000" rIns="90000" bIns="216000" rtlCol="0" anchor="t" anchorCtr="0"/>
          <a:lstStyle/>
          <a:p>
            <a:pPr marL="19049" marR="0" lvl="0" indent="0" algn="l" defTabSz="1828595" rtl="0" eaLnBrk="1" fontAlgn="auto" latinLnBrk="0" hangingPunct="1">
              <a:lnSpc>
                <a:spcPct val="100000"/>
              </a:lnSpc>
              <a:spcBef>
                <a:spcPts val="6666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endParaRPr kumimoji="0" lang="ru-RU" sz="4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YS Text Bold" pitchFamily="2" charset="0"/>
              <a:ea typeface="YS Text Wide Text Regular" pitchFamily="34" charset="-122"/>
              <a:cs typeface="YS Text Bold" pitchFamily="2" charset="0"/>
            </a:endParaRPr>
          </a:p>
        </p:txBody>
      </p:sp>
      <p:sp>
        <p:nvSpPr>
          <p:cNvPr id="7" name="Текст 11">
            <a:extLst>
              <a:ext uri="{FF2B5EF4-FFF2-40B4-BE49-F238E27FC236}">
                <a16:creationId xmlns:a16="http://schemas.microsoft.com/office/drawing/2014/main" id="{4ABB0DF0-7307-4DD9-3BD2-BD9D2D095F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rot="234730">
            <a:off x="18079417" y="4334731"/>
            <a:ext cx="4604714" cy="1329595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800" b="1" kern="1200" dirty="0">
                <a:solidFill>
                  <a:schemeClr val="tx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ение </a:t>
            </a:r>
            <a:br>
              <a:rPr lang="ru-RU" dirty="0"/>
            </a:br>
            <a:r>
              <a:rPr lang="ru-RU" dirty="0"/>
              <a:t>к заголовку</a:t>
            </a:r>
          </a:p>
        </p:txBody>
      </p:sp>
      <p:sp>
        <p:nvSpPr>
          <p:cNvPr id="8" name="Текст 11">
            <a:extLst>
              <a:ext uri="{FF2B5EF4-FFF2-40B4-BE49-F238E27FC236}">
                <a16:creationId xmlns:a16="http://schemas.microsoft.com/office/drawing/2014/main" id="{36C2D893-BD28-40BA-272F-0D4F468C16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rot="234730">
            <a:off x="17677071" y="10601880"/>
            <a:ext cx="5083528" cy="886397"/>
          </a:xfrm>
          <a:prstGeom prst="rect">
            <a:avLst/>
          </a:prstGeom>
        </p:spPr>
        <p:txBody>
          <a:bodyPr wrap="none" lIns="0" tIns="0" rIns="0" bIns="0" anchor="b">
            <a:no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3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1078D64B-24C7-E8E8-32F6-0723C4C530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594788">
            <a:off x="16605843" y="7793505"/>
            <a:ext cx="1265573" cy="1641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22737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блока текста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Заголовок 20">
            <a:extLst>
              <a:ext uri="{FF2B5EF4-FFF2-40B4-BE49-F238E27FC236}">
                <a16:creationId xmlns:a16="http://schemas.microsoft.com/office/drawing/2014/main" id="{7436C6E8-2BF2-A7DD-A6E8-F7A22E55E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2338" y="791369"/>
            <a:ext cx="21029613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dirty="0"/>
            </a:lvl1pPr>
          </a:lstStyle>
          <a:p>
            <a:pPr lvl="0">
              <a:lnSpc>
                <a:spcPct val="90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6" name="Прямоугольник: скругленные углы 9">
            <a:extLst>
              <a:ext uri="{FF2B5EF4-FFF2-40B4-BE49-F238E27FC236}">
                <a16:creationId xmlns:a16="http://schemas.microsoft.com/office/drawing/2014/main" id="{E4595022-7551-2D14-E503-D582D19F34F3}"/>
              </a:ext>
            </a:extLst>
          </p:cNvPr>
          <p:cNvSpPr/>
          <p:nvPr userDrawn="1"/>
        </p:nvSpPr>
        <p:spPr>
          <a:xfrm>
            <a:off x="922337" y="3474858"/>
            <a:ext cx="10831372" cy="4405492"/>
          </a:xfrm>
          <a:prstGeom prst="roundRect">
            <a:avLst>
              <a:gd name="adj" fmla="val 9707"/>
            </a:avLst>
          </a:prstGeom>
          <a:solidFill>
            <a:srgbClr val="FFFFFF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216000" rtlCol="0" anchor="t" anchorCtr="0"/>
          <a:lstStyle/>
          <a:p>
            <a:pPr marL="19049">
              <a:spcBef>
                <a:spcPts val="6666"/>
              </a:spcBef>
              <a:buSzPct val="90000"/>
            </a:pPr>
            <a:endParaRPr lang="ru-RU" sz="4000" b="1" dirty="0">
              <a:solidFill>
                <a:schemeClr val="tx1"/>
              </a:solidFill>
              <a:latin typeface="YS Text Bold" pitchFamily="2" charset="0"/>
              <a:ea typeface="YS Text Wide Text Regular" pitchFamily="34" charset="-122"/>
              <a:cs typeface="YS Text Bold" pitchFamily="2" charset="0"/>
            </a:endParaRPr>
          </a:p>
        </p:txBody>
      </p:sp>
      <p:sp>
        <p:nvSpPr>
          <p:cNvPr id="11" name="Прямоугольник: скругленные углы 9">
            <a:extLst>
              <a:ext uri="{FF2B5EF4-FFF2-40B4-BE49-F238E27FC236}">
                <a16:creationId xmlns:a16="http://schemas.microsoft.com/office/drawing/2014/main" id="{3C9CCD0B-8BAC-F36E-6EA4-9897E2D3163F}"/>
              </a:ext>
            </a:extLst>
          </p:cNvPr>
          <p:cNvSpPr/>
          <p:nvPr userDrawn="1"/>
        </p:nvSpPr>
        <p:spPr>
          <a:xfrm>
            <a:off x="12628702" y="3474858"/>
            <a:ext cx="10831372" cy="4405492"/>
          </a:xfrm>
          <a:prstGeom prst="roundRect">
            <a:avLst>
              <a:gd name="adj" fmla="val 9707"/>
            </a:avLst>
          </a:prstGeom>
          <a:solidFill>
            <a:srgbClr val="FFFFFF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216000" rtlCol="0" anchor="t" anchorCtr="0"/>
          <a:lstStyle/>
          <a:p>
            <a:pPr marL="19049">
              <a:spcBef>
                <a:spcPts val="6666"/>
              </a:spcBef>
              <a:buSzPct val="90000"/>
            </a:pPr>
            <a:endParaRPr lang="ru-RU" sz="4000" b="1" dirty="0">
              <a:solidFill>
                <a:schemeClr val="tx1"/>
              </a:solidFill>
              <a:latin typeface="YS Text Bold" pitchFamily="2" charset="0"/>
              <a:ea typeface="YS Text Wide Text Regular" pitchFamily="34" charset="-122"/>
              <a:cs typeface="YS Text Bold" pitchFamily="2" charset="0"/>
            </a:endParaRPr>
          </a:p>
        </p:txBody>
      </p:sp>
      <p:sp>
        <p:nvSpPr>
          <p:cNvPr id="14" name="Прямоугольник: скругленные углы 9">
            <a:extLst>
              <a:ext uri="{FF2B5EF4-FFF2-40B4-BE49-F238E27FC236}">
                <a16:creationId xmlns:a16="http://schemas.microsoft.com/office/drawing/2014/main" id="{98E7A579-1362-B26D-27C5-9101A639D706}"/>
              </a:ext>
            </a:extLst>
          </p:cNvPr>
          <p:cNvSpPr/>
          <p:nvPr userDrawn="1"/>
        </p:nvSpPr>
        <p:spPr>
          <a:xfrm>
            <a:off x="922337" y="8465958"/>
            <a:ext cx="10831372" cy="4405492"/>
          </a:xfrm>
          <a:prstGeom prst="roundRect">
            <a:avLst>
              <a:gd name="adj" fmla="val 9707"/>
            </a:avLst>
          </a:prstGeom>
          <a:solidFill>
            <a:srgbClr val="FFFFFF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216000" rtlCol="0" anchor="t" anchorCtr="0"/>
          <a:lstStyle/>
          <a:p>
            <a:pPr marL="19049">
              <a:spcBef>
                <a:spcPts val="6666"/>
              </a:spcBef>
              <a:buSzPct val="90000"/>
            </a:pPr>
            <a:endParaRPr lang="ru-RU" sz="4000" b="1" dirty="0">
              <a:solidFill>
                <a:schemeClr val="tx1"/>
              </a:solidFill>
              <a:latin typeface="YS Text Bold" pitchFamily="2" charset="0"/>
              <a:ea typeface="YS Text Wide Text Regular" pitchFamily="34" charset="-122"/>
              <a:cs typeface="YS Text Bold" pitchFamily="2" charset="0"/>
            </a:endParaRPr>
          </a:p>
        </p:txBody>
      </p:sp>
      <p:sp>
        <p:nvSpPr>
          <p:cNvPr id="15" name="Прямоугольник: скругленные углы 9">
            <a:extLst>
              <a:ext uri="{FF2B5EF4-FFF2-40B4-BE49-F238E27FC236}">
                <a16:creationId xmlns:a16="http://schemas.microsoft.com/office/drawing/2014/main" id="{4D64360C-B0B1-ECEE-EB4A-68478E926C60}"/>
              </a:ext>
            </a:extLst>
          </p:cNvPr>
          <p:cNvSpPr/>
          <p:nvPr userDrawn="1"/>
        </p:nvSpPr>
        <p:spPr>
          <a:xfrm>
            <a:off x="12628702" y="8465958"/>
            <a:ext cx="10831372" cy="4405492"/>
          </a:xfrm>
          <a:prstGeom prst="roundRect">
            <a:avLst>
              <a:gd name="adj" fmla="val 9707"/>
            </a:avLst>
          </a:prstGeom>
          <a:solidFill>
            <a:srgbClr val="FFFFFF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216000" rtlCol="0" anchor="t" anchorCtr="0"/>
          <a:lstStyle/>
          <a:p>
            <a:pPr marL="19049">
              <a:spcBef>
                <a:spcPts val="6666"/>
              </a:spcBef>
              <a:buSzPct val="90000"/>
            </a:pPr>
            <a:endParaRPr lang="ru-RU" sz="4000" b="1" dirty="0">
              <a:solidFill>
                <a:schemeClr val="tx1"/>
              </a:solidFill>
              <a:latin typeface="YS Text Bold" pitchFamily="2" charset="0"/>
              <a:ea typeface="YS Text Wide Text Regular" pitchFamily="34" charset="-122"/>
              <a:cs typeface="YS Text Bold" pitchFamily="2" charset="0"/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FE7B93C4-2220-197D-864A-976750A375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9885"/>
                    </a14:imgEffect>
                    <a14:imgEffect>
                      <a14:brightnessContrast contrast="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2700" y="12430266"/>
            <a:ext cx="2231450" cy="2053580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CAD337A4-63EF-8E30-25C8-D7EB93EE57B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9885"/>
                    </a14:imgEffect>
                    <a14:imgEffect>
                      <a14:brightnessContrast contrast="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77868" y="355121"/>
            <a:ext cx="2794000" cy="2794000"/>
          </a:xfrm>
          <a:prstGeom prst="rect">
            <a:avLst/>
          </a:prstGeom>
        </p:spPr>
      </p:pic>
      <p:sp>
        <p:nvSpPr>
          <p:cNvPr id="20" name="Текст 11">
            <a:extLst>
              <a:ext uri="{FF2B5EF4-FFF2-40B4-BE49-F238E27FC236}">
                <a16:creationId xmlns:a16="http://schemas.microsoft.com/office/drawing/2014/main" id="{563D73B6-7B75-FBC6-D1F1-758A240585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66473" y="3959330"/>
            <a:ext cx="9893710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tx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ение </a:t>
            </a:r>
            <a:br>
              <a:rPr lang="ru-RU" dirty="0"/>
            </a:br>
            <a:r>
              <a:rPr lang="ru-RU" dirty="0"/>
              <a:t>к заголовку</a:t>
            </a:r>
          </a:p>
        </p:txBody>
      </p:sp>
      <p:sp>
        <p:nvSpPr>
          <p:cNvPr id="26" name="Текст 11">
            <a:extLst>
              <a:ext uri="{FF2B5EF4-FFF2-40B4-BE49-F238E27FC236}">
                <a16:creationId xmlns:a16="http://schemas.microsoft.com/office/drawing/2014/main" id="{C8F467BF-8E54-D4D3-38E4-21EA6DE0D2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66473" y="6780401"/>
            <a:ext cx="9893710" cy="72019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sp>
        <p:nvSpPr>
          <p:cNvPr id="30" name="Текст 11">
            <a:extLst>
              <a:ext uri="{FF2B5EF4-FFF2-40B4-BE49-F238E27FC236}">
                <a16:creationId xmlns:a16="http://schemas.microsoft.com/office/drawing/2014/main" id="{D4282271-0B5B-8E66-8491-E7EA0B3DFD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070793" y="3959330"/>
            <a:ext cx="9893710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tx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ение </a:t>
            </a:r>
            <a:br>
              <a:rPr lang="ru-RU" dirty="0"/>
            </a:br>
            <a:r>
              <a:rPr lang="ru-RU" dirty="0"/>
              <a:t>к заголовку</a:t>
            </a:r>
          </a:p>
        </p:txBody>
      </p:sp>
      <p:sp>
        <p:nvSpPr>
          <p:cNvPr id="31" name="Текст 11">
            <a:extLst>
              <a:ext uri="{FF2B5EF4-FFF2-40B4-BE49-F238E27FC236}">
                <a16:creationId xmlns:a16="http://schemas.microsoft.com/office/drawing/2014/main" id="{8AB30437-1E0E-F79B-0E9A-51C7CAAAF8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070793" y="6780401"/>
            <a:ext cx="9893710" cy="72019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sp>
        <p:nvSpPr>
          <p:cNvPr id="38" name="Текст 11">
            <a:extLst>
              <a:ext uri="{FF2B5EF4-FFF2-40B4-BE49-F238E27FC236}">
                <a16:creationId xmlns:a16="http://schemas.microsoft.com/office/drawing/2014/main" id="{672C6FE4-46A3-571A-C437-85EB45D066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66473" y="8949342"/>
            <a:ext cx="9893710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tx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ение </a:t>
            </a:r>
            <a:br>
              <a:rPr lang="ru-RU" dirty="0"/>
            </a:br>
            <a:r>
              <a:rPr lang="ru-RU" dirty="0"/>
              <a:t>к заголовку</a:t>
            </a:r>
          </a:p>
        </p:txBody>
      </p:sp>
      <p:sp>
        <p:nvSpPr>
          <p:cNvPr id="39" name="Текст 11">
            <a:extLst>
              <a:ext uri="{FF2B5EF4-FFF2-40B4-BE49-F238E27FC236}">
                <a16:creationId xmlns:a16="http://schemas.microsoft.com/office/drawing/2014/main" id="{0DAB328C-A31C-14E3-6BE8-D60C5913594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66473" y="11770413"/>
            <a:ext cx="9893710" cy="72019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sp>
        <p:nvSpPr>
          <p:cNvPr id="40" name="Текст 11">
            <a:extLst>
              <a:ext uri="{FF2B5EF4-FFF2-40B4-BE49-F238E27FC236}">
                <a16:creationId xmlns:a16="http://schemas.microsoft.com/office/drawing/2014/main" id="{A3A33BF0-9BA9-DF16-6D9E-6290C2C0C9B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070793" y="8949342"/>
            <a:ext cx="9893710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tx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ение </a:t>
            </a:r>
            <a:br>
              <a:rPr lang="ru-RU" dirty="0"/>
            </a:br>
            <a:r>
              <a:rPr lang="ru-RU" dirty="0"/>
              <a:t>к заголовку</a:t>
            </a:r>
          </a:p>
        </p:txBody>
      </p:sp>
      <p:sp>
        <p:nvSpPr>
          <p:cNvPr id="41" name="Текст 11">
            <a:extLst>
              <a:ext uri="{FF2B5EF4-FFF2-40B4-BE49-F238E27FC236}">
                <a16:creationId xmlns:a16="http://schemas.microsoft.com/office/drawing/2014/main" id="{689A324A-9D82-5A78-997A-1064A9977B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070793" y="11770413"/>
            <a:ext cx="9893710" cy="72019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</p:spTree>
    <p:extLst>
      <p:ext uri="{BB962C8B-B14F-4D97-AF65-F5344CB8AC3E}">
        <p14:creationId xmlns:p14="http://schemas.microsoft.com/office/powerpoint/2010/main" val="355872043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блоков текста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: скругленные углы 9">
            <a:extLst>
              <a:ext uri="{FF2B5EF4-FFF2-40B4-BE49-F238E27FC236}">
                <a16:creationId xmlns:a16="http://schemas.microsoft.com/office/drawing/2014/main" id="{3AF71F19-E904-3271-1BC6-4DCF6A3C0FC9}"/>
              </a:ext>
            </a:extLst>
          </p:cNvPr>
          <p:cNvSpPr/>
          <p:nvPr userDrawn="1"/>
        </p:nvSpPr>
        <p:spPr>
          <a:xfrm>
            <a:off x="922338" y="8465958"/>
            <a:ext cx="7128662" cy="4405492"/>
          </a:xfrm>
          <a:prstGeom prst="roundRect">
            <a:avLst>
              <a:gd name="adj" fmla="val 9707"/>
            </a:avLst>
          </a:prstGeom>
          <a:solidFill>
            <a:srgbClr val="FFFFFF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216000" rtlCol="0" anchor="t" anchorCtr="0"/>
          <a:lstStyle/>
          <a:p>
            <a:pPr marL="19049">
              <a:spcBef>
                <a:spcPts val="6666"/>
              </a:spcBef>
              <a:buSzPct val="90000"/>
            </a:pPr>
            <a:endParaRPr lang="ru-RU" sz="4000" b="1" dirty="0">
              <a:solidFill>
                <a:schemeClr val="tx1"/>
              </a:solidFill>
              <a:latin typeface="YS Text Bold" pitchFamily="2" charset="0"/>
              <a:ea typeface="YS Text Wide Text Regular" pitchFamily="34" charset="-122"/>
              <a:cs typeface="YS Text Bold" pitchFamily="2" charset="0"/>
            </a:endParaRPr>
          </a:p>
        </p:txBody>
      </p:sp>
      <p:sp>
        <p:nvSpPr>
          <p:cNvPr id="7" name="Прямоугольник: скругленные углы 9">
            <a:extLst>
              <a:ext uri="{FF2B5EF4-FFF2-40B4-BE49-F238E27FC236}">
                <a16:creationId xmlns:a16="http://schemas.microsoft.com/office/drawing/2014/main" id="{7E34CF02-49E1-0FC3-7D33-34CB809FF931}"/>
              </a:ext>
            </a:extLst>
          </p:cNvPr>
          <p:cNvSpPr/>
          <p:nvPr userDrawn="1"/>
        </p:nvSpPr>
        <p:spPr>
          <a:xfrm>
            <a:off x="8626876" y="8465958"/>
            <a:ext cx="7128662" cy="4405492"/>
          </a:xfrm>
          <a:prstGeom prst="roundRect">
            <a:avLst>
              <a:gd name="adj" fmla="val 9707"/>
            </a:avLst>
          </a:prstGeom>
          <a:solidFill>
            <a:srgbClr val="FFFFFF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216000" rtlCol="0" anchor="t" anchorCtr="0"/>
          <a:lstStyle/>
          <a:p>
            <a:pPr marL="19049">
              <a:spcBef>
                <a:spcPts val="6666"/>
              </a:spcBef>
              <a:buSzPct val="90000"/>
            </a:pPr>
            <a:endParaRPr lang="ru-RU" sz="4000" b="1" dirty="0">
              <a:solidFill>
                <a:schemeClr val="tx1"/>
              </a:solidFill>
              <a:latin typeface="YS Text Bold" pitchFamily="2" charset="0"/>
              <a:ea typeface="YS Text Wide Text Regular" pitchFamily="34" charset="-122"/>
              <a:cs typeface="YS Text Bold" pitchFamily="2" charset="0"/>
            </a:endParaRPr>
          </a:p>
        </p:txBody>
      </p:sp>
      <p:sp>
        <p:nvSpPr>
          <p:cNvPr id="8" name="Прямоугольник: скругленные углы 9">
            <a:extLst>
              <a:ext uri="{FF2B5EF4-FFF2-40B4-BE49-F238E27FC236}">
                <a16:creationId xmlns:a16="http://schemas.microsoft.com/office/drawing/2014/main" id="{AC567E30-A59D-4B7F-9BC5-AEB16CA8E126}"/>
              </a:ext>
            </a:extLst>
          </p:cNvPr>
          <p:cNvSpPr/>
          <p:nvPr userDrawn="1"/>
        </p:nvSpPr>
        <p:spPr>
          <a:xfrm>
            <a:off x="16331413" y="8465958"/>
            <a:ext cx="7128662" cy="4405492"/>
          </a:xfrm>
          <a:prstGeom prst="roundRect">
            <a:avLst>
              <a:gd name="adj" fmla="val 9707"/>
            </a:avLst>
          </a:prstGeom>
          <a:solidFill>
            <a:srgbClr val="FFFFFF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216000" rtlCol="0" anchor="t" anchorCtr="0"/>
          <a:lstStyle/>
          <a:p>
            <a:pPr marL="19049">
              <a:spcBef>
                <a:spcPts val="6666"/>
              </a:spcBef>
              <a:buSzPct val="90000"/>
            </a:pPr>
            <a:endParaRPr lang="ru-RU" sz="4000" b="1" dirty="0">
              <a:solidFill>
                <a:schemeClr val="tx1"/>
              </a:solidFill>
              <a:latin typeface="YS Text Bold" pitchFamily="2" charset="0"/>
              <a:ea typeface="YS Text Wide Text Regular" pitchFamily="34" charset="-122"/>
              <a:cs typeface="YS Text Bold" pitchFamily="2" charset="0"/>
            </a:endParaRPr>
          </a:p>
        </p:txBody>
      </p:sp>
      <p:sp>
        <p:nvSpPr>
          <p:cNvPr id="2" name="Прямоугольник: скругленные углы 9">
            <a:extLst>
              <a:ext uri="{FF2B5EF4-FFF2-40B4-BE49-F238E27FC236}">
                <a16:creationId xmlns:a16="http://schemas.microsoft.com/office/drawing/2014/main" id="{238906C3-238F-EDD6-DEA6-DB614799067E}"/>
              </a:ext>
            </a:extLst>
          </p:cNvPr>
          <p:cNvSpPr/>
          <p:nvPr userDrawn="1"/>
        </p:nvSpPr>
        <p:spPr>
          <a:xfrm>
            <a:off x="922338" y="3474858"/>
            <a:ext cx="7128662" cy="4405492"/>
          </a:xfrm>
          <a:prstGeom prst="roundRect">
            <a:avLst>
              <a:gd name="adj" fmla="val 9707"/>
            </a:avLst>
          </a:prstGeom>
          <a:solidFill>
            <a:srgbClr val="FFFFFF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216000" rtlCol="0" anchor="t" anchorCtr="0"/>
          <a:lstStyle/>
          <a:p>
            <a:pPr marL="19049">
              <a:spcBef>
                <a:spcPts val="6666"/>
              </a:spcBef>
              <a:buSzPct val="90000"/>
            </a:pPr>
            <a:endParaRPr lang="ru-RU" sz="4000" b="1" dirty="0">
              <a:solidFill>
                <a:schemeClr val="tx1"/>
              </a:solidFill>
              <a:latin typeface="YS Text Bold" pitchFamily="2" charset="0"/>
              <a:ea typeface="YS Text Wide Text Regular" pitchFamily="34" charset="-122"/>
              <a:cs typeface="YS Text Bold" pitchFamily="2" charset="0"/>
            </a:endParaRPr>
          </a:p>
        </p:txBody>
      </p:sp>
      <p:sp>
        <p:nvSpPr>
          <p:cNvPr id="3" name="Прямоугольник: скругленные углы 9">
            <a:extLst>
              <a:ext uri="{FF2B5EF4-FFF2-40B4-BE49-F238E27FC236}">
                <a16:creationId xmlns:a16="http://schemas.microsoft.com/office/drawing/2014/main" id="{64C746BA-9F69-F481-CCE6-0C5042B542BA}"/>
              </a:ext>
            </a:extLst>
          </p:cNvPr>
          <p:cNvSpPr/>
          <p:nvPr userDrawn="1"/>
        </p:nvSpPr>
        <p:spPr>
          <a:xfrm>
            <a:off x="8626876" y="3474858"/>
            <a:ext cx="7128662" cy="4405492"/>
          </a:xfrm>
          <a:prstGeom prst="roundRect">
            <a:avLst>
              <a:gd name="adj" fmla="val 9707"/>
            </a:avLst>
          </a:prstGeom>
          <a:solidFill>
            <a:srgbClr val="FFFFFF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216000" rtlCol="0" anchor="t" anchorCtr="0"/>
          <a:lstStyle/>
          <a:p>
            <a:pPr marL="19049">
              <a:spcBef>
                <a:spcPts val="6666"/>
              </a:spcBef>
              <a:buSzPct val="90000"/>
            </a:pPr>
            <a:endParaRPr lang="ru-RU" sz="4000" b="1" dirty="0">
              <a:solidFill>
                <a:schemeClr val="tx1"/>
              </a:solidFill>
              <a:latin typeface="YS Text Bold" pitchFamily="2" charset="0"/>
              <a:ea typeface="YS Text Wide Text Regular" pitchFamily="34" charset="-122"/>
              <a:cs typeface="YS Text Bold" pitchFamily="2" charset="0"/>
            </a:endParaRPr>
          </a:p>
        </p:txBody>
      </p:sp>
      <p:sp>
        <p:nvSpPr>
          <p:cNvPr id="4" name="Прямоугольник: скругленные углы 9">
            <a:extLst>
              <a:ext uri="{FF2B5EF4-FFF2-40B4-BE49-F238E27FC236}">
                <a16:creationId xmlns:a16="http://schemas.microsoft.com/office/drawing/2014/main" id="{DEEDE9F4-6D83-0FEE-7D7C-19B512AD5CBC}"/>
              </a:ext>
            </a:extLst>
          </p:cNvPr>
          <p:cNvSpPr/>
          <p:nvPr userDrawn="1"/>
        </p:nvSpPr>
        <p:spPr>
          <a:xfrm>
            <a:off x="16331413" y="3474858"/>
            <a:ext cx="7128662" cy="4405492"/>
          </a:xfrm>
          <a:prstGeom prst="roundRect">
            <a:avLst>
              <a:gd name="adj" fmla="val 9707"/>
            </a:avLst>
          </a:prstGeom>
          <a:solidFill>
            <a:srgbClr val="FFFFFF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216000" rtlCol="0" anchor="t" anchorCtr="0"/>
          <a:lstStyle/>
          <a:p>
            <a:pPr marL="19049">
              <a:spcBef>
                <a:spcPts val="6666"/>
              </a:spcBef>
              <a:buSzPct val="90000"/>
            </a:pPr>
            <a:endParaRPr lang="ru-RU" sz="4000" b="1" dirty="0">
              <a:solidFill>
                <a:schemeClr val="tx1"/>
              </a:solidFill>
              <a:latin typeface="YS Text Bold" pitchFamily="2" charset="0"/>
              <a:ea typeface="YS Text Wide Text Regular" pitchFamily="34" charset="-122"/>
              <a:cs typeface="YS Text Bold" pitchFamily="2" charset="0"/>
            </a:endParaRPr>
          </a:p>
        </p:txBody>
      </p:sp>
      <p:sp>
        <p:nvSpPr>
          <p:cNvPr id="21" name="Заголовок 20">
            <a:extLst>
              <a:ext uri="{FF2B5EF4-FFF2-40B4-BE49-F238E27FC236}">
                <a16:creationId xmlns:a16="http://schemas.microsoft.com/office/drawing/2014/main" id="{7436C6E8-2BF2-A7DD-A6E8-F7A22E55E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2338" y="791369"/>
            <a:ext cx="21029613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dirty="0"/>
            </a:lvl1pPr>
          </a:lstStyle>
          <a:p>
            <a:pPr lvl="0">
              <a:lnSpc>
                <a:spcPct val="90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20" name="Текст 11">
            <a:extLst>
              <a:ext uri="{FF2B5EF4-FFF2-40B4-BE49-F238E27FC236}">
                <a16:creationId xmlns:a16="http://schemas.microsoft.com/office/drawing/2014/main" id="{563D73B6-7B75-FBC6-D1F1-758A240585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66473" y="3959330"/>
            <a:ext cx="6209984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tx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ение </a:t>
            </a:r>
            <a:br>
              <a:rPr lang="ru-RU" dirty="0"/>
            </a:br>
            <a:r>
              <a:rPr lang="ru-RU" dirty="0"/>
              <a:t>к заголовку</a:t>
            </a:r>
          </a:p>
        </p:txBody>
      </p:sp>
      <p:sp>
        <p:nvSpPr>
          <p:cNvPr id="26" name="Текст 11">
            <a:extLst>
              <a:ext uri="{FF2B5EF4-FFF2-40B4-BE49-F238E27FC236}">
                <a16:creationId xmlns:a16="http://schemas.microsoft.com/office/drawing/2014/main" id="{C8F467BF-8E54-D4D3-38E4-21EA6DE0D2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66473" y="6780401"/>
            <a:ext cx="6209984" cy="72019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sp>
        <p:nvSpPr>
          <p:cNvPr id="30" name="Текст 11">
            <a:extLst>
              <a:ext uri="{FF2B5EF4-FFF2-40B4-BE49-F238E27FC236}">
                <a16:creationId xmlns:a16="http://schemas.microsoft.com/office/drawing/2014/main" id="{D4282271-0B5B-8E66-8491-E7EA0B3DFD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86214" y="3959330"/>
            <a:ext cx="6209984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tx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ение </a:t>
            </a:r>
            <a:br>
              <a:rPr lang="ru-RU" dirty="0"/>
            </a:br>
            <a:r>
              <a:rPr lang="ru-RU" dirty="0"/>
              <a:t>к заголовку</a:t>
            </a:r>
          </a:p>
        </p:txBody>
      </p:sp>
      <p:sp>
        <p:nvSpPr>
          <p:cNvPr id="31" name="Текст 11">
            <a:extLst>
              <a:ext uri="{FF2B5EF4-FFF2-40B4-BE49-F238E27FC236}">
                <a16:creationId xmlns:a16="http://schemas.microsoft.com/office/drawing/2014/main" id="{8AB30437-1E0E-F79B-0E9A-51C7CAAAF8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86214" y="6780401"/>
            <a:ext cx="6209984" cy="72019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sp>
        <p:nvSpPr>
          <p:cNvPr id="38" name="Текст 11">
            <a:extLst>
              <a:ext uri="{FF2B5EF4-FFF2-40B4-BE49-F238E27FC236}">
                <a16:creationId xmlns:a16="http://schemas.microsoft.com/office/drawing/2014/main" id="{672C6FE4-46A3-571A-C437-85EB45D066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66473" y="8949342"/>
            <a:ext cx="6209984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tx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ение </a:t>
            </a:r>
            <a:br>
              <a:rPr lang="ru-RU" dirty="0"/>
            </a:br>
            <a:r>
              <a:rPr lang="ru-RU" dirty="0"/>
              <a:t>к заголовку</a:t>
            </a:r>
          </a:p>
        </p:txBody>
      </p:sp>
      <p:sp>
        <p:nvSpPr>
          <p:cNvPr id="39" name="Текст 11">
            <a:extLst>
              <a:ext uri="{FF2B5EF4-FFF2-40B4-BE49-F238E27FC236}">
                <a16:creationId xmlns:a16="http://schemas.microsoft.com/office/drawing/2014/main" id="{0DAB328C-A31C-14E3-6BE8-D60C5913594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66473" y="11770413"/>
            <a:ext cx="6209984" cy="72019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sp>
        <p:nvSpPr>
          <p:cNvPr id="40" name="Текст 11">
            <a:extLst>
              <a:ext uri="{FF2B5EF4-FFF2-40B4-BE49-F238E27FC236}">
                <a16:creationId xmlns:a16="http://schemas.microsoft.com/office/drawing/2014/main" id="{A3A33BF0-9BA9-DF16-6D9E-6290C2C0C9B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86214" y="8949342"/>
            <a:ext cx="6209984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tx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ение </a:t>
            </a:r>
            <a:br>
              <a:rPr lang="ru-RU" dirty="0"/>
            </a:br>
            <a:r>
              <a:rPr lang="ru-RU" dirty="0"/>
              <a:t>к заголовку</a:t>
            </a:r>
          </a:p>
        </p:txBody>
      </p:sp>
      <p:sp>
        <p:nvSpPr>
          <p:cNvPr id="41" name="Текст 11">
            <a:extLst>
              <a:ext uri="{FF2B5EF4-FFF2-40B4-BE49-F238E27FC236}">
                <a16:creationId xmlns:a16="http://schemas.microsoft.com/office/drawing/2014/main" id="{689A324A-9D82-5A78-997A-1064A9977B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86214" y="11770413"/>
            <a:ext cx="6209984" cy="72019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sp>
        <p:nvSpPr>
          <p:cNvPr id="9" name="Текст 11">
            <a:extLst>
              <a:ext uri="{FF2B5EF4-FFF2-40B4-BE49-F238E27FC236}">
                <a16:creationId xmlns:a16="http://schemas.microsoft.com/office/drawing/2014/main" id="{39883C82-A046-3C0C-16EB-E321FC63E93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793299" y="3959330"/>
            <a:ext cx="6209984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tx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ение </a:t>
            </a:r>
            <a:br>
              <a:rPr lang="ru-RU" dirty="0"/>
            </a:br>
            <a:r>
              <a:rPr lang="ru-RU" dirty="0"/>
              <a:t>к заголовку</a:t>
            </a:r>
          </a:p>
        </p:txBody>
      </p:sp>
      <p:sp>
        <p:nvSpPr>
          <p:cNvPr id="10" name="Текст 11">
            <a:extLst>
              <a:ext uri="{FF2B5EF4-FFF2-40B4-BE49-F238E27FC236}">
                <a16:creationId xmlns:a16="http://schemas.microsoft.com/office/drawing/2014/main" id="{53CE1AEB-2CD4-05AB-BA31-B32DFFADD87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6793299" y="6780401"/>
            <a:ext cx="6209984" cy="72019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sp>
        <p:nvSpPr>
          <p:cNvPr id="12" name="Текст 11">
            <a:extLst>
              <a:ext uri="{FF2B5EF4-FFF2-40B4-BE49-F238E27FC236}">
                <a16:creationId xmlns:a16="http://schemas.microsoft.com/office/drawing/2014/main" id="{7AB19D72-65D7-D126-76A8-B0F4102D044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6793299" y="8949342"/>
            <a:ext cx="6209984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tx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ение </a:t>
            </a:r>
            <a:br>
              <a:rPr lang="ru-RU" dirty="0"/>
            </a:br>
            <a:r>
              <a:rPr lang="ru-RU" dirty="0"/>
              <a:t>к заголовку</a:t>
            </a:r>
          </a:p>
        </p:txBody>
      </p:sp>
      <p:sp>
        <p:nvSpPr>
          <p:cNvPr id="13" name="Текст 11">
            <a:extLst>
              <a:ext uri="{FF2B5EF4-FFF2-40B4-BE49-F238E27FC236}">
                <a16:creationId xmlns:a16="http://schemas.microsoft.com/office/drawing/2014/main" id="{78FE2CA4-F6EA-85CD-C238-EC1357716C6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6793299" y="11770413"/>
            <a:ext cx="6209984" cy="72019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5629B57F-3F92-6E98-E8C6-74A8358DF1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6988"/>
                    </a14:imgEffect>
                    <a14:imgEffect>
                      <a14:brightnessContrast contrast="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67769" y="-1025098"/>
            <a:ext cx="2231450" cy="2053580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CA1ED465-09BF-90D4-5875-11BA4609CC1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9885"/>
                    </a14:imgEffect>
                    <a14:imgEffect>
                      <a14:brightnessContrast contrast="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18602" y="12394186"/>
            <a:ext cx="2794000" cy="279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43387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блоков текста с акцентом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: скругленные углы 9">
            <a:extLst>
              <a:ext uri="{FF2B5EF4-FFF2-40B4-BE49-F238E27FC236}">
                <a16:creationId xmlns:a16="http://schemas.microsoft.com/office/drawing/2014/main" id="{70EEE37C-973E-201A-20C5-A53D58FBF1AF}"/>
              </a:ext>
            </a:extLst>
          </p:cNvPr>
          <p:cNvSpPr/>
          <p:nvPr userDrawn="1"/>
        </p:nvSpPr>
        <p:spPr>
          <a:xfrm rot="21089082">
            <a:off x="15909723" y="3214255"/>
            <a:ext cx="7972042" cy="4926698"/>
          </a:xfrm>
          <a:prstGeom prst="roundRect">
            <a:avLst>
              <a:gd name="adj" fmla="val 9707"/>
            </a:avLst>
          </a:prstGeom>
          <a:noFill/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216000" rtlCol="0" anchor="t" anchorCtr="0"/>
          <a:lstStyle/>
          <a:p>
            <a:pPr marL="19049">
              <a:spcBef>
                <a:spcPts val="6666"/>
              </a:spcBef>
              <a:buSzPct val="90000"/>
            </a:pPr>
            <a:endParaRPr lang="ru-RU" sz="4800" b="1" dirty="0">
              <a:solidFill>
                <a:schemeClr val="tx1"/>
              </a:solidFill>
              <a:latin typeface="YS Text Bold" pitchFamily="2" charset="0"/>
              <a:ea typeface="YS Text Wide Text Regular" pitchFamily="34" charset="-122"/>
              <a:cs typeface="YS Text Bold" pitchFamily="2" charset="0"/>
            </a:endParaRPr>
          </a:p>
        </p:txBody>
      </p:sp>
      <p:sp>
        <p:nvSpPr>
          <p:cNvPr id="5" name="Прямоугольник: скругленные углы 9">
            <a:extLst>
              <a:ext uri="{FF2B5EF4-FFF2-40B4-BE49-F238E27FC236}">
                <a16:creationId xmlns:a16="http://schemas.microsoft.com/office/drawing/2014/main" id="{3AF71F19-E904-3271-1BC6-4DCF6A3C0FC9}"/>
              </a:ext>
            </a:extLst>
          </p:cNvPr>
          <p:cNvSpPr/>
          <p:nvPr userDrawn="1"/>
        </p:nvSpPr>
        <p:spPr>
          <a:xfrm>
            <a:off x="922338" y="8465958"/>
            <a:ext cx="7128662" cy="4405492"/>
          </a:xfrm>
          <a:prstGeom prst="roundRect">
            <a:avLst>
              <a:gd name="adj" fmla="val 9707"/>
            </a:avLst>
          </a:prstGeom>
          <a:solidFill>
            <a:srgbClr val="FFFFFF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216000" rtlCol="0" anchor="t" anchorCtr="0"/>
          <a:lstStyle/>
          <a:p>
            <a:pPr marL="19049">
              <a:spcBef>
                <a:spcPts val="6666"/>
              </a:spcBef>
              <a:buSzPct val="90000"/>
            </a:pPr>
            <a:endParaRPr lang="ru-RU" sz="4000" b="1" dirty="0">
              <a:solidFill>
                <a:schemeClr val="tx1"/>
              </a:solidFill>
              <a:latin typeface="YS Text Bold" pitchFamily="2" charset="0"/>
              <a:ea typeface="YS Text Wide Text Regular" pitchFamily="34" charset="-122"/>
              <a:cs typeface="YS Text Bold" pitchFamily="2" charset="0"/>
            </a:endParaRPr>
          </a:p>
        </p:txBody>
      </p:sp>
      <p:sp>
        <p:nvSpPr>
          <p:cNvPr id="7" name="Прямоугольник: скругленные углы 9">
            <a:extLst>
              <a:ext uri="{FF2B5EF4-FFF2-40B4-BE49-F238E27FC236}">
                <a16:creationId xmlns:a16="http://schemas.microsoft.com/office/drawing/2014/main" id="{7E34CF02-49E1-0FC3-7D33-34CB809FF931}"/>
              </a:ext>
            </a:extLst>
          </p:cNvPr>
          <p:cNvSpPr/>
          <p:nvPr userDrawn="1"/>
        </p:nvSpPr>
        <p:spPr>
          <a:xfrm>
            <a:off x="8626876" y="8465958"/>
            <a:ext cx="7128662" cy="4405492"/>
          </a:xfrm>
          <a:prstGeom prst="roundRect">
            <a:avLst>
              <a:gd name="adj" fmla="val 9707"/>
            </a:avLst>
          </a:prstGeom>
          <a:solidFill>
            <a:srgbClr val="FFFFFF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216000" rtlCol="0" anchor="t" anchorCtr="0"/>
          <a:lstStyle/>
          <a:p>
            <a:pPr marL="19049">
              <a:spcBef>
                <a:spcPts val="6666"/>
              </a:spcBef>
              <a:buSzPct val="90000"/>
            </a:pPr>
            <a:endParaRPr lang="ru-RU" sz="4000" b="1" dirty="0">
              <a:solidFill>
                <a:schemeClr val="tx1"/>
              </a:solidFill>
              <a:latin typeface="YS Text Bold" pitchFamily="2" charset="0"/>
              <a:ea typeface="YS Text Wide Text Regular" pitchFamily="34" charset="-122"/>
              <a:cs typeface="YS Text Bold" pitchFamily="2" charset="0"/>
            </a:endParaRPr>
          </a:p>
        </p:txBody>
      </p:sp>
      <p:sp>
        <p:nvSpPr>
          <p:cNvPr id="8" name="Прямоугольник: скругленные углы 9">
            <a:extLst>
              <a:ext uri="{FF2B5EF4-FFF2-40B4-BE49-F238E27FC236}">
                <a16:creationId xmlns:a16="http://schemas.microsoft.com/office/drawing/2014/main" id="{AC567E30-A59D-4B7F-9BC5-AEB16CA8E126}"/>
              </a:ext>
            </a:extLst>
          </p:cNvPr>
          <p:cNvSpPr/>
          <p:nvPr userDrawn="1"/>
        </p:nvSpPr>
        <p:spPr>
          <a:xfrm>
            <a:off x="16331413" y="8465958"/>
            <a:ext cx="7128662" cy="4405492"/>
          </a:xfrm>
          <a:prstGeom prst="roundRect">
            <a:avLst>
              <a:gd name="adj" fmla="val 9707"/>
            </a:avLst>
          </a:prstGeom>
          <a:solidFill>
            <a:srgbClr val="FFFFFF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216000" rtlCol="0" anchor="t" anchorCtr="0"/>
          <a:lstStyle/>
          <a:p>
            <a:pPr marL="19049">
              <a:spcBef>
                <a:spcPts val="6666"/>
              </a:spcBef>
              <a:buSzPct val="90000"/>
            </a:pPr>
            <a:endParaRPr lang="ru-RU" sz="4000" b="1" dirty="0">
              <a:solidFill>
                <a:schemeClr val="tx1"/>
              </a:solidFill>
              <a:latin typeface="YS Text Bold" pitchFamily="2" charset="0"/>
              <a:ea typeface="YS Text Wide Text Regular" pitchFamily="34" charset="-122"/>
              <a:cs typeface="YS Text Bold" pitchFamily="2" charset="0"/>
            </a:endParaRPr>
          </a:p>
        </p:txBody>
      </p:sp>
      <p:sp>
        <p:nvSpPr>
          <p:cNvPr id="2" name="Прямоугольник: скругленные углы 9">
            <a:extLst>
              <a:ext uri="{FF2B5EF4-FFF2-40B4-BE49-F238E27FC236}">
                <a16:creationId xmlns:a16="http://schemas.microsoft.com/office/drawing/2014/main" id="{238906C3-238F-EDD6-DEA6-DB614799067E}"/>
              </a:ext>
            </a:extLst>
          </p:cNvPr>
          <p:cNvSpPr/>
          <p:nvPr userDrawn="1"/>
        </p:nvSpPr>
        <p:spPr>
          <a:xfrm>
            <a:off x="922338" y="3474858"/>
            <a:ext cx="7128662" cy="4405492"/>
          </a:xfrm>
          <a:prstGeom prst="roundRect">
            <a:avLst>
              <a:gd name="adj" fmla="val 9707"/>
            </a:avLst>
          </a:prstGeom>
          <a:solidFill>
            <a:srgbClr val="FFFFFF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216000" rtlCol="0" anchor="t" anchorCtr="0"/>
          <a:lstStyle/>
          <a:p>
            <a:pPr marL="19049">
              <a:spcBef>
                <a:spcPts val="6666"/>
              </a:spcBef>
              <a:buSzPct val="90000"/>
            </a:pPr>
            <a:endParaRPr lang="ru-RU" sz="4000" b="1" dirty="0">
              <a:solidFill>
                <a:schemeClr val="tx1"/>
              </a:solidFill>
              <a:latin typeface="YS Text Bold" pitchFamily="2" charset="0"/>
              <a:ea typeface="YS Text Wide Text Regular" pitchFamily="34" charset="-122"/>
              <a:cs typeface="YS Text Bold" pitchFamily="2" charset="0"/>
            </a:endParaRPr>
          </a:p>
        </p:txBody>
      </p:sp>
      <p:sp>
        <p:nvSpPr>
          <p:cNvPr id="3" name="Прямоугольник: скругленные углы 9">
            <a:extLst>
              <a:ext uri="{FF2B5EF4-FFF2-40B4-BE49-F238E27FC236}">
                <a16:creationId xmlns:a16="http://schemas.microsoft.com/office/drawing/2014/main" id="{64C746BA-9F69-F481-CCE6-0C5042B542BA}"/>
              </a:ext>
            </a:extLst>
          </p:cNvPr>
          <p:cNvSpPr/>
          <p:nvPr userDrawn="1"/>
        </p:nvSpPr>
        <p:spPr>
          <a:xfrm>
            <a:off x="8626876" y="3474858"/>
            <a:ext cx="7128662" cy="4405492"/>
          </a:xfrm>
          <a:prstGeom prst="roundRect">
            <a:avLst>
              <a:gd name="adj" fmla="val 9707"/>
            </a:avLst>
          </a:prstGeom>
          <a:solidFill>
            <a:srgbClr val="FFFFFF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216000" rtlCol="0" anchor="t" anchorCtr="0"/>
          <a:lstStyle/>
          <a:p>
            <a:pPr marL="19049">
              <a:spcBef>
                <a:spcPts val="6666"/>
              </a:spcBef>
              <a:buSzPct val="90000"/>
            </a:pPr>
            <a:endParaRPr lang="ru-RU" sz="4000" b="1" dirty="0">
              <a:solidFill>
                <a:schemeClr val="tx1"/>
              </a:solidFill>
              <a:latin typeface="YS Text Bold" pitchFamily="2" charset="0"/>
              <a:ea typeface="YS Text Wide Text Regular" pitchFamily="34" charset="-122"/>
              <a:cs typeface="YS Text Bold" pitchFamily="2" charset="0"/>
            </a:endParaRPr>
          </a:p>
        </p:txBody>
      </p:sp>
      <p:sp>
        <p:nvSpPr>
          <p:cNvPr id="21" name="Заголовок 20">
            <a:extLst>
              <a:ext uri="{FF2B5EF4-FFF2-40B4-BE49-F238E27FC236}">
                <a16:creationId xmlns:a16="http://schemas.microsoft.com/office/drawing/2014/main" id="{7436C6E8-2BF2-A7DD-A6E8-F7A22E55E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2338" y="791369"/>
            <a:ext cx="21029613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20" name="Текст 11">
            <a:extLst>
              <a:ext uri="{FF2B5EF4-FFF2-40B4-BE49-F238E27FC236}">
                <a16:creationId xmlns:a16="http://schemas.microsoft.com/office/drawing/2014/main" id="{563D73B6-7B75-FBC6-D1F1-758A240585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66473" y="3959330"/>
            <a:ext cx="6209984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tx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ение </a:t>
            </a:r>
            <a:br>
              <a:rPr lang="ru-RU" dirty="0"/>
            </a:br>
            <a:r>
              <a:rPr lang="ru-RU" dirty="0"/>
              <a:t>к заголовку</a:t>
            </a:r>
          </a:p>
        </p:txBody>
      </p:sp>
      <p:sp>
        <p:nvSpPr>
          <p:cNvPr id="26" name="Текст 11">
            <a:extLst>
              <a:ext uri="{FF2B5EF4-FFF2-40B4-BE49-F238E27FC236}">
                <a16:creationId xmlns:a16="http://schemas.microsoft.com/office/drawing/2014/main" id="{C8F467BF-8E54-D4D3-38E4-21EA6DE0D2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66473" y="6780401"/>
            <a:ext cx="6209984" cy="72019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sp>
        <p:nvSpPr>
          <p:cNvPr id="30" name="Текст 11">
            <a:extLst>
              <a:ext uri="{FF2B5EF4-FFF2-40B4-BE49-F238E27FC236}">
                <a16:creationId xmlns:a16="http://schemas.microsoft.com/office/drawing/2014/main" id="{D4282271-0B5B-8E66-8491-E7EA0B3DFD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86214" y="3959330"/>
            <a:ext cx="6209984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tx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ение </a:t>
            </a:r>
            <a:br>
              <a:rPr lang="ru-RU" dirty="0"/>
            </a:br>
            <a:r>
              <a:rPr lang="ru-RU" dirty="0"/>
              <a:t>к заголовку</a:t>
            </a:r>
          </a:p>
        </p:txBody>
      </p:sp>
      <p:sp>
        <p:nvSpPr>
          <p:cNvPr id="31" name="Текст 11">
            <a:extLst>
              <a:ext uri="{FF2B5EF4-FFF2-40B4-BE49-F238E27FC236}">
                <a16:creationId xmlns:a16="http://schemas.microsoft.com/office/drawing/2014/main" id="{8AB30437-1E0E-F79B-0E9A-51C7CAAAF8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86214" y="6780401"/>
            <a:ext cx="6209984" cy="72019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sp>
        <p:nvSpPr>
          <p:cNvPr id="38" name="Текст 11">
            <a:extLst>
              <a:ext uri="{FF2B5EF4-FFF2-40B4-BE49-F238E27FC236}">
                <a16:creationId xmlns:a16="http://schemas.microsoft.com/office/drawing/2014/main" id="{672C6FE4-46A3-571A-C437-85EB45D066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66473" y="8949342"/>
            <a:ext cx="6209984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tx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ение </a:t>
            </a:r>
            <a:br>
              <a:rPr lang="ru-RU" dirty="0"/>
            </a:br>
            <a:r>
              <a:rPr lang="ru-RU" dirty="0"/>
              <a:t>к заголовку</a:t>
            </a:r>
          </a:p>
        </p:txBody>
      </p:sp>
      <p:sp>
        <p:nvSpPr>
          <p:cNvPr id="39" name="Текст 11">
            <a:extLst>
              <a:ext uri="{FF2B5EF4-FFF2-40B4-BE49-F238E27FC236}">
                <a16:creationId xmlns:a16="http://schemas.microsoft.com/office/drawing/2014/main" id="{0DAB328C-A31C-14E3-6BE8-D60C5913594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66473" y="11770413"/>
            <a:ext cx="6209984" cy="72019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sp>
        <p:nvSpPr>
          <p:cNvPr id="40" name="Текст 11">
            <a:extLst>
              <a:ext uri="{FF2B5EF4-FFF2-40B4-BE49-F238E27FC236}">
                <a16:creationId xmlns:a16="http://schemas.microsoft.com/office/drawing/2014/main" id="{A3A33BF0-9BA9-DF16-6D9E-6290C2C0C9B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86214" y="8949342"/>
            <a:ext cx="6209984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tx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ение </a:t>
            </a:r>
            <a:br>
              <a:rPr lang="ru-RU" dirty="0"/>
            </a:br>
            <a:r>
              <a:rPr lang="ru-RU" dirty="0"/>
              <a:t>к заголовку</a:t>
            </a:r>
          </a:p>
        </p:txBody>
      </p:sp>
      <p:sp>
        <p:nvSpPr>
          <p:cNvPr id="41" name="Текст 11">
            <a:extLst>
              <a:ext uri="{FF2B5EF4-FFF2-40B4-BE49-F238E27FC236}">
                <a16:creationId xmlns:a16="http://schemas.microsoft.com/office/drawing/2014/main" id="{689A324A-9D82-5A78-997A-1064A9977B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86214" y="11770413"/>
            <a:ext cx="6209984" cy="72019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sp>
        <p:nvSpPr>
          <p:cNvPr id="12" name="Текст 11">
            <a:extLst>
              <a:ext uri="{FF2B5EF4-FFF2-40B4-BE49-F238E27FC236}">
                <a16:creationId xmlns:a16="http://schemas.microsoft.com/office/drawing/2014/main" id="{7AB19D72-65D7-D126-76A8-B0F4102D044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6793299" y="8949342"/>
            <a:ext cx="6209984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tx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ение </a:t>
            </a:r>
            <a:br>
              <a:rPr lang="ru-RU" dirty="0"/>
            </a:br>
            <a:r>
              <a:rPr lang="ru-RU" dirty="0"/>
              <a:t>к заголовку</a:t>
            </a:r>
          </a:p>
        </p:txBody>
      </p:sp>
      <p:sp>
        <p:nvSpPr>
          <p:cNvPr id="13" name="Текст 11">
            <a:extLst>
              <a:ext uri="{FF2B5EF4-FFF2-40B4-BE49-F238E27FC236}">
                <a16:creationId xmlns:a16="http://schemas.microsoft.com/office/drawing/2014/main" id="{78FE2CA4-F6EA-85CD-C238-EC1357716C6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6793299" y="11770413"/>
            <a:ext cx="6209984" cy="72019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18E99FD8-55CF-1E12-CEB0-2A112A94B16A}"/>
              </a:ext>
            </a:extLst>
          </p:cNvPr>
          <p:cNvSpPr/>
          <p:nvPr userDrawn="1"/>
        </p:nvSpPr>
        <p:spPr>
          <a:xfrm rot="21060000">
            <a:off x="15927723" y="3194022"/>
            <a:ext cx="7972042" cy="4926698"/>
          </a:xfrm>
          <a:prstGeom prst="roundRect">
            <a:avLst>
              <a:gd name="adj" fmla="val 7387"/>
            </a:avLst>
          </a:prstGeom>
          <a:gradFill>
            <a:gsLst>
              <a:gs pos="0">
                <a:srgbClr val="FFC4FF"/>
              </a:gs>
              <a:gs pos="100000">
                <a:srgbClr val="A9FDFF"/>
              </a:gs>
            </a:gsLst>
            <a:lin ang="17400000" scaled="0"/>
          </a:gradFill>
          <a:ln w="19050">
            <a:noFill/>
          </a:ln>
          <a:effectLst>
            <a:outerShdw blurRad="355600" dist="431800" dir="8100000" algn="tr" rotWithShape="0">
              <a:srgbClr val="2D65F4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sp>
        <p:nvSpPr>
          <p:cNvPr id="9" name="Текст 11">
            <a:extLst>
              <a:ext uri="{FF2B5EF4-FFF2-40B4-BE49-F238E27FC236}">
                <a16:creationId xmlns:a16="http://schemas.microsoft.com/office/drawing/2014/main" id="{39883C82-A046-3C0C-16EB-E321FC63E93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21043002">
            <a:off x="16296583" y="3800226"/>
            <a:ext cx="6209984" cy="1495794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5400" b="1" kern="1200" dirty="0">
                <a:solidFill>
                  <a:schemeClr val="tx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ение </a:t>
            </a:r>
            <a:br>
              <a:rPr lang="ru-RU" dirty="0"/>
            </a:br>
            <a:r>
              <a:rPr lang="ru-RU" dirty="0"/>
              <a:t>к заголовку</a:t>
            </a:r>
          </a:p>
        </p:txBody>
      </p:sp>
      <p:sp>
        <p:nvSpPr>
          <p:cNvPr id="10" name="Текст 11">
            <a:extLst>
              <a:ext uri="{FF2B5EF4-FFF2-40B4-BE49-F238E27FC236}">
                <a16:creationId xmlns:a16="http://schemas.microsoft.com/office/drawing/2014/main" id="{53CE1AEB-2CD4-05AB-BA31-B32DFFADD87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rot="21043002">
            <a:off x="16811960" y="6948350"/>
            <a:ext cx="6209984" cy="72019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sp>
        <p:nvSpPr>
          <p:cNvPr id="18" name="Текст 11">
            <a:extLst>
              <a:ext uri="{FF2B5EF4-FFF2-40B4-BE49-F238E27FC236}">
                <a16:creationId xmlns:a16="http://schemas.microsoft.com/office/drawing/2014/main" id="{AB8AA476-A078-9867-7590-B11A1818670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2336" y="2148475"/>
            <a:ext cx="21029613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3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Под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4841540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CA9D9C8-E2E4-F1FB-23FD-8A7F66EBC1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8348" y="1278688"/>
            <a:ext cx="13354050" cy="124373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3" name="Текст 3">
            <a:extLst>
              <a:ext uri="{FF2B5EF4-FFF2-40B4-BE49-F238E27FC236}">
                <a16:creationId xmlns:a16="http://schemas.microsoft.com/office/drawing/2014/main" id="{EE7ED86F-A4E2-F0F6-229B-BC01BDF2B8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86818" y="2963699"/>
            <a:ext cx="13354050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4000" baseline="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</p:spTree>
    <p:extLst>
      <p:ext uri="{BB962C8B-B14F-4D97-AF65-F5344CB8AC3E}">
        <p14:creationId xmlns:p14="http://schemas.microsoft.com/office/powerpoint/2010/main" val="375305561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блоков текста с цифрами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Заголовок 20">
            <a:extLst>
              <a:ext uri="{FF2B5EF4-FFF2-40B4-BE49-F238E27FC236}">
                <a16:creationId xmlns:a16="http://schemas.microsoft.com/office/drawing/2014/main" id="{7436C6E8-2BF2-A7DD-A6E8-F7A22E55E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2338" y="791369"/>
            <a:ext cx="21029613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18" name="Текст 11">
            <a:extLst>
              <a:ext uri="{FF2B5EF4-FFF2-40B4-BE49-F238E27FC236}">
                <a16:creationId xmlns:a16="http://schemas.microsoft.com/office/drawing/2014/main" id="{AB8AA476-A078-9867-7590-B11A1818670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2336" y="2148475"/>
            <a:ext cx="21029613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3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4" name="Прямоугольник с двумя скругленными соседними углами 3">
            <a:extLst>
              <a:ext uri="{FF2B5EF4-FFF2-40B4-BE49-F238E27FC236}">
                <a16:creationId xmlns:a16="http://schemas.microsoft.com/office/drawing/2014/main" id="{4D424055-2F03-3BEA-256D-42250EFD9698}"/>
              </a:ext>
            </a:extLst>
          </p:cNvPr>
          <p:cNvSpPr/>
          <p:nvPr userDrawn="1"/>
        </p:nvSpPr>
        <p:spPr>
          <a:xfrm>
            <a:off x="18125098" y="8068682"/>
            <a:ext cx="1367504" cy="1047427"/>
          </a:xfrm>
          <a:prstGeom prst="round2SameRect">
            <a:avLst>
              <a:gd name="adj1" fmla="val 32187"/>
              <a:gd name="adj2" fmla="val 0"/>
            </a:avLst>
          </a:prstGeom>
          <a:gradFill>
            <a:gsLst>
              <a:gs pos="0">
                <a:srgbClr val="FFC4FF"/>
              </a:gs>
              <a:gs pos="100000">
                <a:srgbClr val="A9FDFF"/>
              </a:gs>
            </a:gsLst>
            <a:lin ang="17400000" scaled="0"/>
          </a:gra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sp>
        <p:nvSpPr>
          <p:cNvPr id="14" name="Прямоугольник с двумя скругленными соседними углами 13">
            <a:extLst>
              <a:ext uri="{FF2B5EF4-FFF2-40B4-BE49-F238E27FC236}">
                <a16:creationId xmlns:a16="http://schemas.microsoft.com/office/drawing/2014/main" id="{E59BF33D-06E5-8D03-5C31-02A2CC0ED8DA}"/>
              </a:ext>
            </a:extLst>
          </p:cNvPr>
          <p:cNvSpPr/>
          <p:nvPr userDrawn="1"/>
        </p:nvSpPr>
        <p:spPr>
          <a:xfrm>
            <a:off x="9528765" y="8068682"/>
            <a:ext cx="1367504" cy="1047427"/>
          </a:xfrm>
          <a:prstGeom prst="round2SameRect">
            <a:avLst>
              <a:gd name="adj1" fmla="val 32187"/>
              <a:gd name="adj2" fmla="val 0"/>
            </a:avLst>
          </a:prstGeom>
          <a:gradFill>
            <a:gsLst>
              <a:gs pos="0">
                <a:srgbClr val="FFC4FF"/>
              </a:gs>
              <a:gs pos="100000">
                <a:srgbClr val="A9FDFF"/>
              </a:gs>
            </a:gsLst>
            <a:lin ang="17400000" scaled="0"/>
          </a:gra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sp>
        <p:nvSpPr>
          <p:cNvPr id="15" name="Прямоугольник с двумя скругленными соседними углами 14">
            <a:extLst>
              <a:ext uri="{FF2B5EF4-FFF2-40B4-BE49-F238E27FC236}">
                <a16:creationId xmlns:a16="http://schemas.microsoft.com/office/drawing/2014/main" id="{508DC34B-ED78-DE08-7701-D238C5142840}"/>
              </a:ext>
            </a:extLst>
          </p:cNvPr>
          <p:cNvSpPr/>
          <p:nvPr userDrawn="1"/>
        </p:nvSpPr>
        <p:spPr>
          <a:xfrm>
            <a:off x="918497" y="8068682"/>
            <a:ext cx="1367504" cy="1047427"/>
          </a:xfrm>
          <a:prstGeom prst="round2SameRect">
            <a:avLst>
              <a:gd name="adj1" fmla="val 32187"/>
              <a:gd name="adj2" fmla="val 0"/>
            </a:avLst>
          </a:prstGeom>
          <a:gradFill>
            <a:gsLst>
              <a:gs pos="0">
                <a:srgbClr val="FFC4FF"/>
              </a:gs>
              <a:gs pos="100000">
                <a:srgbClr val="A9FDFF"/>
              </a:gs>
            </a:gsLst>
            <a:lin ang="17400000" scaled="0"/>
          </a:gra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sp>
        <p:nvSpPr>
          <p:cNvPr id="16" name="Прямоугольник с двумя скругленными соседними углами 15">
            <a:extLst>
              <a:ext uri="{FF2B5EF4-FFF2-40B4-BE49-F238E27FC236}">
                <a16:creationId xmlns:a16="http://schemas.microsoft.com/office/drawing/2014/main" id="{F1A28B39-3257-8104-9260-A787945DF2CB}"/>
              </a:ext>
            </a:extLst>
          </p:cNvPr>
          <p:cNvSpPr/>
          <p:nvPr userDrawn="1"/>
        </p:nvSpPr>
        <p:spPr>
          <a:xfrm>
            <a:off x="18125098" y="3285486"/>
            <a:ext cx="1367504" cy="1047427"/>
          </a:xfrm>
          <a:prstGeom prst="round2SameRect">
            <a:avLst>
              <a:gd name="adj1" fmla="val 32187"/>
              <a:gd name="adj2" fmla="val 0"/>
            </a:avLst>
          </a:prstGeom>
          <a:gradFill>
            <a:gsLst>
              <a:gs pos="0">
                <a:srgbClr val="FFC4FF"/>
              </a:gs>
              <a:gs pos="100000">
                <a:srgbClr val="A9FDFF"/>
              </a:gs>
            </a:gsLst>
            <a:lin ang="17400000" scaled="0"/>
          </a:gra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sp>
        <p:nvSpPr>
          <p:cNvPr id="17" name="Прямоугольник с двумя скругленными соседними углами 16">
            <a:extLst>
              <a:ext uri="{FF2B5EF4-FFF2-40B4-BE49-F238E27FC236}">
                <a16:creationId xmlns:a16="http://schemas.microsoft.com/office/drawing/2014/main" id="{CFA7A8E5-7B1E-0682-1EC8-50CF9B6C00F7}"/>
              </a:ext>
            </a:extLst>
          </p:cNvPr>
          <p:cNvSpPr/>
          <p:nvPr userDrawn="1"/>
        </p:nvSpPr>
        <p:spPr>
          <a:xfrm>
            <a:off x="9528765" y="3285486"/>
            <a:ext cx="1367504" cy="1047427"/>
          </a:xfrm>
          <a:prstGeom prst="round2SameRect">
            <a:avLst>
              <a:gd name="adj1" fmla="val 32187"/>
              <a:gd name="adj2" fmla="val 0"/>
            </a:avLst>
          </a:prstGeom>
          <a:gradFill>
            <a:gsLst>
              <a:gs pos="0">
                <a:srgbClr val="FFC4FF"/>
              </a:gs>
              <a:gs pos="100000">
                <a:srgbClr val="A9FDFF"/>
              </a:gs>
            </a:gsLst>
            <a:lin ang="17400000" scaled="0"/>
          </a:gra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sp>
        <p:nvSpPr>
          <p:cNvPr id="19" name="Прямоугольник с двумя скругленными соседними углами 18">
            <a:extLst>
              <a:ext uri="{FF2B5EF4-FFF2-40B4-BE49-F238E27FC236}">
                <a16:creationId xmlns:a16="http://schemas.microsoft.com/office/drawing/2014/main" id="{96E331D4-4315-9FA7-2CC6-3019BD871096}"/>
              </a:ext>
            </a:extLst>
          </p:cNvPr>
          <p:cNvSpPr/>
          <p:nvPr userDrawn="1"/>
        </p:nvSpPr>
        <p:spPr>
          <a:xfrm>
            <a:off x="918497" y="3285486"/>
            <a:ext cx="1367504" cy="1047427"/>
          </a:xfrm>
          <a:prstGeom prst="round2SameRect">
            <a:avLst>
              <a:gd name="adj1" fmla="val 32187"/>
              <a:gd name="adj2" fmla="val 0"/>
            </a:avLst>
          </a:prstGeom>
          <a:gradFill>
            <a:gsLst>
              <a:gs pos="0">
                <a:srgbClr val="FFC4FF"/>
              </a:gs>
              <a:gs pos="100000">
                <a:srgbClr val="A9FDFF"/>
              </a:gs>
            </a:gsLst>
            <a:lin ang="17400000" scaled="0"/>
          </a:gra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D2C4665C-3EF8-D108-AA93-63694F9D8CA0}"/>
              </a:ext>
            </a:extLst>
          </p:cNvPr>
          <p:cNvSpPr txBox="1">
            <a:spLocks/>
          </p:cNvSpPr>
          <p:nvPr userDrawn="1"/>
        </p:nvSpPr>
        <p:spPr>
          <a:xfrm>
            <a:off x="1218533" y="3554257"/>
            <a:ext cx="801687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182861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8000" b="0" kern="1200">
                <a:solidFill>
                  <a:schemeClr val="tx1"/>
                </a:solidFill>
                <a:effectLst/>
                <a:latin typeface="+mj-lt"/>
                <a:ea typeface="+mj-ea"/>
                <a:cs typeface="YS TextDisplay Wide Heavy Wide " pitchFamily="2" charset="-52"/>
              </a:defRPr>
            </a:lvl1pPr>
          </a:lstStyle>
          <a:p>
            <a:r>
              <a:rPr lang="ru-RU" sz="3600" dirty="0">
                <a:latin typeface="YS Text Wide Bold" pitchFamily="2" charset="-52"/>
                <a:cs typeface="YS Text Wide Bold" pitchFamily="2" charset="-52"/>
              </a:rPr>
              <a:t>01</a:t>
            </a:r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17DEDE4D-CD0B-91EF-54EC-598709D458BF}"/>
              </a:ext>
            </a:extLst>
          </p:cNvPr>
          <p:cNvSpPr txBox="1">
            <a:spLocks/>
          </p:cNvSpPr>
          <p:nvPr userDrawn="1"/>
        </p:nvSpPr>
        <p:spPr>
          <a:xfrm>
            <a:off x="9821834" y="3554257"/>
            <a:ext cx="801687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182861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8000" b="0" kern="1200">
                <a:solidFill>
                  <a:schemeClr val="tx1"/>
                </a:solidFill>
                <a:effectLst/>
                <a:latin typeface="+mj-lt"/>
                <a:ea typeface="+mj-ea"/>
                <a:cs typeface="YS TextDisplay Wide Heavy Wide " pitchFamily="2" charset="-52"/>
              </a:defRPr>
            </a:lvl1pPr>
          </a:lstStyle>
          <a:p>
            <a:r>
              <a:rPr lang="ru-RU" sz="3600" dirty="0">
                <a:latin typeface="YS Text Wide Bold" pitchFamily="2" charset="-52"/>
                <a:cs typeface="YS Text Wide Bold" pitchFamily="2" charset="-52"/>
              </a:rPr>
              <a:t>02</a:t>
            </a: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34FB6340-1DE8-41EE-5BF9-589387C8FE0B}"/>
              </a:ext>
            </a:extLst>
          </p:cNvPr>
          <p:cNvSpPr txBox="1">
            <a:spLocks/>
          </p:cNvSpPr>
          <p:nvPr userDrawn="1"/>
        </p:nvSpPr>
        <p:spPr>
          <a:xfrm>
            <a:off x="18425136" y="3554257"/>
            <a:ext cx="801687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182861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8000" b="0" kern="1200">
                <a:solidFill>
                  <a:schemeClr val="tx1"/>
                </a:solidFill>
                <a:effectLst/>
                <a:latin typeface="+mj-lt"/>
                <a:ea typeface="+mj-ea"/>
                <a:cs typeface="YS TextDisplay Wide Heavy Wide " pitchFamily="2" charset="-52"/>
              </a:defRPr>
            </a:lvl1pPr>
          </a:lstStyle>
          <a:p>
            <a:r>
              <a:rPr lang="ru-RU" sz="3600" dirty="0">
                <a:latin typeface="YS Text Wide Bold" pitchFamily="2" charset="-52"/>
                <a:cs typeface="YS Text Wide Bold" pitchFamily="2" charset="-52"/>
              </a:rPr>
              <a:t>03</a:t>
            </a: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85159E7D-D94E-E3F6-83EB-6A03A69AC87A}"/>
              </a:ext>
            </a:extLst>
          </p:cNvPr>
          <p:cNvSpPr txBox="1">
            <a:spLocks/>
          </p:cNvSpPr>
          <p:nvPr userDrawn="1"/>
        </p:nvSpPr>
        <p:spPr>
          <a:xfrm>
            <a:off x="1218533" y="8339617"/>
            <a:ext cx="801687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182861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8000" b="0" kern="1200">
                <a:solidFill>
                  <a:schemeClr val="tx1"/>
                </a:solidFill>
                <a:effectLst/>
                <a:latin typeface="+mj-lt"/>
                <a:ea typeface="+mj-ea"/>
                <a:cs typeface="YS TextDisplay Wide Heavy Wide " pitchFamily="2" charset="-52"/>
              </a:defRPr>
            </a:lvl1pPr>
          </a:lstStyle>
          <a:p>
            <a:r>
              <a:rPr lang="ru-RU" sz="3600" dirty="0">
                <a:latin typeface="YS Text Wide Bold" pitchFamily="2" charset="-52"/>
                <a:cs typeface="YS Text Wide Bold" pitchFamily="2" charset="-52"/>
              </a:rPr>
              <a:t>04</a:t>
            </a: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2D50F168-881B-616E-CB5F-A7A8D83A8E03}"/>
              </a:ext>
            </a:extLst>
          </p:cNvPr>
          <p:cNvSpPr txBox="1">
            <a:spLocks/>
          </p:cNvSpPr>
          <p:nvPr userDrawn="1"/>
        </p:nvSpPr>
        <p:spPr>
          <a:xfrm>
            <a:off x="9821834" y="8339617"/>
            <a:ext cx="801687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182861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8000" b="0" kern="1200">
                <a:solidFill>
                  <a:schemeClr val="tx1"/>
                </a:solidFill>
                <a:effectLst/>
                <a:latin typeface="+mj-lt"/>
                <a:ea typeface="+mj-ea"/>
                <a:cs typeface="YS TextDisplay Wide Heavy Wide " pitchFamily="2" charset="-52"/>
              </a:defRPr>
            </a:lvl1pPr>
          </a:lstStyle>
          <a:p>
            <a:r>
              <a:rPr lang="ru-RU" sz="3600" dirty="0">
                <a:latin typeface="YS Text Wide Bold" pitchFamily="2" charset="-52"/>
                <a:cs typeface="YS Text Wide Bold" pitchFamily="2" charset="-52"/>
              </a:rPr>
              <a:t>05</a:t>
            </a:r>
          </a:p>
        </p:txBody>
      </p:sp>
      <p:sp>
        <p:nvSpPr>
          <p:cNvPr id="29" name="Заголовок 1">
            <a:extLst>
              <a:ext uri="{FF2B5EF4-FFF2-40B4-BE49-F238E27FC236}">
                <a16:creationId xmlns:a16="http://schemas.microsoft.com/office/drawing/2014/main" id="{E7E34B0B-8911-3C21-B6AF-F8D6F3625526}"/>
              </a:ext>
            </a:extLst>
          </p:cNvPr>
          <p:cNvSpPr txBox="1">
            <a:spLocks/>
          </p:cNvSpPr>
          <p:nvPr userDrawn="1"/>
        </p:nvSpPr>
        <p:spPr>
          <a:xfrm>
            <a:off x="18425136" y="8339617"/>
            <a:ext cx="801687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182861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8000" b="0" kern="1200">
                <a:solidFill>
                  <a:schemeClr val="tx1"/>
                </a:solidFill>
                <a:effectLst/>
                <a:latin typeface="+mj-lt"/>
                <a:ea typeface="+mj-ea"/>
                <a:cs typeface="YS TextDisplay Wide Heavy Wide " pitchFamily="2" charset="-52"/>
              </a:defRPr>
            </a:lvl1pPr>
          </a:lstStyle>
          <a:p>
            <a:r>
              <a:rPr lang="ru-RU" sz="3600" dirty="0">
                <a:latin typeface="YS Text Wide Bold" pitchFamily="2" charset="-52"/>
                <a:cs typeface="YS Text Wide Bold" pitchFamily="2" charset="-52"/>
              </a:rPr>
              <a:t>06</a:t>
            </a:r>
          </a:p>
        </p:txBody>
      </p: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D3362EE6-FDBF-9511-B66F-1FFE20D663BF}"/>
              </a:ext>
            </a:extLst>
          </p:cNvPr>
          <p:cNvCxnSpPr>
            <a:cxnSpLocks/>
          </p:cNvCxnSpPr>
          <p:nvPr userDrawn="1"/>
        </p:nvCxnSpPr>
        <p:spPr>
          <a:xfrm>
            <a:off x="918496" y="9116107"/>
            <a:ext cx="23463917" cy="0"/>
          </a:xfrm>
          <a:prstGeom prst="line">
            <a:avLst/>
          </a:prstGeom>
          <a:ln w="19050" cmpd="sng">
            <a:solidFill>
              <a:srgbClr val="E5F3FC"/>
            </a:solidFill>
            <a:prstDash val="solid"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895FE94C-28DA-40B8-CC25-9E26FCC937CF}"/>
              </a:ext>
            </a:extLst>
          </p:cNvPr>
          <p:cNvCxnSpPr>
            <a:cxnSpLocks/>
          </p:cNvCxnSpPr>
          <p:nvPr userDrawn="1"/>
        </p:nvCxnSpPr>
        <p:spPr>
          <a:xfrm>
            <a:off x="918496" y="4332912"/>
            <a:ext cx="23463917" cy="0"/>
          </a:xfrm>
          <a:prstGeom prst="line">
            <a:avLst/>
          </a:prstGeom>
          <a:ln w="19050" cmpd="sng">
            <a:solidFill>
              <a:srgbClr val="E5F3FC"/>
            </a:solidFill>
            <a:prstDash val="solid"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Текст 11">
            <a:extLst>
              <a:ext uri="{FF2B5EF4-FFF2-40B4-BE49-F238E27FC236}">
                <a16:creationId xmlns:a16="http://schemas.microsoft.com/office/drawing/2014/main" id="{C7167B6F-4A20-99ED-B4DF-8324A8C8EF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8496" y="4769204"/>
            <a:ext cx="5211762" cy="5539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bg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44" name="Текст 11">
            <a:extLst>
              <a:ext uri="{FF2B5EF4-FFF2-40B4-BE49-F238E27FC236}">
                <a16:creationId xmlns:a16="http://schemas.microsoft.com/office/drawing/2014/main" id="{027DF6DE-B9C3-0BA8-0A28-27D420F154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18496" y="5630067"/>
            <a:ext cx="5211762" cy="72019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sp>
        <p:nvSpPr>
          <p:cNvPr id="45" name="Текст 11">
            <a:extLst>
              <a:ext uri="{FF2B5EF4-FFF2-40B4-BE49-F238E27FC236}">
                <a16:creationId xmlns:a16="http://schemas.microsoft.com/office/drawing/2014/main" id="{172C7E13-F3EC-3301-8654-E5F4B0E29F9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521797" y="4769204"/>
            <a:ext cx="5211762" cy="5539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bg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46" name="Текст 11">
            <a:extLst>
              <a:ext uri="{FF2B5EF4-FFF2-40B4-BE49-F238E27FC236}">
                <a16:creationId xmlns:a16="http://schemas.microsoft.com/office/drawing/2014/main" id="{292649C2-7024-7894-1DC3-1BEB7FFA871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521797" y="5630067"/>
            <a:ext cx="5211762" cy="72019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sp>
        <p:nvSpPr>
          <p:cNvPr id="47" name="Текст 11">
            <a:extLst>
              <a:ext uri="{FF2B5EF4-FFF2-40B4-BE49-F238E27FC236}">
                <a16:creationId xmlns:a16="http://schemas.microsoft.com/office/drawing/2014/main" id="{C01C4351-B1CB-6F95-10C3-90B235AB4A7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8125099" y="4769204"/>
            <a:ext cx="5211762" cy="5539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bg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48" name="Текст 11">
            <a:extLst>
              <a:ext uri="{FF2B5EF4-FFF2-40B4-BE49-F238E27FC236}">
                <a16:creationId xmlns:a16="http://schemas.microsoft.com/office/drawing/2014/main" id="{E74326AD-A68D-A969-FAD0-73EEA114C48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8125099" y="5630067"/>
            <a:ext cx="5211762" cy="72019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sp>
        <p:nvSpPr>
          <p:cNvPr id="49" name="Текст 11">
            <a:extLst>
              <a:ext uri="{FF2B5EF4-FFF2-40B4-BE49-F238E27FC236}">
                <a16:creationId xmlns:a16="http://schemas.microsoft.com/office/drawing/2014/main" id="{CDA7800B-5063-586F-2BC6-24B4C9D8DE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18496" y="9549022"/>
            <a:ext cx="5211762" cy="5539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bg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50" name="Текст 11">
            <a:extLst>
              <a:ext uri="{FF2B5EF4-FFF2-40B4-BE49-F238E27FC236}">
                <a16:creationId xmlns:a16="http://schemas.microsoft.com/office/drawing/2014/main" id="{3D4CA430-38A0-1A32-EF63-3E8A3B0358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18496" y="10409885"/>
            <a:ext cx="5211762" cy="72019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sp>
        <p:nvSpPr>
          <p:cNvPr id="51" name="Текст 11">
            <a:extLst>
              <a:ext uri="{FF2B5EF4-FFF2-40B4-BE49-F238E27FC236}">
                <a16:creationId xmlns:a16="http://schemas.microsoft.com/office/drawing/2014/main" id="{352A8405-AC06-BDD9-334E-06C0619C85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521797" y="9549022"/>
            <a:ext cx="5211762" cy="5539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bg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52" name="Текст 11">
            <a:extLst>
              <a:ext uri="{FF2B5EF4-FFF2-40B4-BE49-F238E27FC236}">
                <a16:creationId xmlns:a16="http://schemas.microsoft.com/office/drawing/2014/main" id="{12FCE4A5-8991-46EF-8A38-EB8C67B20E4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521797" y="10409885"/>
            <a:ext cx="5211762" cy="72019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  <p:sp>
        <p:nvSpPr>
          <p:cNvPr id="53" name="Текст 11">
            <a:extLst>
              <a:ext uri="{FF2B5EF4-FFF2-40B4-BE49-F238E27FC236}">
                <a16:creationId xmlns:a16="http://schemas.microsoft.com/office/drawing/2014/main" id="{5DB28561-1E0D-AF8B-1B36-94085197A07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8125099" y="9549022"/>
            <a:ext cx="5211762" cy="5539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4000" b="1" kern="1200" dirty="0">
                <a:solidFill>
                  <a:schemeClr val="bg1"/>
                </a:solidFill>
                <a:latin typeface="YS Text Bold" pitchFamily="2" charset="0"/>
                <a:ea typeface="YS Text Wide Text Regular" pitchFamily="34" charset="-122"/>
                <a:cs typeface="YS Text Bold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54" name="Текст 11">
            <a:extLst>
              <a:ext uri="{FF2B5EF4-FFF2-40B4-BE49-F238E27FC236}">
                <a16:creationId xmlns:a16="http://schemas.microsoft.com/office/drawing/2014/main" id="{27628569-70C2-9685-F8EC-A81AA9BF48F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8125099" y="10409885"/>
            <a:ext cx="5211762" cy="72019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2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</a:t>
            </a:r>
            <a:br>
              <a:rPr lang="ru-RU" dirty="0"/>
            </a:br>
            <a:r>
              <a:rPr lang="ru-RU" dirty="0"/>
              <a:t>описание, можно удалить</a:t>
            </a:r>
          </a:p>
        </p:txBody>
      </p:sp>
    </p:spTree>
    <p:extLst>
      <p:ext uri="{BB962C8B-B14F-4D97-AF65-F5344CB8AC3E}">
        <p14:creationId xmlns:p14="http://schemas.microsoft.com/office/powerpoint/2010/main" val="397981073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ймлайн 4 этапа с выделением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Заголовок 20">
            <a:extLst>
              <a:ext uri="{FF2B5EF4-FFF2-40B4-BE49-F238E27FC236}">
                <a16:creationId xmlns:a16="http://schemas.microsoft.com/office/drawing/2014/main" id="{7436C6E8-2BF2-A7DD-A6E8-F7A22E55E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2338" y="791369"/>
            <a:ext cx="21029613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18" name="Текст 11">
            <a:extLst>
              <a:ext uri="{FF2B5EF4-FFF2-40B4-BE49-F238E27FC236}">
                <a16:creationId xmlns:a16="http://schemas.microsoft.com/office/drawing/2014/main" id="{AB8AA476-A078-9867-7590-B11A1818670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2336" y="2148475"/>
            <a:ext cx="21029613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3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Подзаголовок</a:t>
            </a:r>
          </a:p>
        </p:txBody>
      </p:sp>
      <p:cxnSp>
        <p:nvCxnSpPr>
          <p:cNvPr id="2" name="Прямая со стрелкой 1">
            <a:extLst>
              <a:ext uri="{FF2B5EF4-FFF2-40B4-BE49-F238E27FC236}">
                <a16:creationId xmlns:a16="http://schemas.microsoft.com/office/drawing/2014/main" id="{76671D5E-1001-3244-06BB-0B406C11F8EF}"/>
              </a:ext>
            </a:extLst>
          </p:cNvPr>
          <p:cNvCxnSpPr>
            <a:cxnSpLocks/>
          </p:cNvCxnSpPr>
          <p:nvPr userDrawn="1"/>
        </p:nvCxnSpPr>
        <p:spPr>
          <a:xfrm>
            <a:off x="0" y="8476879"/>
            <a:ext cx="23747506" cy="0"/>
          </a:xfrm>
          <a:prstGeom prst="straightConnector1">
            <a:avLst/>
          </a:prstGeom>
          <a:ln w="31750">
            <a:solidFill>
              <a:schemeClr val="accent2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Объект 5">
            <a:extLst>
              <a:ext uri="{FF2B5EF4-FFF2-40B4-BE49-F238E27FC236}">
                <a16:creationId xmlns:a16="http://schemas.microsoft.com/office/drawing/2014/main" id="{E5690B0B-CACA-6C22-47ED-95BBA45ED582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18178992" y="3321650"/>
            <a:ext cx="2985234" cy="553997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6000" b="0" i="0">
                <a:solidFill>
                  <a:schemeClr val="accent3"/>
                </a:solidFill>
                <a:latin typeface="YS Text Regular" pitchFamily="2" charset="0"/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4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CABA5C13-86C4-4186-E45E-49F66995B293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18178992" y="9555625"/>
            <a:ext cx="5221856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400" b="0" i="0">
                <a:solidFill>
                  <a:schemeClr val="accent3"/>
                </a:solidFill>
                <a:latin typeface="YS Text Medium" pitchFamily="2" charset="0"/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писание четвертого этапа</a:t>
            </a:r>
          </a:p>
        </p:txBody>
      </p:sp>
      <p:sp>
        <p:nvSpPr>
          <p:cNvPr id="7" name="Объект 5">
            <a:extLst>
              <a:ext uri="{FF2B5EF4-FFF2-40B4-BE49-F238E27FC236}">
                <a16:creationId xmlns:a16="http://schemas.microsoft.com/office/drawing/2014/main" id="{D5511CC2-2D76-F0B2-AF35-399C3E297165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18178992" y="8953718"/>
            <a:ext cx="5221856" cy="26337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 i="0">
                <a:solidFill>
                  <a:schemeClr val="accent3"/>
                </a:solidFill>
                <a:latin typeface="YS Text Regular" pitchFamily="2" charset="0"/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Месяц и год</a:t>
            </a: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B609C886-5A3D-3680-2779-5C005728E9BE}"/>
              </a:ext>
            </a:extLst>
          </p:cNvPr>
          <p:cNvSpPr/>
          <p:nvPr userDrawn="1"/>
        </p:nvSpPr>
        <p:spPr>
          <a:xfrm>
            <a:off x="18134001" y="8311026"/>
            <a:ext cx="331535" cy="331535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sp>
        <p:nvSpPr>
          <p:cNvPr id="13" name="Объект 5">
            <a:extLst>
              <a:ext uri="{FF2B5EF4-FFF2-40B4-BE49-F238E27FC236}">
                <a16:creationId xmlns:a16="http://schemas.microsoft.com/office/drawing/2014/main" id="{D6906C88-3455-7E6B-D4ED-DDB0DDE81BC4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12463992" y="3321650"/>
            <a:ext cx="2985234" cy="553997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6000" b="0" i="0">
                <a:solidFill>
                  <a:schemeClr val="accent3"/>
                </a:solidFill>
                <a:latin typeface="YS Text Regular" pitchFamily="2" charset="0"/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3</a:t>
            </a:r>
          </a:p>
        </p:txBody>
      </p:sp>
      <p:sp>
        <p:nvSpPr>
          <p:cNvPr id="20" name="Объект 5">
            <a:extLst>
              <a:ext uri="{FF2B5EF4-FFF2-40B4-BE49-F238E27FC236}">
                <a16:creationId xmlns:a16="http://schemas.microsoft.com/office/drawing/2014/main" id="{7A6AC916-3ECE-035C-28E5-E71B032266B8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12463992" y="9555625"/>
            <a:ext cx="5221856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400" b="0" i="0">
                <a:solidFill>
                  <a:schemeClr val="accent3"/>
                </a:solidFill>
                <a:latin typeface="YS Text Medium" pitchFamily="2" charset="0"/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писание четвертого этапа</a:t>
            </a:r>
          </a:p>
        </p:txBody>
      </p:sp>
      <p:sp>
        <p:nvSpPr>
          <p:cNvPr id="22" name="Объект 5">
            <a:extLst>
              <a:ext uri="{FF2B5EF4-FFF2-40B4-BE49-F238E27FC236}">
                <a16:creationId xmlns:a16="http://schemas.microsoft.com/office/drawing/2014/main" id="{914C0339-2067-5F8D-6936-6C1B6B5A63EA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12463992" y="8953718"/>
            <a:ext cx="5221856" cy="26337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 i="0">
                <a:solidFill>
                  <a:schemeClr val="accent3"/>
                </a:solidFill>
                <a:latin typeface="YS Text Regular" pitchFamily="2" charset="0"/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Месяц и год</a:t>
            </a:r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69BB6BCA-F4F1-8DF7-5027-87BD9E2A7861}"/>
              </a:ext>
            </a:extLst>
          </p:cNvPr>
          <p:cNvSpPr/>
          <p:nvPr userDrawn="1"/>
        </p:nvSpPr>
        <p:spPr>
          <a:xfrm>
            <a:off x="12419001" y="8311026"/>
            <a:ext cx="331535" cy="331535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sp>
        <p:nvSpPr>
          <p:cNvPr id="30" name="Объект 5">
            <a:extLst>
              <a:ext uri="{FF2B5EF4-FFF2-40B4-BE49-F238E27FC236}">
                <a16:creationId xmlns:a16="http://schemas.microsoft.com/office/drawing/2014/main" id="{C65490F9-6C09-313C-1CB6-287304DB04A5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6691842" y="3321650"/>
            <a:ext cx="2985234" cy="553997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6000" b="0" i="0">
                <a:solidFill>
                  <a:schemeClr val="bg1"/>
                </a:solidFill>
                <a:latin typeface="YS Text Regular" pitchFamily="2" charset="0"/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31" name="Объект 5">
            <a:extLst>
              <a:ext uri="{FF2B5EF4-FFF2-40B4-BE49-F238E27FC236}">
                <a16:creationId xmlns:a16="http://schemas.microsoft.com/office/drawing/2014/main" id="{E82779E4-0977-9B9F-EAC1-8C4299DCEAF6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6691842" y="9555625"/>
            <a:ext cx="5221856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400" b="0" i="0">
                <a:solidFill>
                  <a:schemeClr val="bg1"/>
                </a:solidFill>
                <a:latin typeface="YS Text Medium" pitchFamily="2" charset="0"/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писание четвертого этапа</a:t>
            </a:r>
          </a:p>
        </p:txBody>
      </p:sp>
      <p:sp>
        <p:nvSpPr>
          <p:cNvPr id="32" name="Объект 5">
            <a:extLst>
              <a:ext uri="{FF2B5EF4-FFF2-40B4-BE49-F238E27FC236}">
                <a16:creationId xmlns:a16="http://schemas.microsoft.com/office/drawing/2014/main" id="{C8EC1B42-321C-E750-E33A-6BB70F509FA4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691842" y="8953718"/>
            <a:ext cx="5221856" cy="26337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 i="0">
                <a:solidFill>
                  <a:schemeClr val="bg1"/>
                </a:solidFill>
                <a:latin typeface="YS Text Regular" pitchFamily="2" charset="0"/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Месяц и год</a:t>
            </a: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0B28327A-B471-3DCB-330A-44FEDAA5C569}"/>
              </a:ext>
            </a:extLst>
          </p:cNvPr>
          <p:cNvSpPr/>
          <p:nvPr userDrawn="1"/>
        </p:nvSpPr>
        <p:spPr>
          <a:xfrm>
            <a:off x="6646851" y="8311026"/>
            <a:ext cx="331535" cy="331535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sp>
        <p:nvSpPr>
          <p:cNvPr id="34" name="Объект 5">
            <a:extLst>
              <a:ext uri="{FF2B5EF4-FFF2-40B4-BE49-F238E27FC236}">
                <a16:creationId xmlns:a16="http://schemas.microsoft.com/office/drawing/2014/main" id="{0C0BDE8C-D047-7525-6761-A3A904AC7724}"/>
              </a:ext>
            </a:extLst>
          </p:cNvPr>
          <p:cNvSpPr>
            <a:spLocks noGrp="1"/>
          </p:cNvSpPr>
          <p:nvPr>
            <p:ph sz="quarter" idx="42" hasCustomPrompt="1"/>
          </p:nvPr>
        </p:nvSpPr>
        <p:spPr>
          <a:xfrm>
            <a:off x="919692" y="3321650"/>
            <a:ext cx="2985234" cy="553997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6000" b="0" i="0">
                <a:solidFill>
                  <a:schemeClr val="accent3"/>
                </a:solidFill>
                <a:latin typeface="YS Text Regular" pitchFamily="2" charset="0"/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1</a:t>
            </a:r>
          </a:p>
        </p:txBody>
      </p:sp>
      <p:sp>
        <p:nvSpPr>
          <p:cNvPr id="35" name="Объект 5">
            <a:extLst>
              <a:ext uri="{FF2B5EF4-FFF2-40B4-BE49-F238E27FC236}">
                <a16:creationId xmlns:a16="http://schemas.microsoft.com/office/drawing/2014/main" id="{193E1021-D5B9-8648-0689-004DFA3EEB17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919692" y="9555625"/>
            <a:ext cx="5221856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400" b="0" i="0">
                <a:solidFill>
                  <a:schemeClr val="accent3"/>
                </a:solidFill>
                <a:latin typeface="YS Text Medium" pitchFamily="2" charset="0"/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писание четвертого этапа</a:t>
            </a:r>
          </a:p>
        </p:txBody>
      </p:sp>
      <p:sp>
        <p:nvSpPr>
          <p:cNvPr id="36" name="Объект 5">
            <a:extLst>
              <a:ext uri="{FF2B5EF4-FFF2-40B4-BE49-F238E27FC236}">
                <a16:creationId xmlns:a16="http://schemas.microsoft.com/office/drawing/2014/main" id="{840AD444-56B8-72B4-24CA-46941C5514DC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919692" y="8953718"/>
            <a:ext cx="5221856" cy="26337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 i="0">
                <a:solidFill>
                  <a:schemeClr val="accent3"/>
                </a:solidFill>
                <a:latin typeface="YS Text Regular" pitchFamily="2" charset="0"/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Месяц и год</a:t>
            </a:r>
          </a:p>
        </p:txBody>
      </p:sp>
      <p:sp>
        <p:nvSpPr>
          <p:cNvPr id="38" name="Овал 37">
            <a:extLst>
              <a:ext uri="{FF2B5EF4-FFF2-40B4-BE49-F238E27FC236}">
                <a16:creationId xmlns:a16="http://schemas.microsoft.com/office/drawing/2014/main" id="{2D231EA9-C776-CCDF-8BA1-A9386ED4188B}"/>
              </a:ext>
            </a:extLst>
          </p:cNvPr>
          <p:cNvSpPr/>
          <p:nvPr userDrawn="1"/>
        </p:nvSpPr>
        <p:spPr>
          <a:xfrm>
            <a:off x="874701" y="8311026"/>
            <a:ext cx="331535" cy="331535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158088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ймлайн 3 этапа с буллитами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Заголовок 20">
            <a:extLst>
              <a:ext uri="{FF2B5EF4-FFF2-40B4-BE49-F238E27FC236}">
                <a16:creationId xmlns:a16="http://schemas.microsoft.com/office/drawing/2014/main" id="{7436C6E8-2BF2-A7DD-A6E8-F7A22E55E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2338" y="791369"/>
            <a:ext cx="21029613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dirty="0"/>
            </a:lvl1pPr>
          </a:lstStyle>
          <a:p>
            <a:pPr lvl="0">
              <a:lnSpc>
                <a:spcPct val="90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18" name="Текст 11">
            <a:extLst>
              <a:ext uri="{FF2B5EF4-FFF2-40B4-BE49-F238E27FC236}">
                <a16:creationId xmlns:a16="http://schemas.microsoft.com/office/drawing/2014/main" id="{AB8AA476-A078-9867-7590-B11A1818670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2336" y="2148475"/>
            <a:ext cx="21029613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3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Подзаголовок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44385B70-EF55-829B-A50D-F84A08D0CDB4}"/>
              </a:ext>
            </a:extLst>
          </p:cNvPr>
          <p:cNvCxnSpPr>
            <a:cxnSpLocks/>
          </p:cNvCxnSpPr>
          <p:nvPr userDrawn="1"/>
        </p:nvCxnSpPr>
        <p:spPr>
          <a:xfrm>
            <a:off x="0" y="11252387"/>
            <a:ext cx="24382413" cy="0"/>
          </a:xfrm>
          <a:prstGeom prst="line">
            <a:avLst/>
          </a:prstGeom>
          <a:ln w="2540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7AAC1930-9228-5E86-1DD9-5252011CBD44}"/>
              </a:ext>
            </a:extLst>
          </p:cNvPr>
          <p:cNvCxnSpPr>
            <a:cxnSpLocks/>
          </p:cNvCxnSpPr>
          <p:nvPr userDrawn="1"/>
        </p:nvCxnSpPr>
        <p:spPr>
          <a:xfrm>
            <a:off x="973138" y="4143376"/>
            <a:ext cx="0" cy="7109010"/>
          </a:xfrm>
          <a:prstGeom prst="line">
            <a:avLst/>
          </a:prstGeom>
          <a:ln w="12700" cap="rnd">
            <a:solidFill>
              <a:schemeClr val="bg2">
                <a:alpha val="2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Овал 8">
            <a:extLst>
              <a:ext uri="{FF2B5EF4-FFF2-40B4-BE49-F238E27FC236}">
                <a16:creationId xmlns:a16="http://schemas.microsoft.com/office/drawing/2014/main" id="{20795ADD-9D21-BEDF-8A3F-E096F0FB164C}"/>
              </a:ext>
            </a:extLst>
          </p:cNvPr>
          <p:cNvSpPr/>
          <p:nvPr userDrawn="1"/>
        </p:nvSpPr>
        <p:spPr>
          <a:xfrm>
            <a:off x="877865" y="11157113"/>
            <a:ext cx="190545" cy="190545"/>
          </a:xfrm>
          <a:prstGeom prst="ellipse">
            <a:avLst/>
          </a:prstGeom>
          <a:solidFill>
            <a:schemeClr val="tx2"/>
          </a:solidFill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C1EA3806-EC38-FED5-32C6-2F0FE0D98AE8}"/>
              </a:ext>
            </a:extLst>
          </p:cNvPr>
          <p:cNvCxnSpPr>
            <a:cxnSpLocks/>
          </p:cNvCxnSpPr>
          <p:nvPr userDrawn="1"/>
        </p:nvCxnSpPr>
        <p:spPr>
          <a:xfrm>
            <a:off x="8617222" y="4143376"/>
            <a:ext cx="0" cy="7109010"/>
          </a:xfrm>
          <a:prstGeom prst="line">
            <a:avLst/>
          </a:prstGeom>
          <a:ln w="12700" cap="rnd">
            <a:solidFill>
              <a:schemeClr val="bg2">
                <a:alpha val="2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Овал 13">
            <a:extLst>
              <a:ext uri="{FF2B5EF4-FFF2-40B4-BE49-F238E27FC236}">
                <a16:creationId xmlns:a16="http://schemas.microsoft.com/office/drawing/2014/main" id="{87633512-2783-3F06-7F66-7AEDB29E46C7}"/>
              </a:ext>
            </a:extLst>
          </p:cNvPr>
          <p:cNvSpPr/>
          <p:nvPr userDrawn="1"/>
        </p:nvSpPr>
        <p:spPr>
          <a:xfrm>
            <a:off x="8521949" y="11157113"/>
            <a:ext cx="190545" cy="190545"/>
          </a:xfrm>
          <a:prstGeom prst="ellipse">
            <a:avLst/>
          </a:prstGeom>
          <a:solidFill>
            <a:schemeClr val="tx2"/>
          </a:solidFill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527F85D1-35C6-ACF8-8EEE-2191E1496E0D}"/>
              </a:ext>
            </a:extLst>
          </p:cNvPr>
          <p:cNvCxnSpPr>
            <a:cxnSpLocks/>
          </p:cNvCxnSpPr>
          <p:nvPr userDrawn="1"/>
        </p:nvCxnSpPr>
        <p:spPr>
          <a:xfrm>
            <a:off x="16335575" y="4143376"/>
            <a:ext cx="0" cy="7109010"/>
          </a:xfrm>
          <a:prstGeom prst="line">
            <a:avLst/>
          </a:prstGeom>
          <a:ln w="12700" cap="rnd">
            <a:solidFill>
              <a:schemeClr val="bg2">
                <a:alpha val="2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Овал 16">
            <a:extLst>
              <a:ext uri="{FF2B5EF4-FFF2-40B4-BE49-F238E27FC236}">
                <a16:creationId xmlns:a16="http://schemas.microsoft.com/office/drawing/2014/main" id="{56BC45D8-ADA5-EAED-E3CF-134044BA0473}"/>
              </a:ext>
            </a:extLst>
          </p:cNvPr>
          <p:cNvSpPr/>
          <p:nvPr userDrawn="1"/>
        </p:nvSpPr>
        <p:spPr>
          <a:xfrm>
            <a:off x="16240302" y="11157113"/>
            <a:ext cx="190545" cy="190545"/>
          </a:xfrm>
          <a:prstGeom prst="ellipse">
            <a:avLst/>
          </a:prstGeom>
          <a:solidFill>
            <a:schemeClr val="tx2"/>
          </a:solidFill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3" name="Текст 55">
            <a:extLst>
              <a:ext uri="{FF2B5EF4-FFF2-40B4-BE49-F238E27FC236}">
                <a16:creationId xmlns:a16="http://schemas.microsoft.com/office/drawing/2014/main" id="{0F63C940-935A-A2AC-05AC-807F9193FF2C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405719" y="4152612"/>
            <a:ext cx="6499302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4000" b="1" i="0">
                <a:solidFill>
                  <a:schemeClr val="tx2"/>
                </a:solidFill>
                <a:latin typeface="YS Text Bold" pitchFamily="2" charset="0"/>
                <a:cs typeface="YS Text Bold" pitchFamily="2" charset="0"/>
              </a:defRPr>
            </a:lvl1pPr>
            <a:lvl2pPr marL="0" indent="0"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</a:defRPr>
            </a:lvl2pPr>
            <a:lvl3pPr marL="0" indent="0">
              <a:buNone/>
              <a:defRPr sz="3200">
                <a:solidFill>
                  <a:schemeClr val="tx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/>
              <a:t>Составить план презентации</a:t>
            </a:r>
          </a:p>
        </p:txBody>
      </p:sp>
      <p:sp>
        <p:nvSpPr>
          <p:cNvPr id="24" name="Текст 63">
            <a:extLst>
              <a:ext uri="{FF2B5EF4-FFF2-40B4-BE49-F238E27FC236}">
                <a16:creationId xmlns:a16="http://schemas.microsoft.com/office/drawing/2014/main" id="{02B7CE29-C4DC-2541-373D-EA11797A7591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9089321" y="4152612"/>
            <a:ext cx="6562606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4000" b="1" i="0">
                <a:solidFill>
                  <a:schemeClr val="tx2"/>
                </a:solidFill>
                <a:latin typeface="YS Text Bold" pitchFamily="2" charset="0"/>
                <a:cs typeface="YS Text Bold" pitchFamily="2" charset="0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  <a:latin typeface="+mn-lt"/>
              </a:defRPr>
            </a:lvl2pPr>
            <a:lvl3pPr marL="0" indent="0">
              <a:spcAft>
                <a:spcPts val="0"/>
              </a:spcAft>
              <a:buNone/>
              <a:defRPr sz="3200">
                <a:solidFill>
                  <a:schemeClr val="tx2"/>
                </a:solidFill>
                <a:latin typeface="+mn-lt"/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  <a:latin typeface="+mn-lt"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Определиться</a:t>
            </a:r>
            <a:br>
              <a:rPr lang="ru-RU" dirty="0"/>
            </a:br>
            <a:r>
              <a:rPr lang="ru-RU" dirty="0"/>
              <a:t>с количеством слайдов</a:t>
            </a:r>
          </a:p>
        </p:txBody>
      </p:sp>
      <p:sp>
        <p:nvSpPr>
          <p:cNvPr id="25" name="Текст 65">
            <a:extLst>
              <a:ext uri="{FF2B5EF4-FFF2-40B4-BE49-F238E27FC236}">
                <a16:creationId xmlns:a16="http://schemas.microsoft.com/office/drawing/2014/main" id="{53681B0B-5B5B-B455-FBE2-6980FF3EE085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6809983" y="4152612"/>
            <a:ext cx="6569128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4000" b="1" i="0">
                <a:solidFill>
                  <a:schemeClr val="tx2"/>
                </a:solidFill>
                <a:latin typeface="YS Text Bold" pitchFamily="2" charset="0"/>
                <a:cs typeface="YS Text Bold" pitchFamily="2" charset="0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  <a:latin typeface="+mn-lt"/>
              </a:defRPr>
            </a:lvl2pPr>
            <a:lvl3pPr marL="0" indent="0">
              <a:spcAft>
                <a:spcPts val="0"/>
              </a:spcAft>
              <a:buNone/>
              <a:defRPr sz="3200">
                <a:solidFill>
                  <a:schemeClr val="tx2"/>
                </a:solidFill>
                <a:latin typeface="+mn-lt"/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  <a:latin typeface="+mn-lt"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Заголовки </a:t>
            </a:r>
            <a:br>
              <a:rPr lang="ru-RU" dirty="0"/>
            </a:br>
            <a:r>
              <a:rPr lang="ru-RU" dirty="0"/>
              <a:t>и текст</a:t>
            </a:r>
          </a:p>
        </p:txBody>
      </p:sp>
      <p:sp>
        <p:nvSpPr>
          <p:cNvPr id="29" name="Текст 11">
            <a:extLst>
              <a:ext uri="{FF2B5EF4-FFF2-40B4-BE49-F238E27FC236}">
                <a16:creationId xmlns:a16="http://schemas.microsoft.com/office/drawing/2014/main" id="{26256E89-7665-4C54-89A3-F87D925143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05718" y="5851058"/>
            <a:ext cx="6527847" cy="298543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20000" indent="-720000" algn="l" defTabSz="1828595" rtl="0" eaLnBrk="1" latinLnBrk="0" hangingPunct="1">
              <a:lnSpc>
                <a:spcPct val="90000"/>
              </a:lnSpc>
              <a:spcAft>
                <a:spcPts val="1500"/>
              </a:spcAft>
              <a:buClr>
                <a:schemeClr val="tx1"/>
              </a:buClr>
              <a:buSzPct val="100000"/>
              <a:buFont typeface="YS Text Regular" pitchFamily="2" charset="-52"/>
              <a:buChar char="—"/>
              <a:defRPr lang="ru-RU" sz="3200" kern="1200" dirty="0">
                <a:solidFill>
                  <a:schemeClr val="tx1"/>
                </a:solidFill>
                <a:latin typeface="YS Text Regular" pitchFamily="2" charset="77"/>
                <a:ea typeface="YS Text Wide Text Regular" pitchFamily="34" charset="-122"/>
                <a:cs typeface="YS Text Wide Text Regular" pitchFamily="34" charset="-12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r>
              <a:rPr lang="ru-RU" dirty="0"/>
              <a:t>Второй уровень</a:t>
            </a:r>
          </a:p>
          <a:p>
            <a:pPr lvl="0"/>
            <a:r>
              <a:rPr lang="ru-RU" dirty="0"/>
              <a:t>Третий уровень</a:t>
            </a:r>
          </a:p>
          <a:p>
            <a:pPr lvl="0"/>
            <a:r>
              <a:rPr lang="ru-RU" dirty="0"/>
              <a:t>Четвертый уровень</a:t>
            </a:r>
          </a:p>
          <a:p>
            <a:pPr lvl="0"/>
            <a:r>
              <a:rPr lang="ru-RU" dirty="0"/>
              <a:t>Пятый уровень</a:t>
            </a:r>
          </a:p>
        </p:txBody>
      </p:sp>
      <p:sp>
        <p:nvSpPr>
          <p:cNvPr id="37" name="Текст 11">
            <a:extLst>
              <a:ext uri="{FF2B5EF4-FFF2-40B4-BE49-F238E27FC236}">
                <a16:creationId xmlns:a16="http://schemas.microsoft.com/office/drawing/2014/main" id="{7AFAC4FD-86F7-A97C-8DA1-6EBA6204000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089321" y="5851058"/>
            <a:ext cx="6527847" cy="298543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20000" indent="-720000" algn="l" defTabSz="1828595" rtl="0" eaLnBrk="1" latinLnBrk="0" hangingPunct="1">
              <a:lnSpc>
                <a:spcPct val="90000"/>
              </a:lnSpc>
              <a:spcAft>
                <a:spcPts val="1500"/>
              </a:spcAft>
              <a:buClr>
                <a:schemeClr val="tx1"/>
              </a:buClr>
              <a:buSzPct val="100000"/>
              <a:buFont typeface="YS Text Regular" pitchFamily="2" charset="-52"/>
              <a:buChar char="—"/>
              <a:defRPr lang="ru-RU" sz="3200" kern="1200" dirty="0">
                <a:solidFill>
                  <a:schemeClr val="tx1"/>
                </a:solidFill>
                <a:latin typeface="YS Text Regular" pitchFamily="2" charset="77"/>
                <a:ea typeface="YS Text Wide Text Regular" pitchFamily="34" charset="-122"/>
                <a:cs typeface="YS Text Wide Text Regular" pitchFamily="34" charset="-12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r>
              <a:rPr lang="ru-RU" dirty="0"/>
              <a:t>Второй уровень</a:t>
            </a:r>
          </a:p>
          <a:p>
            <a:pPr lvl="0"/>
            <a:r>
              <a:rPr lang="ru-RU" dirty="0"/>
              <a:t>Третий уровень</a:t>
            </a:r>
          </a:p>
          <a:p>
            <a:pPr lvl="0"/>
            <a:r>
              <a:rPr lang="ru-RU" dirty="0"/>
              <a:t>Четвертый уровень</a:t>
            </a:r>
          </a:p>
          <a:p>
            <a:pPr lvl="0"/>
            <a:r>
              <a:rPr lang="ru-RU" dirty="0"/>
              <a:t>Пятый уровень</a:t>
            </a:r>
          </a:p>
        </p:txBody>
      </p:sp>
      <p:sp>
        <p:nvSpPr>
          <p:cNvPr id="39" name="Текст 11">
            <a:extLst>
              <a:ext uri="{FF2B5EF4-FFF2-40B4-BE49-F238E27FC236}">
                <a16:creationId xmlns:a16="http://schemas.microsoft.com/office/drawing/2014/main" id="{C6616223-3A45-2F5E-C982-FED4013B96A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6809982" y="5851058"/>
            <a:ext cx="6527847" cy="298543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20000" indent="-720000" algn="l" defTabSz="1828595" rtl="0" eaLnBrk="1" latinLnBrk="0" hangingPunct="1">
              <a:lnSpc>
                <a:spcPct val="90000"/>
              </a:lnSpc>
              <a:spcAft>
                <a:spcPts val="1500"/>
              </a:spcAft>
              <a:buClr>
                <a:schemeClr val="tx1"/>
              </a:buClr>
              <a:buSzPct val="100000"/>
              <a:buFont typeface="YS Text Regular" pitchFamily="2" charset="-52"/>
              <a:buChar char="—"/>
              <a:defRPr lang="ru-RU" sz="3200" kern="1200" dirty="0">
                <a:solidFill>
                  <a:schemeClr val="tx1"/>
                </a:solidFill>
                <a:latin typeface="YS Text Regular" pitchFamily="2" charset="77"/>
                <a:ea typeface="YS Text Wide Text Regular" pitchFamily="34" charset="-122"/>
                <a:cs typeface="YS Text Wide Text Regular" pitchFamily="34" charset="-12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r>
              <a:rPr lang="ru-RU" dirty="0"/>
              <a:t>Второй уровень</a:t>
            </a:r>
          </a:p>
          <a:p>
            <a:pPr lvl="0"/>
            <a:r>
              <a:rPr lang="ru-RU" dirty="0"/>
              <a:t>Третий уровень</a:t>
            </a:r>
          </a:p>
          <a:p>
            <a:pPr lvl="0"/>
            <a:r>
              <a:rPr lang="ru-RU" dirty="0"/>
              <a:t>Четвертый уровень</a:t>
            </a:r>
          </a:p>
          <a:p>
            <a:pPr lvl="0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0614532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ймлайн 4 этапа с буллитами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7AAC1930-9228-5E86-1DD9-5252011CBD44}"/>
              </a:ext>
            </a:extLst>
          </p:cNvPr>
          <p:cNvCxnSpPr>
            <a:cxnSpLocks/>
          </p:cNvCxnSpPr>
          <p:nvPr userDrawn="1"/>
        </p:nvCxnSpPr>
        <p:spPr>
          <a:xfrm>
            <a:off x="973138" y="3398511"/>
            <a:ext cx="0" cy="9389868"/>
          </a:xfrm>
          <a:prstGeom prst="line">
            <a:avLst/>
          </a:prstGeom>
          <a:ln w="12700" cap="rnd">
            <a:solidFill>
              <a:schemeClr val="bg2">
                <a:alpha val="2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C1EA3806-EC38-FED5-32C6-2F0FE0D98AE8}"/>
              </a:ext>
            </a:extLst>
          </p:cNvPr>
          <p:cNvCxnSpPr>
            <a:cxnSpLocks/>
          </p:cNvCxnSpPr>
          <p:nvPr userDrawn="1"/>
        </p:nvCxnSpPr>
        <p:spPr>
          <a:xfrm>
            <a:off x="6691178" y="3398511"/>
            <a:ext cx="0" cy="9389868"/>
          </a:xfrm>
          <a:prstGeom prst="line">
            <a:avLst/>
          </a:prstGeom>
          <a:ln w="12700" cap="rnd">
            <a:solidFill>
              <a:schemeClr val="bg2">
                <a:alpha val="2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527F85D1-35C6-ACF8-8EEE-2191E1496E0D}"/>
              </a:ext>
            </a:extLst>
          </p:cNvPr>
          <p:cNvCxnSpPr>
            <a:cxnSpLocks/>
          </p:cNvCxnSpPr>
          <p:nvPr userDrawn="1"/>
        </p:nvCxnSpPr>
        <p:spPr>
          <a:xfrm>
            <a:off x="18164402" y="3398511"/>
            <a:ext cx="0" cy="9389868"/>
          </a:xfrm>
          <a:prstGeom prst="line">
            <a:avLst/>
          </a:prstGeom>
          <a:ln w="12700" cap="rnd">
            <a:solidFill>
              <a:schemeClr val="bg2">
                <a:alpha val="2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F9D71C8A-B2A8-6FE8-B628-E98410921281}"/>
              </a:ext>
            </a:extLst>
          </p:cNvPr>
          <p:cNvCxnSpPr>
            <a:cxnSpLocks/>
          </p:cNvCxnSpPr>
          <p:nvPr userDrawn="1"/>
        </p:nvCxnSpPr>
        <p:spPr>
          <a:xfrm>
            <a:off x="12434753" y="3398511"/>
            <a:ext cx="0" cy="9389868"/>
          </a:xfrm>
          <a:prstGeom prst="line">
            <a:avLst/>
          </a:prstGeom>
          <a:ln w="12700" cap="rnd">
            <a:solidFill>
              <a:schemeClr val="bg2">
                <a:alpha val="2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Заголовок 20">
            <a:extLst>
              <a:ext uri="{FF2B5EF4-FFF2-40B4-BE49-F238E27FC236}">
                <a16:creationId xmlns:a16="http://schemas.microsoft.com/office/drawing/2014/main" id="{7436C6E8-2BF2-A7DD-A6E8-F7A22E55E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2338" y="791369"/>
            <a:ext cx="21029613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dirty="0"/>
            </a:lvl1pPr>
          </a:lstStyle>
          <a:p>
            <a:pPr lvl="0">
              <a:lnSpc>
                <a:spcPct val="90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18" name="Текст 11">
            <a:extLst>
              <a:ext uri="{FF2B5EF4-FFF2-40B4-BE49-F238E27FC236}">
                <a16:creationId xmlns:a16="http://schemas.microsoft.com/office/drawing/2014/main" id="{AB8AA476-A078-9867-7590-B11A1818670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2336" y="2148475"/>
            <a:ext cx="21029613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90000"/>
              <a:defRPr lang="ru-RU" sz="3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Подзаголовок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44385B70-EF55-829B-A50D-F84A08D0CDB4}"/>
              </a:ext>
            </a:extLst>
          </p:cNvPr>
          <p:cNvCxnSpPr>
            <a:cxnSpLocks/>
          </p:cNvCxnSpPr>
          <p:nvPr userDrawn="1"/>
        </p:nvCxnSpPr>
        <p:spPr>
          <a:xfrm>
            <a:off x="0" y="12788379"/>
            <a:ext cx="24382413" cy="0"/>
          </a:xfrm>
          <a:prstGeom prst="line">
            <a:avLst/>
          </a:prstGeom>
          <a:ln w="2540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Овал 8">
            <a:extLst>
              <a:ext uri="{FF2B5EF4-FFF2-40B4-BE49-F238E27FC236}">
                <a16:creationId xmlns:a16="http://schemas.microsoft.com/office/drawing/2014/main" id="{20795ADD-9D21-BEDF-8A3F-E096F0FB164C}"/>
              </a:ext>
            </a:extLst>
          </p:cNvPr>
          <p:cNvSpPr/>
          <p:nvPr userDrawn="1"/>
        </p:nvSpPr>
        <p:spPr>
          <a:xfrm>
            <a:off x="877865" y="12693105"/>
            <a:ext cx="190545" cy="190545"/>
          </a:xfrm>
          <a:prstGeom prst="ellipse">
            <a:avLst/>
          </a:prstGeom>
          <a:solidFill>
            <a:schemeClr val="tx2"/>
          </a:solidFill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87633512-2783-3F06-7F66-7AEDB29E46C7}"/>
              </a:ext>
            </a:extLst>
          </p:cNvPr>
          <p:cNvSpPr/>
          <p:nvPr userDrawn="1"/>
        </p:nvSpPr>
        <p:spPr>
          <a:xfrm>
            <a:off x="6595905" y="12693105"/>
            <a:ext cx="190545" cy="190545"/>
          </a:xfrm>
          <a:prstGeom prst="ellipse">
            <a:avLst/>
          </a:prstGeom>
          <a:solidFill>
            <a:schemeClr val="tx2"/>
          </a:solidFill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56BC45D8-ADA5-EAED-E3CF-134044BA0473}"/>
              </a:ext>
            </a:extLst>
          </p:cNvPr>
          <p:cNvSpPr/>
          <p:nvPr userDrawn="1"/>
        </p:nvSpPr>
        <p:spPr>
          <a:xfrm>
            <a:off x="18069129" y="12693105"/>
            <a:ext cx="190545" cy="190545"/>
          </a:xfrm>
          <a:prstGeom prst="ellipse">
            <a:avLst/>
          </a:prstGeom>
          <a:solidFill>
            <a:schemeClr val="tx2"/>
          </a:solidFill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3" name="Текст 55">
            <a:extLst>
              <a:ext uri="{FF2B5EF4-FFF2-40B4-BE49-F238E27FC236}">
                <a16:creationId xmlns:a16="http://schemas.microsoft.com/office/drawing/2014/main" id="{0F63C940-935A-A2AC-05AC-807F9193FF2C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405719" y="3398511"/>
            <a:ext cx="4800184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4000" b="1" i="0">
                <a:solidFill>
                  <a:schemeClr val="tx1"/>
                </a:solidFill>
                <a:latin typeface="YS Text Bold" pitchFamily="2" charset="0"/>
                <a:cs typeface="YS Text Bold" pitchFamily="2" charset="0"/>
              </a:defRPr>
            </a:lvl1pPr>
            <a:lvl2pPr marL="0" indent="0"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</a:defRPr>
            </a:lvl2pPr>
            <a:lvl3pPr marL="0" indent="0">
              <a:buNone/>
              <a:defRPr sz="3200">
                <a:solidFill>
                  <a:schemeClr val="tx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/>
              <a:t>Составить план презентации</a:t>
            </a:r>
          </a:p>
        </p:txBody>
      </p:sp>
      <p:sp>
        <p:nvSpPr>
          <p:cNvPr id="24" name="Текст 63">
            <a:extLst>
              <a:ext uri="{FF2B5EF4-FFF2-40B4-BE49-F238E27FC236}">
                <a16:creationId xmlns:a16="http://schemas.microsoft.com/office/drawing/2014/main" id="{02B7CE29-C4DC-2541-373D-EA11797A7591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7163277" y="3398511"/>
            <a:ext cx="4846938" cy="16619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4000" b="1" i="0">
                <a:solidFill>
                  <a:schemeClr val="tx1"/>
                </a:solidFill>
                <a:latin typeface="YS Text Bold" pitchFamily="2" charset="0"/>
                <a:cs typeface="YS Text Bold" pitchFamily="2" charset="0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  <a:latin typeface="+mn-lt"/>
              </a:defRPr>
            </a:lvl2pPr>
            <a:lvl3pPr marL="0" indent="0">
              <a:spcAft>
                <a:spcPts val="0"/>
              </a:spcAft>
              <a:buNone/>
              <a:defRPr sz="3200">
                <a:solidFill>
                  <a:schemeClr val="tx2"/>
                </a:solidFill>
                <a:latin typeface="+mn-lt"/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  <a:latin typeface="+mn-lt"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Определиться</a:t>
            </a:r>
            <a:br>
              <a:rPr lang="ru-RU" dirty="0"/>
            </a:br>
            <a:r>
              <a:rPr lang="ru-RU" dirty="0"/>
              <a:t>с количеством слайдов</a:t>
            </a:r>
          </a:p>
        </p:txBody>
      </p:sp>
      <p:sp>
        <p:nvSpPr>
          <p:cNvPr id="25" name="Текст 65">
            <a:extLst>
              <a:ext uri="{FF2B5EF4-FFF2-40B4-BE49-F238E27FC236}">
                <a16:creationId xmlns:a16="http://schemas.microsoft.com/office/drawing/2014/main" id="{53681B0B-5B5B-B455-FBE2-6980FF3EE085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8638810" y="3398511"/>
            <a:ext cx="4851755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4000" b="1" i="0">
                <a:solidFill>
                  <a:schemeClr val="tx1"/>
                </a:solidFill>
                <a:latin typeface="YS Text Bold" pitchFamily="2" charset="0"/>
                <a:cs typeface="YS Text Bold" pitchFamily="2" charset="0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  <a:latin typeface="+mn-lt"/>
              </a:defRPr>
            </a:lvl2pPr>
            <a:lvl3pPr marL="0" indent="0">
              <a:spcAft>
                <a:spcPts val="0"/>
              </a:spcAft>
              <a:buNone/>
              <a:defRPr sz="3200">
                <a:solidFill>
                  <a:schemeClr val="tx2"/>
                </a:solidFill>
                <a:latin typeface="+mn-lt"/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  <a:latin typeface="+mn-lt"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Заголовки </a:t>
            </a:r>
            <a:br>
              <a:rPr lang="ru-RU" dirty="0"/>
            </a:br>
            <a:r>
              <a:rPr lang="ru-RU" dirty="0"/>
              <a:t>и текст</a:t>
            </a:r>
          </a:p>
        </p:txBody>
      </p:sp>
      <p:sp>
        <p:nvSpPr>
          <p:cNvPr id="29" name="Текст 11">
            <a:extLst>
              <a:ext uri="{FF2B5EF4-FFF2-40B4-BE49-F238E27FC236}">
                <a16:creationId xmlns:a16="http://schemas.microsoft.com/office/drawing/2014/main" id="{26256E89-7665-4C54-89A3-F87D925143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05719" y="5712510"/>
            <a:ext cx="4821266" cy="298543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20000" indent="-720000" algn="l" defTabSz="1828595" rtl="0" eaLnBrk="1" latinLnBrk="0" hangingPunct="1">
              <a:lnSpc>
                <a:spcPct val="90000"/>
              </a:lnSpc>
              <a:spcAft>
                <a:spcPts val="1500"/>
              </a:spcAft>
              <a:buClr>
                <a:schemeClr val="tx1"/>
              </a:buClr>
              <a:buSzPct val="100000"/>
              <a:buFont typeface="YS Text Regular" pitchFamily="2" charset="-52"/>
              <a:buChar char="—"/>
              <a:defRPr lang="ru-RU" sz="3200" kern="1200" dirty="0">
                <a:solidFill>
                  <a:schemeClr val="tx1"/>
                </a:solidFill>
                <a:latin typeface="YS Text Regular" pitchFamily="2" charset="77"/>
                <a:ea typeface="YS Text Wide Text Regular" pitchFamily="34" charset="-122"/>
                <a:cs typeface="YS Text Wide Text Regular" pitchFamily="34" charset="-12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r>
              <a:rPr lang="ru-RU" dirty="0"/>
              <a:t>Второй уровень</a:t>
            </a:r>
          </a:p>
          <a:p>
            <a:pPr lvl="0"/>
            <a:r>
              <a:rPr lang="ru-RU" dirty="0"/>
              <a:t>Третий уровень</a:t>
            </a:r>
          </a:p>
          <a:p>
            <a:pPr lvl="0"/>
            <a:r>
              <a:rPr lang="ru-RU" dirty="0"/>
              <a:t>Четвертый уровень</a:t>
            </a:r>
          </a:p>
          <a:p>
            <a:pPr lvl="0"/>
            <a:r>
              <a:rPr lang="ru-RU" dirty="0"/>
              <a:t>Пятый уровень</a:t>
            </a:r>
          </a:p>
        </p:txBody>
      </p:sp>
      <p:sp>
        <p:nvSpPr>
          <p:cNvPr id="37" name="Текст 11">
            <a:extLst>
              <a:ext uri="{FF2B5EF4-FFF2-40B4-BE49-F238E27FC236}">
                <a16:creationId xmlns:a16="http://schemas.microsoft.com/office/drawing/2014/main" id="{7AFAC4FD-86F7-A97C-8DA1-6EBA6204000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163278" y="5712510"/>
            <a:ext cx="4821266" cy="298543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20000" indent="-720000" algn="l" defTabSz="1828595" rtl="0" eaLnBrk="1" latinLnBrk="0" hangingPunct="1">
              <a:lnSpc>
                <a:spcPct val="90000"/>
              </a:lnSpc>
              <a:spcAft>
                <a:spcPts val="1500"/>
              </a:spcAft>
              <a:buClr>
                <a:schemeClr val="tx1"/>
              </a:buClr>
              <a:buSzPct val="100000"/>
              <a:buFont typeface="YS Text Regular" pitchFamily="2" charset="-52"/>
              <a:buChar char="—"/>
              <a:defRPr lang="ru-RU" sz="3200" kern="1200" dirty="0">
                <a:solidFill>
                  <a:schemeClr val="tx1"/>
                </a:solidFill>
                <a:latin typeface="YS Text Regular" pitchFamily="2" charset="77"/>
                <a:ea typeface="YS Text Wide Text Regular" pitchFamily="34" charset="-122"/>
                <a:cs typeface="YS Text Wide Text Regular" pitchFamily="34" charset="-12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r>
              <a:rPr lang="ru-RU" dirty="0"/>
              <a:t>Второй уровень</a:t>
            </a:r>
          </a:p>
          <a:p>
            <a:pPr lvl="0"/>
            <a:r>
              <a:rPr lang="ru-RU" dirty="0"/>
              <a:t>Третий уровень</a:t>
            </a:r>
          </a:p>
          <a:p>
            <a:pPr lvl="0"/>
            <a:r>
              <a:rPr lang="ru-RU" dirty="0"/>
              <a:t>Четвертый уровень</a:t>
            </a:r>
          </a:p>
          <a:p>
            <a:pPr lvl="0"/>
            <a:r>
              <a:rPr lang="ru-RU" dirty="0"/>
              <a:t>Пятый уровень</a:t>
            </a:r>
          </a:p>
        </p:txBody>
      </p:sp>
      <p:sp>
        <p:nvSpPr>
          <p:cNvPr id="39" name="Текст 11">
            <a:extLst>
              <a:ext uri="{FF2B5EF4-FFF2-40B4-BE49-F238E27FC236}">
                <a16:creationId xmlns:a16="http://schemas.microsoft.com/office/drawing/2014/main" id="{C6616223-3A45-2F5E-C982-FED4013B96A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8638810" y="5712510"/>
            <a:ext cx="4821266" cy="298543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20000" indent="-720000" algn="l" defTabSz="1828595" rtl="0" eaLnBrk="1" latinLnBrk="0" hangingPunct="1">
              <a:lnSpc>
                <a:spcPct val="90000"/>
              </a:lnSpc>
              <a:spcAft>
                <a:spcPts val="1500"/>
              </a:spcAft>
              <a:buClr>
                <a:schemeClr val="tx1"/>
              </a:buClr>
              <a:buSzPct val="100000"/>
              <a:buFont typeface="YS Text Regular" pitchFamily="2" charset="-52"/>
              <a:buChar char="—"/>
              <a:defRPr lang="ru-RU" sz="3200" kern="1200" dirty="0">
                <a:solidFill>
                  <a:schemeClr val="tx1"/>
                </a:solidFill>
                <a:latin typeface="YS Text Regular" pitchFamily="2" charset="77"/>
                <a:ea typeface="YS Text Wide Text Regular" pitchFamily="34" charset="-122"/>
                <a:cs typeface="YS Text Wide Text Regular" pitchFamily="34" charset="-12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r>
              <a:rPr lang="ru-RU" dirty="0"/>
              <a:t>Второй уровень</a:t>
            </a:r>
          </a:p>
          <a:p>
            <a:pPr lvl="0"/>
            <a:r>
              <a:rPr lang="ru-RU" dirty="0"/>
              <a:t>Третий уровень</a:t>
            </a:r>
          </a:p>
          <a:p>
            <a:pPr lvl="0"/>
            <a:r>
              <a:rPr lang="ru-RU" dirty="0"/>
              <a:t>Четвертый уровень</a:t>
            </a:r>
          </a:p>
          <a:p>
            <a:pPr lvl="0"/>
            <a:r>
              <a:rPr lang="ru-RU" dirty="0"/>
              <a:t>Пятый уровень</a:t>
            </a:r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710C90CD-436F-0324-B4B9-3948E6B18FB7}"/>
              </a:ext>
            </a:extLst>
          </p:cNvPr>
          <p:cNvSpPr/>
          <p:nvPr userDrawn="1"/>
        </p:nvSpPr>
        <p:spPr>
          <a:xfrm>
            <a:off x="12339480" y="12693105"/>
            <a:ext cx="190545" cy="190545"/>
          </a:xfrm>
          <a:prstGeom prst="ellipse">
            <a:avLst/>
          </a:prstGeom>
          <a:solidFill>
            <a:schemeClr val="tx2"/>
          </a:solidFill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5" name="Текст 63">
            <a:extLst>
              <a:ext uri="{FF2B5EF4-FFF2-40B4-BE49-F238E27FC236}">
                <a16:creationId xmlns:a16="http://schemas.microsoft.com/office/drawing/2014/main" id="{786718B4-F935-BD50-57B0-1FFB04F8B010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12906852" y="3398511"/>
            <a:ext cx="4846938" cy="16619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4000" b="1" i="0">
                <a:solidFill>
                  <a:schemeClr val="tx1"/>
                </a:solidFill>
                <a:latin typeface="YS Text Bold" pitchFamily="2" charset="0"/>
                <a:cs typeface="YS Text Bold" pitchFamily="2" charset="0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  <a:latin typeface="+mn-lt"/>
              </a:defRPr>
            </a:lvl2pPr>
            <a:lvl3pPr marL="0" indent="0">
              <a:spcAft>
                <a:spcPts val="0"/>
              </a:spcAft>
              <a:buNone/>
              <a:defRPr sz="3200">
                <a:solidFill>
                  <a:schemeClr val="tx2"/>
                </a:solidFill>
                <a:latin typeface="+mn-lt"/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  <a:latin typeface="+mn-lt"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Определиться</a:t>
            </a:r>
            <a:br>
              <a:rPr lang="ru-RU" dirty="0"/>
            </a:br>
            <a:r>
              <a:rPr lang="ru-RU" dirty="0"/>
              <a:t>с количеством слайдов</a:t>
            </a:r>
          </a:p>
        </p:txBody>
      </p:sp>
      <p:sp>
        <p:nvSpPr>
          <p:cNvPr id="6" name="Текст 11">
            <a:extLst>
              <a:ext uri="{FF2B5EF4-FFF2-40B4-BE49-F238E27FC236}">
                <a16:creationId xmlns:a16="http://schemas.microsoft.com/office/drawing/2014/main" id="{DA65FA08-D823-DC64-18CF-B1A8883D8395}"/>
              </a:ext>
            </a:extLst>
          </p:cNvPr>
          <p:cNvSpPr>
            <a:spLocks noGrp="1"/>
          </p:cNvSpPr>
          <p:nvPr userDrawn="1">
            <p:ph type="body" sz="quarter" idx="45"/>
          </p:nvPr>
        </p:nvSpPr>
        <p:spPr>
          <a:xfrm>
            <a:off x="12906853" y="5712510"/>
            <a:ext cx="4821266" cy="298543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20000" indent="-720000" algn="l" defTabSz="1828595" rtl="0" eaLnBrk="1" latinLnBrk="0" hangingPunct="1">
              <a:lnSpc>
                <a:spcPct val="90000"/>
              </a:lnSpc>
              <a:spcAft>
                <a:spcPts val="1500"/>
              </a:spcAft>
              <a:buClr>
                <a:schemeClr val="tx1"/>
              </a:buClr>
              <a:buSzPct val="100000"/>
              <a:buFont typeface="YS Text Regular" pitchFamily="2" charset="-52"/>
              <a:buChar char="—"/>
              <a:defRPr lang="ru-RU" sz="3200" kern="1200" dirty="0">
                <a:solidFill>
                  <a:schemeClr val="tx1"/>
                </a:solidFill>
                <a:latin typeface="YS Text Regular" pitchFamily="2" charset="77"/>
                <a:ea typeface="YS Text Wide Text Regular" pitchFamily="34" charset="-122"/>
                <a:cs typeface="YS Text Wide Text Regular" pitchFamily="34" charset="-12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r>
              <a:rPr lang="ru-RU" dirty="0"/>
              <a:t>Второй уровень</a:t>
            </a:r>
          </a:p>
          <a:p>
            <a:pPr lvl="0"/>
            <a:r>
              <a:rPr lang="ru-RU" dirty="0"/>
              <a:t>Третий уровень</a:t>
            </a:r>
          </a:p>
          <a:p>
            <a:pPr lvl="0"/>
            <a:r>
              <a:rPr lang="ru-RU" dirty="0"/>
              <a:t>Четвертый уровень</a:t>
            </a:r>
          </a:p>
          <a:p>
            <a:pPr lvl="0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6811790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икер с фото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2">
            <a:extLst>
              <a:ext uri="{FF2B5EF4-FFF2-40B4-BE49-F238E27FC236}">
                <a16:creationId xmlns:a16="http://schemas.microsoft.com/office/drawing/2014/main" id="{410A4CA8-3840-1940-8213-163705A51477}"/>
              </a:ext>
            </a:extLst>
          </p:cNvPr>
          <p:cNvSpPr/>
          <p:nvPr userDrawn="1"/>
        </p:nvSpPr>
        <p:spPr>
          <a:xfrm flipH="1">
            <a:off x="-893729" y="1188720"/>
            <a:ext cx="26230828" cy="11338798"/>
          </a:xfrm>
          <a:custGeom>
            <a:avLst/>
            <a:gdLst>
              <a:gd name="connsiteX0" fmla="*/ 24781932 w 25004707"/>
              <a:gd name="connsiteY0" fmla="*/ 4992328 h 10808782"/>
              <a:gd name="connsiteX1" fmla="*/ 24813712 w 25004707"/>
              <a:gd name="connsiteY1" fmla="*/ 4507894 h 10808782"/>
              <a:gd name="connsiteX2" fmla="*/ 24781932 w 25004707"/>
              <a:gd name="connsiteY2" fmla="*/ 4992328 h 10808782"/>
              <a:gd name="connsiteX3" fmla="*/ 24749994 w 25004707"/>
              <a:gd name="connsiteY3" fmla="*/ 5477249 h 10808782"/>
              <a:gd name="connsiteX4" fmla="*/ 24781932 w 25004707"/>
              <a:gd name="connsiteY4" fmla="*/ 4992328 h 10808782"/>
              <a:gd name="connsiteX5" fmla="*/ 23497668 w 25004707"/>
              <a:gd name="connsiteY5" fmla="*/ 4908160 h 10808782"/>
              <a:gd name="connsiteX6" fmla="*/ 23465886 w 25004707"/>
              <a:gd name="connsiteY6" fmla="*/ 5393065 h 10808782"/>
              <a:gd name="connsiteX7" fmla="*/ 24813712 w 25004707"/>
              <a:gd name="connsiteY7" fmla="*/ 4507894 h 10808782"/>
              <a:gd name="connsiteX8" fmla="*/ 24845492 w 25004707"/>
              <a:gd name="connsiteY8" fmla="*/ 4022989 h 10808782"/>
              <a:gd name="connsiteX9" fmla="*/ 24813712 w 25004707"/>
              <a:gd name="connsiteY9" fmla="*/ 4507894 h 10808782"/>
              <a:gd name="connsiteX10" fmla="*/ 23529446 w 25004707"/>
              <a:gd name="connsiteY10" fmla="*/ 4423711 h 10808782"/>
              <a:gd name="connsiteX11" fmla="*/ 24718214 w 25004707"/>
              <a:gd name="connsiteY11" fmla="*/ 5961666 h 10808782"/>
              <a:gd name="connsiteX12" fmla="*/ 24686276 w 25004707"/>
              <a:gd name="connsiteY12" fmla="*/ 6446571 h 10808782"/>
              <a:gd name="connsiteX13" fmla="*/ 23402168 w 25004707"/>
              <a:gd name="connsiteY13" fmla="*/ 6362388 h 10808782"/>
              <a:gd name="connsiteX14" fmla="*/ 24718214 w 25004707"/>
              <a:gd name="connsiteY14" fmla="*/ 5961666 h 10808782"/>
              <a:gd name="connsiteX15" fmla="*/ 24749994 w 25004707"/>
              <a:gd name="connsiteY15" fmla="*/ 5477249 h 10808782"/>
              <a:gd name="connsiteX16" fmla="*/ 24718214 w 25004707"/>
              <a:gd name="connsiteY16" fmla="*/ 5961666 h 10808782"/>
              <a:gd name="connsiteX17" fmla="*/ 23433948 w 25004707"/>
              <a:gd name="connsiteY17" fmla="*/ 5877498 h 10808782"/>
              <a:gd name="connsiteX18" fmla="*/ 24749994 w 25004707"/>
              <a:gd name="connsiteY18" fmla="*/ 5477249 h 10808782"/>
              <a:gd name="connsiteX19" fmla="*/ 23465886 w 25004707"/>
              <a:gd name="connsiteY19" fmla="*/ 5393065 h 10808782"/>
              <a:gd name="connsiteX20" fmla="*/ 24940990 w 25004707"/>
              <a:gd name="connsiteY20" fmla="*/ 2568777 h 10808782"/>
              <a:gd name="connsiteX21" fmla="*/ 24909210 w 25004707"/>
              <a:gd name="connsiteY21" fmla="*/ 3053682 h 10808782"/>
              <a:gd name="connsiteX22" fmla="*/ 23624944 w 25004707"/>
              <a:gd name="connsiteY22" fmla="*/ 2969499 h 10808782"/>
              <a:gd name="connsiteX23" fmla="*/ 24877430 w 25004707"/>
              <a:gd name="connsiteY23" fmla="*/ 3538571 h 10808782"/>
              <a:gd name="connsiteX24" fmla="*/ 24845492 w 25004707"/>
              <a:gd name="connsiteY24" fmla="*/ 4023005 h 10808782"/>
              <a:gd name="connsiteX25" fmla="*/ 24845492 w 25004707"/>
              <a:gd name="connsiteY25" fmla="*/ 4023005 h 10808782"/>
              <a:gd name="connsiteX26" fmla="*/ 24856664 w 25004707"/>
              <a:gd name="connsiteY26" fmla="*/ 4023744 h 10808782"/>
              <a:gd name="connsiteX27" fmla="*/ 24845492 w 25004707"/>
              <a:gd name="connsiteY27" fmla="*/ 4023005 h 10808782"/>
              <a:gd name="connsiteX28" fmla="*/ 23561384 w 25004707"/>
              <a:gd name="connsiteY28" fmla="*/ 3938837 h 10808782"/>
              <a:gd name="connsiteX29" fmla="*/ 24940990 w 25004707"/>
              <a:gd name="connsiteY29" fmla="*/ 2568777 h 10808782"/>
              <a:gd name="connsiteX30" fmla="*/ 23656882 w 25004707"/>
              <a:gd name="connsiteY30" fmla="*/ 2484594 h 10808782"/>
              <a:gd name="connsiteX31" fmla="*/ 23624944 w 25004707"/>
              <a:gd name="connsiteY31" fmla="*/ 2969499 h 10808782"/>
              <a:gd name="connsiteX32" fmla="*/ 24940990 w 25004707"/>
              <a:gd name="connsiteY32" fmla="*/ 2568777 h 10808782"/>
              <a:gd name="connsiteX33" fmla="*/ 24952160 w 25004707"/>
              <a:gd name="connsiteY33" fmla="*/ 2569500 h 10808782"/>
              <a:gd name="connsiteX34" fmla="*/ 24940990 w 25004707"/>
              <a:gd name="connsiteY34" fmla="*/ 2568777 h 10808782"/>
              <a:gd name="connsiteX35" fmla="*/ 25004708 w 25004707"/>
              <a:gd name="connsiteY35" fmla="*/ 1599423 h 10808782"/>
              <a:gd name="connsiteX36" fmla="*/ 5763304 w 25004707"/>
              <a:gd name="connsiteY36" fmla="*/ 338142 h 10808782"/>
              <a:gd name="connsiteX37" fmla="*/ 631905 w 25004707"/>
              <a:gd name="connsiteY37" fmla="*/ 1774 h 10808782"/>
              <a:gd name="connsiteX38" fmla="*/ 604841 w 25004707"/>
              <a:gd name="connsiteY38" fmla="*/ 0 h 10808782"/>
              <a:gd name="connsiteX39" fmla="*/ 0 w 25004707"/>
              <a:gd name="connsiteY39" fmla="*/ 9209356 h 10808782"/>
              <a:gd name="connsiteX40" fmla="*/ 1284177 w 25004707"/>
              <a:gd name="connsiteY40" fmla="*/ 9293539 h 10808782"/>
              <a:gd name="connsiteX41" fmla="*/ 24909210 w 25004707"/>
              <a:gd name="connsiteY41" fmla="*/ 3053651 h 10808782"/>
              <a:gd name="connsiteX42" fmla="*/ 24877430 w 25004707"/>
              <a:gd name="connsiteY42" fmla="*/ 3538556 h 10808782"/>
              <a:gd name="connsiteX43" fmla="*/ 23593164 w 25004707"/>
              <a:gd name="connsiteY43" fmla="*/ 3454388 h 10808782"/>
              <a:gd name="connsiteX44" fmla="*/ 24590780 w 25004707"/>
              <a:gd name="connsiteY44" fmla="*/ 7900799 h 10808782"/>
              <a:gd name="connsiteX45" fmla="*/ 24622718 w 25004707"/>
              <a:gd name="connsiteY45" fmla="*/ 7415910 h 10808782"/>
              <a:gd name="connsiteX46" fmla="*/ 24590780 w 25004707"/>
              <a:gd name="connsiteY46" fmla="*/ 7900799 h 10808782"/>
              <a:gd name="connsiteX47" fmla="*/ 23306672 w 25004707"/>
              <a:gd name="connsiteY47" fmla="*/ 7816615 h 10808782"/>
              <a:gd name="connsiteX48" fmla="*/ 23274890 w 25004707"/>
              <a:gd name="connsiteY48" fmla="*/ 8301049 h 10808782"/>
              <a:gd name="connsiteX49" fmla="*/ 21990782 w 25004707"/>
              <a:gd name="connsiteY49" fmla="*/ 8216849 h 10808782"/>
              <a:gd name="connsiteX50" fmla="*/ 21466882 w 25004707"/>
              <a:gd name="connsiteY50" fmla="*/ 8182522 h 10808782"/>
              <a:gd name="connsiteX51" fmla="*/ 20799970 w 25004707"/>
              <a:gd name="connsiteY51" fmla="*/ 8169870 h 10808782"/>
              <a:gd name="connsiteX52" fmla="*/ 24590780 w 25004707"/>
              <a:gd name="connsiteY52" fmla="*/ 7900799 h 10808782"/>
              <a:gd name="connsiteX53" fmla="*/ 24601948 w 25004707"/>
              <a:gd name="connsiteY53" fmla="*/ 7901538 h 10808782"/>
              <a:gd name="connsiteX54" fmla="*/ 24622718 w 25004707"/>
              <a:gd name="connsiteY54" fmla="*/ 7415910 h 10808782"/>
              <a:gd name="connsiteX55" fmla="*/ 24654496 w 25004707"/>
              <a:gd name="connsiteY55" fmla="*/ 6931005 h 10808782"/>
              <a:gd name="connsiteX56" fmla="*/ 24622718 w 25004707"/>
              <a:gd name="connsiteY56" fmla="*/ 7415910 h 10808782"/>
              <a:gd name="connsiteX57" fmla="*/ 23338452 w 25004707"/>
              <a:gd name="connsiteY57" fmla="*/ 7331710 h 10808782"/>
              <a:gd name="connsiteX58" fmla="*/ 24558998 w 25004707"/>
              <a:gd name="connsiteY58" fmla="*/ 8385232 h 10808782"/>
              <a:gd name="connsiteX59" fmla="*/ 24527218 w 25004707"/>
              <a:gd name="connsiteY59" fmla="*/ 8870137 h 10808782"/>
              <a:gd name="connsiteX60" fmla="*/ 23242952 w 25004707"/>
              <a:gd name="connsiteY60" fmla="*/ 8785953 h 10808782"/>
              <a:gd name="connsiteX61" fmla="*/ 24558998 w 25004707"/>
              <a:gd name="connsiteY61" fmla="*/ 8385232 h 10808782"/>
              <a:gd name="connsiteX62" fmla="*/ 24590780 w 25004707"/>
              <a:gd name="connsiteY62" fmla="*/ 7900799 h 10808782"/>
              <a:gd name="connsiteX63" fmla="*/ 24558998 w 25004707"/>
              <a:gd name="connsiteY63" fmla="*/ 8385232 h 10808782"/>
              <a:gd name="connsiteX64" fmla="*/ 23274890 w 25004707"/>
              <a:gd name="connsiteY64" fmla="*/ 8301049 h 10808782"/>
              <a:gd name="connsiteX65" fmla="*/ 23242952 w 25004707"/>
              <a:gd name="connsiteY65" fmla="*/ 8785953 h 10808782"/>
              <a:gd name="connsiteX66" fmla="*/ 24654496 w 25004707"/>
              <a:gd name="connsiteY66" fmla="*/ 6931005 h 10808782"/>
              <a:gd name="connsiteX67" fmla="*/ 24686434 w 25004707"/>
              <a:gd name="connsiteY67" fmla="*/ 6446571 h 10808782"/>
              <a:gd name="connsiteX68" fmla="*/ 24697448 w 25004707"/>
              <a:gd name="connsiteY68" fmla="*/ 6447294 h 10808782"/>
              <a:gd name="connsiteX69" fmla="*/ 24654496 w 25004707"/>
              <a:gd name="connsiteY69" fmla="*/ 6931005 h 10808782"/>
              <a:gd name="connsiteX70" fmla="*/ 23370388 w 25004707"/>
              <a:gd name="connsiteY70" fmla="*/ 6846837 h 10808782"/>
              <a:gd name="connsiteX71" fmla="*/ 24463500 w 25004707"/>
              <a:gd name="connsiteY71" fmla="*/ 9839444 h 10808782"/>
              <a:gd name="connsiteX72" fmla="*/ 24431722 w 25004707"/>
              <a:gd name="connsiteY72" fmla="*/ 10323878 h 10808782"/>
              <a:gd name="connsiteX73" fmla="*/ 23147614 w 25004707"/>
              <a:gd name="connsiteY73" fmla="*/ 10239694 h 10808782"/>
              <a:gd name="connsiteX74" fmla="*/ 23338608 w 25004707"/>
              <a:gd name="connsiteY74" fmla="*/ 7331726 h 10808782"/>
              <a:gd name="connsiteX75" fmla="*/ 23306672 w 25004707"/>
              <a:gd name="connsiteY75" fmla="*/ 7816631 h 10808782"/>
              <a:gd name="connsiteX76" fmla="*/ 22022564 w 25004707"/>
              <a:gd name="connsiteY76" fmla="*/ 7732447 h 10808782"/>
              <a:gd name="connsiteX77" fmla="*/ 23242952 w 25004707"/>
              <a:gd name="connsiteY77" fmla="*/ 8785953 h 10808782"/>
              <a:gd name="connsiteX78" fmla="*/ 23211172 w 25004707"/>
              <a:gd name="connsiteY78" fmla="*/ 9270371 h 10808782"/>
              <a:gd name="connsiteX79" fmla="*/ 23242952 w 25004707"/>
              <a:gd name="connsiteY79" fmla="*/ 8785953 h 10808782"/>
              <a:gd name="connsiteX80" fmla="*/ 21958844 w 25004707"/>
              <a:gd name="connsiteY80" fmla="*/ 8701770 h 10808782"/>
              <a:gd name="connsiteX81" fmla="*/ 23433948 w 25004707"/>
              <a:gd name="connsiteY81" fmla="*/ 5877498 h 10808782"/>
              <a:gd name="connsiteX82" fmla="*/ 23465886 w 25004707"/>
              <a:gd name="connsiteY82" fmla="*/ 5393065 h 10808782"/>
              <a:gd name="connsiteX83" fmla="*/ 23433948 w 25004707"/>
              <a:gd name="connsiteY83" fmla="*/ 5877498 h 10808782"/>
              <a:gd name="connsiteX84" fmla="*/ 22149840 w 25004707"/>
              <a:gd name="connsiteY84" fmla="*/ 5793299 h 10808782"/>
              <a:gd name="connsiteX85" fmla="*/ 22138828 w 25004707"/>
              <a:gd name="connsiteY85" fmla="*/ 6277685 h 10808782"/>
              <a:gd name="connsiteX86" fmla="*/ 23465886 w 25004707"/>
              <a:gd name="connsiteY86" fmla="*/ 5393065 h 10808782"/>
              <a:gd name="connsiteX87" fmla="*/ 22181622 w 25004707"/>
              <a:gd name="connsiteY87" fmla="*/ 5308881 h 10808782"/>
              <a:gd name="connsiteX88" fmla="*/ 23115676 w 25004707"/>
              <a:gd name="connsiteY88" fmla="*/ 10724599 h 10808782"/>
              <a:gd name="connsiteX89" fmla="*/ 23147614 w 25004707"/>
              <a:gd name="connsiteY89" fmla="*/ 10239709 h 10808782"/>
              <a:gd name="connsiteX90" fmla="*/ 23115676 w 25004707"/>
              <a:gd name="connsiteY90" fmla="*/ 10724599 h 10808782"/>
              <a:gd name="connsiteX91" fmla="*/ 24399940 w 25004707"/>
              <a:gd name="connsiteY91" fmla="*/ 10808782 h 10808782"/>
              <a:gd name="connsiteX92" fmla="*/ 24431722 w 25004707"/>
              <a:gd name="connsiteY92" fmla="*/ 10323878 h 10808782"/>
              <a:gd name="connsiteX93" fmla="*/ 23115676 w 25004707"/>
              <a:gd name="connsiteY93" fmla="*/ 10724599 h 10808782"/>
              <a:gd name="connsiteX94" fmla="*/ 21831568 w 25004707"/>
              <a:gd name="connsiteY94" fmla="*/ 10640431 h 10808782"/>
              <a:gd name="connsiteX95" fmla="*/ 23147614 w 25004707"/>
              <a:gd name="connsiteY95" fmla="*/ 10239709 h 10808782"/>
              <a:gd name="connsiteX96" fmla="*/ 23179392 w 25004707"/>
              <a:gd name="connsiteY96" fmla="*/ 9755261 h 10808782"/>
              <a:gd name="connsiteX97" fmla="*/ 23147614 w 25004707"/>
              <a:gd name="connsiteY97" fmla="*/ 10239709 h 10808782"/>
              <a:gd name="connsiteX98" fmla="*/ 21863348 w 25004707"/>
              <a:gd name="connsiteY98" fmla="*/ 10155526 h 10808782"/>
              <a:gd name="connsiteX99" fmla="*/ 23720600 w 25004707"/>
              <a:gd name="connsiteY99" fmla="*/ 1515244 h 10808782"/>
              <a:gd name="connsiteX100" fmla="*/ 23688662 w 25004707"/>
              <a:gd name="connsiteY100" fmla="*/ 2000144 h 10808782"/>
              <a:gd name="connsiteX101" fmla="*/ 23688662 w 25004707"/>
              <a:gd name="connsiteY101" fmla="*/ 2000144 h 10808782"/>
              <a:gd name="connsiteX102" fmla="*/ 24972772 w 25004707"/>
              <a:gd name="connsiteY102" fmla="*/ 2084312 h 10808782"/>
              <a:gd name="connsiteX103" fmla="*/ 23688662 w 25004707"/>
              <a:gd name="connsiteY103" fmla="*/ 2000144 h 10808782"/>
              <a:gd name="connsiteX104" fmla="*/ 22404554 w 25004707"/>
              <a:gd name="connsiteY104" fmla="*/ 1915976 h 10808782"/>
              <a:gd name="connsiteX105" fmla="*/ 23179392 w 25004707"/>
              <a:gd name="connsiteY105" fmla="*/ 9755261 h 10808782"/>
              <a:gd name="connsiteX106" fmla="*/ 23211172 w 25004707"/>
              <a:gd name="connsiteY106" fmla="*/ 9270387 h 10808782"/>
              <a:gd name="connsiteX107" fmla="*/ 23179392 w 25004707"/>
              <a:gd name="connsiteY107" fmla="*/ 9755261 h 10808782"/>
              <a:gd name="connsiteX108" fmla="*/ 21895126 w 25004707"/>
              <a:gd name="connsiteY108" fmla="*/ 9671092 h 10808782"/>
              <a:gd name="connsiteX109" fmla="*/ 21863348 w 25004707"/>
              <a:gd name="connsiteY109" fmla="*/ 10155526 h 10808782"/>
              <a:gd name="connsiteX110" fmla="*/ 23179392 w 25004707"/>
              <a:gd name="connsiteY110" fmla="*/ 9755261 h 10808782"/>
              <a:gd name="connsiteX111" fmla="*/ 24463500 w 25004707"/>
              <a:gd name="connsiteY111" fmla="*/ 9839460 h 10808782"/>
              <a:gd name="connsiteX112" fmla="*/ 24495438 w 25004707"/>
              <a:gd name="connsiteY112" fmla="*/ 9354555 h 10808782"/>
              <a:gd name="connsiteX113" fmla="*/ 24506452 w 25004707"/>
              <a:gd name="connsiteY113" fmla="*/ 9355294 h 10808782"/>
              <a:gd name="connsiteX114" fmla="*/ 23593164 w 25004707"/>
              <a:gd name="connsiteY114" fmla="*/ 3454388 h 10808782"/>
              <a:gd name="connsiteX115" fmla="*/ 23625102 w 25004707"/>
              <a:gd name="connsiteY115" fmla="*/ 2969483 h 10808782"/>
              <a:gd name="connsiteX116" fmla="*/ 23593164 w 25004707"/>
              <a:gd name="connsiteY116" fmla="*/ 3454388 h 10808782"/>
              <a:gd name="connsiteX117" fmla="*/ 22309056 w 25004707"/>
              <a:gd name="connsiteY117" fmla="*/ 3370204 h 10808782"/>
              <a:gd name="connsiteX118" fmla="*/ 23624944 w 25004707"/>
              <a:gd name="connsiteY118" fmla="*/ 2969499 h 10808782"/>
              <a:gd name="connsiteX119" fmla="*/ 22340836 w 25004707"/>
              <a:gd name="connsiteY119" fmla="*/ 2885315 h 10808782"/>
              <a:gd name="connsiteX120" fmla="*/ 23593164 w 25004707"/>
              <a:gd name="connsiteY120" fmla="*/ 3454388 h 10808782"/>
              <a:gd name="connsiteX121" fmla="*/ 23561384 w 25004707"/>
              <a:gd name="connsiteY121" fmla="*/ 3938821 h 10808782"/>
              <a:gd name="connsiteX122" fmla="*/ 22277118 w 25004707"/>
              <a:gd name="connsiteY122" fmla="*/ 3854653 h 10808782"/>
              <a:gd name="connsiteX123" fmla="*/ 23434106 w 25004707"/>
              <a:gd name="connsiteY123" fmla="*/ 5877482 h 10808782"/>
              <a:gd name="connsiteX124" fmla="*/ 23402168 w 25004707"/>
              <a:gd name="connsiteY124" fmla="*/ 6362388 h 10808782"/>
              <a:gd name="connsiteX125" fmla="*/ 22450808 w 25004707"/>
              <a:gd name="connsiteY125" fmla="*/ 6300020 h 10808782"/>
              <a:gd name="connsiteX126" fmla="*/ 22138828 w 25004707"/>
              <a:gd name="connsiteY126" fmla="*/ 6277685 h 10808782"/>
              <a:gd name="connsiteX127" fmla="*/ 23370388 w 25004707"/>
              <a:gd name="connsiteY127" fmla="*/ 6846837 h 10808782"/>
              <a:gd name="connsiteX128" fmla="*/ 23402168 w 25004707"/>
              <a:gd name="connsiteY128" fmla="*/ 6362404 h 10808782"/>
              <a:gd name="connsiteX129" fmla="*/ 23370388 w 25004707"/>
              <a:gd name="connsiteY129" fmla="*/ 6846837 h 10808782"/>
              <a:gd name="connsiteX130" fmla="*/ 23338452 w 25004707"/>
              <a:gd name="connsiteY130" fmla="*/ 7331710 h 10808782"/>
              <a:gd name="connsiteX131" fmla="*/ 23370388 w 25004707"/>
              <a:gd name="connsiteY131" fmla="*/ 6846837 h 10808782"/>
              <a:gd name="connsiteX132" fmla="*/ 22133950 w 25004707"/>
              <a:gd name="connsiteY132" fmla="*/ 6765781 h 10808782"/>
              <a:gd name="connsiteX133" fmla="*/ 23529604 w 25004707"/>
              <a:gd name="connsiteY133" fmla="*/ 4423711 h 10808782"/>
              <a:gd name="connsiteX134" fmla="*/ 23561384 w 25004707"/>
              <a:gd name="connsiteY134" fmla="*/ 3938806 h 10808782"/>
              <a:gd name="connsiteX135" fmla="*/ 23529604 w 25004707"/>
              <a:gd name="connsiteY135" fmla="*/ 4423711 h 10808782"/>
              <a:gd name="connsiteX136" fmla="*/ 23497668 w 25004707"/>
              <a:gd name="connsiteY136" fmla="*/ 4908160 h 10808782"/>
              <a:gd name="connsiteX137" fmla="*/ 22213560 w 25004707"/>
              <a:gd name="connsiteY137" fmla="*/ 4823976 h 10808782"/>
              <a:gd name="connsiteX138" fmla="*/ 23529604 w 25004707"/>
              <a:gd name="connsiteY138" fmla="*/ 4423711 h 10808782"/>
              <a:gd name="connsiteX139" fmla="*/ 22245338 w 25004707"/>
              <a:gd name="connsiteY139" fmla="*/ 4339527 h 10808782"/>
              <a:gd name="connsiteX140" fmla="*/ 23338452 w 25004707"/>
              <a:gd name="connsiteY140" fmla="*/ 7331710 h 10808782"/>
              <a:gd name="connsiteX141" fmla="*/ 22387090 w 25004707"/>
              <a:gd name="connsiteY141" fmla="*/ 7269358 h 10808782"/>
              <a:gd name="connsiteX142" fmla="*/ 22074952 w 25004707"/>
              <a:gd name="connsiteY142" fmla="*/ 7250780 h 10808782"/>
              <a:gd name="connsiteX143" fmla="*/ 23688662 w 25004707"/>
              <a:gd name="connsiteY143" fmla="*/ 2000160 h 10808782"/>
              <a:gd name="connsiteX144" fmla="*/ 23656882 w 25004707"/>
              <a:gd name="connsiteY144" fmla="*/ 2484594 h 10808782"/>
              <a:gd name="connsiteX145" fmla="*/ 22372618 w 25004707"/>
              <a:gd name="connsiteY145" fmla="*/ 2400410 h 10808782"/>
              <a:gd name="connsiteX146" fmla="*/ 23211172 w 25004707"/>
              <a:gd name="connsiteY146" fmla="*/ 9270371 h 10808782"/>
              <a:gd name="connsiteX147" fmla="*/ 24495438 w 25004707"/>
              <a:gd name="connsiteY147" fmla="*/ 9354555 h 10808782"/>
              <a:gd name="connsiteX148" fmla="*/ 24527218 w 25004707"/>
              <a:gd name="connsiteY148" fmla="*/ 8870122 h 10808782"/>
              <a:gd name="connsiteX149" fmla="*/ 24538388 w 25004707"/>
              <a:gd name="connsiteY149" fmla="*/ 8870860 h 10808782"/>
              <a:gd name="connsiteX150" fmla="*/ 23211172 w 25004707"/>
              <a:gd name="connsiteY150" fmla="*/ 9270371 h 10808782"/>
              <a:gd name="connsiteX151" fmla="*/ 21927064 w 25004707"/>
              <a:gd name="connsiteY151" fmla="*/ 9186203 h 10808782"/>
              <a:gd name="connsiteX152" fmla="*/ 21831568 w 25004707"/>
              <a:gd name="connsiteY152" fmla="*/ 10640431 h 10808782"/>
              <a:gd name="connsiteX153" fmla="*/ 21863348 w 25004707"/>
              <a:gd name="connsiteY153" fmla="*/ 10155526 h 10808782"/>
              <a:gd name="connsiteX154" fmla="*/ 21831568 w 25004707"/>
              <a:gd name="connsiteY154" fmla="*/ 10640431 h 10808782"/>
              <a:gd name="connsiteX155" fmla="*/ 20547302 w 25004707"/>
              <a:gd name="connsiteY155" fmla="*/ 10556248 h 10808782"/>
              <a:gd name="connsiteX156" fmla="*/ 21863348 w 25004707"/>
              <a:gd name="connsiteY156" fmla="*/ 10155526 h 10808782"/>
              <a:gd name="connsiteX157" fmla="*/ 20579240 w 25004707"/>
              <a:gd name="connsiteY157" fmla="*/ 10071342 h 10808782"/>
              <a:gd name="connsiteX158" fmla="*/ 22340836 w 25004707"/>
              <a:gd name="connsiteY158" fmla="*/ 2885299 h 10808782"/>
              <a:gd name="connsiteX159" fmla="*/ 22308898 w 25004707"/>
              <a:gd name="connsiteY159" fmla="*/ 3370204 h 10808782"/>
              <a:gd name="connsiteX160" fmla="*/ 21024790 w 25004707"/>
              <a:gd name="connsiteY160" fmla="*/ 3286020 h 10808782"/>
              <a:gd name="connsiteX161" fmla="*/ 22277118 w 25004707"/>
              <a:gd name="connsiteY161" fmla="*/ 3854653 h 10808782"/>
              <a:gd name="connsiteX162" fmla="*/ 22308898 w 25004707"/>
              <a:gd name="connsiteY162" fmla="*/ 3370220 h 10808782"/>
              <a:gd name="connsiteX163" fmla="*/ 22277118 w 25004707"/>
              <a:gd name="connsiteY163" fmla="*/ 3854653 h 10808782"/>
              <a:gd name="connsiteX164" fmla="*/ 20993010 w 25004707"/>
              <a:gd name="connsiteY164" fmla="*/ 3770469 h 10808782"/>
              <a:gd name="connsiteX165" fmla="*/ 21927064 w 25004707"/>
              <a:gd name="connsiteY165" fmla="*/ 9186203 h 10808782"/>
              <a:gd name="connsiteX166" fmla="*/ 21895126 w 25004707"/>
              <a:gd name="connsiteY166" fmla="*/ 9671109 h 10808782"/>
              <a:gd name="connsiteX167" fmla="*/ 20611018 w 25004707"/>
              <a:gd name="connsiteY167" fmla="*/ 9586925 h 10808782"/>
              <a:gd name="connsiteX168" fmla="*/ 21927064 w 25004707"/>
              <a:gd name="connsiteY168" fmla="*/ 9186203 h 10808782"/>
              <a:gd name="connsiteX169" fmla="*/ 21958844 w 25004707"/>
              <a:gd name="connsiteY169" fmla="*/ 8701770 h 10808782"/>
              <a:gd name="connsiteX170" fmla="*/ 21927064 w 25004707"/>
              <a:gd name="connsiteY170" fmla="*/ 9186203 h 10808782"/>
              <a:gd name="connsiteX171" fmla="*/ 20642800 w 25004707"/>
              <a:gd name="connsiteY171" fmla="*/ 9102019 h 10808782"/>
              <a:gd name="connsiteX172" fmla="*/ 22436334 w 25004707"/>
              <a:gd name="connsiteY172" fmla="*/ 1431070 h 10808782"/>
              <a:gd name="connsiteX173" fmla="*/ 22404554 w 25004707"/>
              <a:gd name="connsiteY173" fmla="*/ 1915976 h 10808782"/>
              <a:gd name="connsiteX174" fmla="*/ 22404554 w 25004707"/>
              <a:gd name="connsiteY174" fmla="*/ 1915976 h 10808782"/>
              <a:gd name="connsiteX175" fmla="*/ 21120288 w 25004707"/>
              <a:gd name="connsiteY175" fmla="*/ 1831793 h 10808782"/>
              <a:gd name="connsiteX176" fmla="*/ 22022564 w 25004707"/>
              <a:gd name="connsiteY176" fmla="*/ 7732431 h 10808782"/>
              <a:gd name="connsiteX177" fmla="*/ 22074952 w 25004707"/>
              <a:gd name="connsiteY177" fmla="*/ 7250780 h 10808782"/>
              <a:gd name="connsiteX178" fmla="*/ 22022564 w 25004707"/>
              <a:gd name="connsiteY178" fmla="*/ 7732431 h 10808782"/>
              <a:gd name="connsiteX179" fmla="*/ 21113838 w 25004707"/>
              <a:gd name="connsiteY179" fmla="*/ 7756637 h 10808782"/>
              <a:gd name="connsiteX180" fmla="*/ 22022564 w 25004707"/>
              <a:gd name="connsiteY180" fmla="*/ 7732431 h 10808782"/>
              <a:gd name="connsiteX181" fmla="*/ 21958844 w 25004707"/>
              <a:gd name="connsiteY181" fmla="*/ 8701770 h 10808782"/>
              <a:gd name="connsiteX182" fmla="*/ 22181622 w 25004707"/>
              <a:gd name="connsiteY182" fmla="*/ 5308897 h 10808782"/>
              <a:gd name="connsiteX183" fmla="*/ 22149840 w 25004707"/>
              <a:gd name="connsiteY183" fmla="*/ 5793330 h 10808782"/>
              <a:gd name="connsiteX184" fmla="*/ 21252128 w 25004707"/>
              <a:gd name="connsiteY184" fmla="*/ 5650708 h 10808782"/>
              <a:gd name="connsiteX185" fmla="*/ 21488592 w 25004707"/>
              <a:gd name="connsiteY185" fmla="*/ 6165430 h 10808782"/>
              <a:gd name="connsiteX186" fmla="*/ 21015036 w 25004707"/>
              <a:gd name="connsiteY186" fmla="*/ 5981942 h 10808782"/>
              <a:gd name="connsiteX187" fmla="*/ 22074952 w 25004707"/>
              <a:gd name="connsiteY187" fmla="*/ 7250780 h 10808782"/>
              <a:gd name="connsiteX188" fmla="*/ 22133950 w 25004707"/>
              <a:gd name="connsiteY188" fmla="*/ 6766253 h 10808782"/>
              <a:gd name="connsiteX189" fmla="*/ 22138828 w 25004707"/>
              <a:gd name="connsiteY189" fmla="*/ 6277685 h 10808782"/>
              <a:gd name="connsiteX190" fmla="*/ 22133950 w 25004707"/>
              <a:gd name="connsiteY190" fmla="*/ 6765781 h 10808782"/>
              <a:gd name="connsiteX191" fmla="*/ 21562380 w 25004707"/>
              <a:gd name="connsiteY191" fmla="*/ 6728310 h 10808782"/>
              <a:gd name="connsiteX192" fmla="*/ 22138828 w 25004707"/>
              <a:gd name="connsiteY192" fmla="*/ 6277685 h 10808782"/>
              <a:gd name="connsiteX193" fmla="*/ 21488592 w 25004707"/>
              <a:gd name="connsiteY193" fmla="*/ 6165414 h 10808782"/>
              <a:gd name="connsiteX194" fmla="*/ 22245338 w 25004707"/>
              <a:gd name="connsiteY194" fmla="*/ 4339527 h 10808782"/>
              <a:gd name="connsiteX195" fmla="*/ 22277276 w 25004707"/>
              <a:gd name="connsiteY195" fmla="*/ 3854622 h 10808782"/>
              <a:gd name="connsiteX196" fmla="*/ 22245338 w 25004707"/>
              <a:gd name="connsiteY196" fmla="*/ 4339527 h 10808782"/>
              <a:gd name="connsiteX197" fmla="*/ 20961230 w 25004707"/>
              <a:gd name="connsiteY197" fmla="*/ 4255359 h 10808782"/>
              <a:gd name="connsiteX198" fmla="*/ 21958844 w 25004707"/>
              <a:gd name="connsiteY198" fmla="*/ 8701770 h 10808782"/>
              <a:gd name="connsiteX199" fmla="*/ 20674580 w 25004707"/>
              <a:gd name="connsiteY199" fmla="*/ 8617586 h 10808782"/>
              <a:gd name="connsiteX200" fmla="*/ 20642800 w 25004707"/>
              <a:gd name="connsiteY200" fmla="*/ 9102019 h 10808782"/>
              <a:gd name="connsiteX201" fmla="*/ 22181622 w 25004707"/>
              <a:gd name="connsiteY201" fmla="*/ 5308881 h 10808782"/>
              <a:gd name="connsiteX202" fmla="*/ 22213560 w 25004707"/>
              <a:gd name="connsiteY202" fmla="*/ 4823992 h 10808782"/>
              <a:gd name="connsiteX203" fmla="*/ 22181622 w 25004707"/>
              <a:gd name="connsiteY203" fmla="*/ 5308881 h 10808782"/>
              <a:gd name="connsiteX204" fmla="*/ 21849030 w 25004707"/>
              <a:gd name="connsiteY204" fmla="*/ 5287081 h 10808782"/>
              <a:gd name="connsiteX205" fmla="*/ 20995686 w 25004707"/>
              <a:gd name="connsiteY205" fmla="*/ 5199596 h 10808782"/>
              <a:gd name="connsiteX206" fmla="*/ 21252128 w 25004707"/>
              <a:gd name="connsiteY206" fmla="*/ 5651180 h 10808782"/>
              <a:gd name="connsiteX207" fmla="*/ 20568856 w 25004707"/>
              <a:gd name="connsiteY207" fmla="*/ 5391367 h 10808782"/>
              <a:gd name="connsiteX208" fmla="*/ 21015666 w 25004707"/>
              <a:gd name="connsiteY208" fmla="*/ 5981974 h 10808782"/>
              <a:gd name="connsiteX209" fmla="*/ 22245338 w 25004707"/>
              <a:gd name="connsiteY209" fmla="*/ 4339543 h 10808782"/>
              <a:gd name="connsiteX210" fmla="*/ 22213560 w 25004707"/>
              <a:gd name="connsiteY210" fmla="*/ 4823976 h 10808782"/>
              <a:gd name="connsiteX211" fmla="*/ 20929452 w 25004707"/>
              <a:gd name="connsiteY211" fmla="*/ 4739792 h 10808782"/>
              <a:gd name="connsiteX212" fmla="*/ 22372774 w 25004707"/>
              <a:gd name="connsiteY212" fmla="*/ 2400425 h 10808782"/>
              <a:gd name="connsiteX213" fmla="*/ 22340836 w 25004707"/>
              <a:gd name="connsiteY213" fmla="*/ 2885315 h 10808782"/>
              <a:gd name="connsiteX214" fmla="*/ 22340836 w 25004707"/>
              <a:gd name="connsiteY214" fmla="*/ 2885315 h 10808782"/>
              <a:gd name="connsiteX215" fmla="*/ 21056728 w 25004707"/>
              <a:gd name="connsiteY215" fmla="*/ 2801147 h 10808782"/>
              <a:gd name="connsiteX216" fmla="*/ 22404398 w 25004707"/>
              <a:gd name="connsiteY216" fmla="*/ 1915976 h 10808782"/>
              <a:gd name="connsiteX217" fmla="*/ 22372618 w 25004707"/>
              <a:gd name="connsiteY217" fmla="*/ 2400410 h 10808782"/>
              <a:gd name="connsiteX218" fmla="*/ 22372618 w 25004707"/>
              <a:gd name="connsiteY218" fmla="*/ 2400410 h 10808782"/>
              <a:gd name="connsiteX219" fmla="*/ 21088510 w 25004707"/>
              <a:gd name="connsiteY219" fmla="*/ 2316226 h 10808782"/>
              <a:gd name="connsiteX220" fmla="*/ 20579240 w 25004707"/>
              <a:gd name="connsiteY220" fmla="*/ 10071342 h 10808782"/>
              <a:gd name="connsiteX221" fmla="*/ 20611018 w 25004707"/>
              <a:gd name="connsiteY221" fmla="*/ 9586909 h 10808782"/>
              <a:gd name="connsiteX222" fmla="*/ 20579240 w 25004707"/>
              <a:gd name="connsiteY222" fmla="*/ 10071342 h 10808782"/>
              <a:gd name="connsiteX223" fmla="*/ 19294974 w 25004707"/>
              <a:gd name="connsiteY223" fmla="*/ 9987158 h 10808782"/>
              <a:gd name="connsiteX224" fmla="*/ 21562380 w 25004707"/>
              <a:gd name="connsiteY224" fmla="*/ 6728766 h 10808782"/>
              <a:gd name="connsiteX225" fmla="*/ 21415592 w 25004707"/>
              <a:gd name="connsiteY225" fmla="*/ 7277186 h 10808782"/>
              <a:gd name="connsiteX226" fmla="*/ 22074952 w 25004707"/>
              <a:gd name="connsiteY226" fmla="*/ 7250749 h 10808782"/>
              <a:gd name="connsiteX227" fmla="*/ 20993010 w 25004707"/>
              <a:gd name="connsiteY227" fmla="*/ 3770469 h 10808782"/>
              <a:gd name="connsiteX228" fmla="*/ 21024790 w 25004707"/>
              <a:gd name="connsiteY228" fmla="*/ 3286052 h 10808782"/>
              <a:gd name="connsiteX229" fmla="*/ 20993010 w 25004707"/>
              <a:gd name="connsiteY229" fmla="*/ 3770469 h 10808782"/>
              <a:gd name="connsiteX230" fmla="*/ 19708746 w 25004707"/>
              <a:gd name="connsiteY230" fmla="*/ 3686286 h 10808782"/>
              <a:gd name="connsiteX231" fmla="*/ 20929294 w 25004707"/>
              <a:gd name="connsiteY231" fmla="*/ 4739792 h 10808782"/>
              <a:gd name="connsiteX232" fmla="*/ 20995528 w 25004707"/>
              <a:gd name="connsiteY232" fmla="*/ 5199596 h 10808782"/>
              <a:gd name="connsiteX233" fmla="*/ 20097030 w 25004707"/>
              <a:gd name="connsiteY233" fmla="*/ 4955313 h 10808782"/>
              <a:gd name="connsiteX234" fmla="*/ 20642800 w 25004707"/>
              <a:gd name="connsiteY234" fmla="*/ 9102019 h 10808782"/>
              <a:gd name="connsiteX235" fmla="*/ 20611018 w 25004707"/>
              <a:gd name="connsiteY235" fmla="*/ 9586925 h 10808782"/>
              <a:gd name="connsiteX236" fmla="*/ 19326754 w 25004707"/>
              <a:gd name="connsiteY236" fmla="*/ 9502741 h 10808782"/>
              <a:gd name="connsiteX237" fmla="*/ 20642800 w 25004707"/>
              <a:gd name="connsiteY237" fmla="*/ 9102019 h 10808782"/>
              <a:gd name="connsiteX238" fmla="*/ 19358692 w 25004707"/>
              <a:gd name="connsiteY238" fmla="*/ 9017836 h 10808782"/>
              <a:gd name="connsiteX239" fmla="*/ 20961230 w 25004707"/>
              <a:gd name="connsiteY239" fmla="*/ 4255359 h 10808782"/>
              <a:gd name="connsiteX240" fmla="*/ 20929294 w 25004707"/>
              <a:gd name="connsiteY240" fmla="*/ 4739792 h 10808782"/>
              <a:gd name="connsiteX241" fmla="*/ 19750594 w 25004707"/>
              <a:gd name="connsiteY241" fmla="*/ 4599921 h 10808782"/>
              <a:gd name="connsiteX242" fmla="*/ 20961230 w 25004707"/>
              <a:gd name="connsiteY242" fmla="*/ 4255359 h 10808782"/>
              <a:gd name="connsiteX243" fmla="*/ 20993010 w 25004707"/>
              <a:gd name="connsiteY243" fmla="*/ 3770454 h 10808782"/>
              <a:gd name="connsiteX244" fmla="*/ 20961230 w 25004707"/>
              <a:gd name="connsiteY244" fmla="*/ 4255359 h 10808782"/>
              <a:gd name="connsiteX245" fmla="*/ 19676964 w 25004707"/>
              <a:gd name="connsiteY245" fmla="*/ 4171175 h 10808782"/>
              <a:gd name="connsiteX246" fmla="*/ 21120288 w 25004707"/>
              <a:gd name="connsiteY246" fmla="*/ 1831808 h 10808782"/>
              <a:gd name="connsiteX247" fmla="*/ 21088510 w 25004707"/>
              <a:gd name="connsiteY247" fmla="*/ 2316226 h 10808782"/>
              <a:gd name="connsiteX248" fmla="*/ 21088510 w 25004707"/>
              <a:gd name="connsiteY248" fmla="*/ 2316226 h 10808782"/>
              <a:gd name="connsiteX249" fmla="*/ 21056728 w 25004707"/>
              <a:gd name="connsiteY249" fmla="*/ 2801131 h 10808782"/>
              <a:gd name="connsiteX250" fmla="*/ 21088510 w 25004707"/>
              <a:gd name="connsiteY250" fmla="*/ 2316226 h 10808782"/>
              <a:gd name="connsiteX251" fmla="*/ 19804244 w 25004707"/>
              <a:gd name="connsiteY251" fmla="*/ 2232058 h 10808782"/>
              <a:gd name="connsiteX252" fmla="*/ 21152226 w 25004707"/>
              <a:gd name="connsiteY252" fmla="*/ 1346888 h 10808782"/>
              <a:gd name="connsiteX253" fmla="*/ 21120288 w 25004707"/>
              <a:gd name="connsiteY253" fmla="*/ 1831793 h 10808782"/>
              <a:gd name="connsiteX254" fmla="*/ 21120288 w 25004707"/>
              <a:gd name="connsiteY254" fmla="*/ 1831793 h 10808782"/>
              <a:gd name="connsiteX255" fmla="*/ 19836180 w 25004707"/>
              <a:gd name="connsiteY255" fmla="*/ 1747609 h 10808782"/>
              <a:gd name="connsiteX256" fmla="*/ 21056728 w 25004707"/>
              <a:gd name="connsiteY256" fmla="*/ 2801131 h 10808782"/>
              <a:gd name="connsiteX257" fmla="*/ 21024790 w 25004707"/>
              <a:gd name="connsiteY257" fmla="*/ 3286020 h 10808782"/>
              <a:gd name="connsiteX258" fmla="*/ 21056728 w 25004707"/>
              <a:gd name="connsiteY258" fmla="*/ 2801131 h 10808782"/>
              <a:gd name="connsiteX259" fmla="*/ 19772464 w 25004707"/>
              <a:gd name="connsiteY259" fmla="*/ 2716963 h 10808782"/>
              <a:gd name="connsiteX260" fmla="*/ 21024790 w 25004707"/>
              <a:gd name="connsiteY260" fmla="*/ 3286020 h 10808782"/>
              <a:gd name="connsiteX261" fmla="*/ 19740684 w 25004707"/>
              <a:gd name="connsiteY261" fmla="*/ 3201853 h 10808782"/>
              <a:gd name="connsiteX262" fmla="*/ 21488592 w 25004707"/>
              <a:gd name="connsiteY262" fmla="*/ 6165430 h 10808782"/>
              <a:gd name="connsiteX263" fmla="*/ 21562380 w 25004707"/>
              <a:gd name="connsiteY263" fmla="*/ 6728310 h 10808782"/>
              <a:gd name="connsiteX264" fmla="*/ 21184006 w 25004707"/>
              <a:gd name="connsiteY264" fmla="*/ 6703508 h 10808782"/>
              <a:gd name="connsiteX265" fmla="*/ 20674736 w 25004707"/>
              <a:gd name="connsiteY265" fmla="*/ 8617602 h 10808782"/>
              <a:gd name="connsiteX266" fmla="*/ 20690628 w 25004707"/>
              <a:gd name="connsiteY266" fmla="*/ 8375378 h 10808782"/>
              <a:gd name="connsiteX267" fmla="*/ 20800442 w 25004707"/>
              <a:gd name="connsiteY267" fmla="*/ 8170860 h 10808782"/>
              <a:gd name="connsiteX268" fmla="*/ 21113838 w 25004707"/>
              <a:gd name="connsiteY268" fmla="*/ 7756165 h 10808782"/>
              <a:gd name="connsiteX269" fmla="*/ 21415434 w 25004707"/>
              <a:gd name="connsiteY269" fmla="*/ 7276714 h 10808782"/>
              <a:gd name="connsiteX270" fmla="*/ 20579240 w 25004707"/>
              <a:gd name="connsiteY270" fmla="*/ 10071342 h 10808782"/>
              <a:gd name="connsiteX271" fmla="*/ 20547302 w 25004707"/>
              <a:gd name="connsiteY271" fmla="*/ 10556248 h 10808782"/>
              <a:gd name="connsiteX272" fmla="*/ 19263194 w 25004707"/>
              <a:gd name="connsiteY272" fmla="*/ 10472064 h 10808782"/>
              <a:gd name="connsiteX273" fmla="*/ 20800442 w 25004707"/>
              <a:gd name="connsiteY273" fmla="*/ 8170372 h 10808782"/>
              <a:gd name="connsiteX274" fmla="*/ 21113838 w 25004707"/>
              <a:gd name="connsiteY274" fmla="*/ 7756149 h 10808782"/>
              <a:gd name="connsiteX275" fmla="*/ 20096558 w 25004707"/>
              <a:gd name="connsiteY275" fmla="*/ 4954825 h 10808782"/>
              <a:gd name="connsiteX276" fmla="*/ 20568856 w 25004707"/>
              <a:gd name="connsiteY276" fmla="*/ 5391367 h 10808782"/>
              <a:gd name="connsiteX277" fmla="*/ 19539460 w 25004707"/>
              <a:gd name="connsiteY277" fmla="*/ 4997829 h 10808782"/>
              <a:gd name="connsiteX278" fmla="*/ 19676964 w 25004707"/>
              <a:gd name="connsiteY278" fmla="*/ 4170719 h 10808782"/>
              <a:gd name="connsiteX279" fmla="*/ 19750594 w 25004707"/>
              <a:gd name="connsiteY279" fmla="*/ 4599953 h 10808782"/>
              <a:gd name="connsiteX280" fmla="*/ 18586528 w 25004707"/>
              <a:gd name="connsiteY280" fmla="*/ 4366498 h 10808782"/>
              <a:gd name="connsiteX281" fmla="*/ 20097188 w 25004707"/>
              <a:gd name="connsiteY281" fmla="*/ 4954857 h 10808782"/>
              <a:gd name="connsiteX282" fmla="*/ 19751068 w 25004707"/>
              <a:gd name="connsiteY282" fmla="*/ 4599984 h 10808782"/>
              <a:gd name="connsiteX283" fmla="*/ 19772464 w 25004707"/>
              <a:gd name="connsiteY283" fmla="*/ 2716947 h 10808782"/>
              <a:gd name="connsiteX284" fmla="*/ 19740684 w 25004707"/>
              <a:gd name="connsiteY284" fmla="*/ 3201853 h 10808782"/>
              <a:gd name="connsiteX285" fmla="*/ 18456576 w 25004707"/>
              <a:gd name="connsiteY285" fmla="*/ 3117669 h 10808782"/>
              <a:gd name="connsiteX286" fmla="*/ 20922686 w 25004707"/>
              <a:gd name="connsiteY286" fmla="*/ 7397316 h 10808782"/>
              <a:gd name="connsiteX287" fmla="*/ 21184006 w 25004707"/>
              <a:gd name="connsiteY287" fmla="*/ 6703963 h 10808782"/>
              <a:gd name="connsiteX288" fmla="*/ 19877714 w 25004707"/>
              <a:gd name="connsiteY288" fmla="*/ 8295752 h 10808782"/>
              <a:gd name="connsiteX289" fmla="*/ 20403032 w 25004707"/>
              <a:gd name="connsiteY289" fmla="*/ 7924611 h 10808782"/>
              <a:gd name="connsiteX290" fmla="*/ 19740684 w 25004707"/>
              <a:gd name="connsiteY290" fmla="*/ 3201853 h 10808782"/>
              <a:gd name="connsiteX291" fmla="*/ 19708746 w 25004707"/>
              <a:gd name="connsiteY291" fmla="*/ 3686286 h 10808782"/>
              <a:gd name="connsiteX292" fmla="*/ 19708746 w 25004707"/>
              <a:gd name="connsiteY292" fmla="*/ 3686286 h 10808782"/>
              <a:gd name="connsiteX293" fmla="*/ 18424638 w 25004707"/>
              <a:gd name="connsiteY293" fmla="*/ 3602118 h 10808782"/>
              <a:gd name="connsiteX294" fmla="*/ 19804244 w 25004707"/>
              <a:gd name="connsiteY294" fmla="*/ 2232042 h 10808782"/>
              <a:gd name="connsiteX295" fmla="*/ 19772464 w 25004707"/>
              <a:gd name="connsiteY295" fmla="*/ 2716947 h 10808782"/>
              <a:gd name="connsiteX296" fmla="*/ 18488356 w 25004707"/>
              <a:gd name="connsiteY296" fmla="*/ 2632764 h 10808782"/>
              <a:gd name="connsiteX297" fmla="*/ 19804244 w 25004707"/>
              <a:gd name="connsiteY297" fmla="*/ 2232042 h 10808782"/>
              <a:gd name="connsiteX298" fmla="*/ 19836180 w 25004707"/>
              <a:gd name="connsiteY298" fmla="*/ 1747625 h 10808782"/>
              <a:gd name="connsiteX299" fmla="*/ 19804244 w 25004707"/>
              <a:gd name="connsiteY299" fmla="*/ 2232042 h 10808782"/>
              <a:gd name="connsiteX300" fmla="*/ 18520136 w 25004707"/>
              <a:gd name="connsiteY300" fmla="*/ 2147874 h 10808782"/>
              <a:gd name="connsiteX301" fmla="*/ 19676964 w 25004707"/>
              <a:gd name="connsiteY301" fmla="*/ 4171175 h 10808782"/>
              <a:gd name="connsiteX302" fmla="*/ 19708902 w 25004707"/>
              <a:gd name="connsiteY302" fmla="*/ 3686270 h 10808782"/>
              <a:gd name="connsiteX303" fmla="*/ 19676964 w 25004707"/>
              <a:gd name="connsiteY303" fmla="*/ 4171175 h 10808782"/>
              <a:gd name="connsiteX304" fmla="*/ 19344218 w 25004707"/>
              <a:gd name="connsiteY304" fmla="*/ 4149359 h 10808782"/>
              <a:gd name="connsiteX305" fmla="*/ 18402454 w 25004707"/>
              <a:gd name="connsiteY305" fmla="*/ 4077278 h 10808782"/>
              <a:gd name="connsiteX306" fmla="*/ 19326754 w 25004707"/>
              <a:gd name="connsiteY306" fmla="*/ 9502725 h 10808782"/>
              <a:gd name="connsiteX307" fmla="*/ 19294974 w 25004707"/>
              <a:gd name="connsiteY307" fmla="*/ 9987158 h 10808782"/>
              <a:gd name="connsiteX308" fmla="*/ 18010866 w 25004707"/>
              <a:gd name="connsiteY308" fmla="*/ 9902991 h 10808782"/>
              <a:gd name="connsiteX309" fmla="*/ 19263194 w 25004707"/>
              <a:gd name="connsiteY309" fmla="*/ 10472064 h 10808782"/>
              <a:gd name="connsiteX310" fmla="*/ 19294974 w 25004707"/>
              <a:gd name="connsiteY310" fmla="*/ 9987175 h 10808782"/>
              <a:gd name="connsiteX311" fmla="*/ 19263194 w 25004707"/>
              <a:gd name="connsiteY311" fmla="*/ 10472064 h 10808782"/>
              <a:gd name="connsiteX312" fmla="*/ 17978928 w 25004707"/>
              <a:gd name="connsiteY312" fmla="*/ 10387896 h 10808782"/>
              <a:gd name="connsiteX313" fmla="*/ 19326754 w 25004707"/>
              <a:gd name="connsiteY313" fmla="*/ 9502741 h 10808782"/>
              <a:gd name="connsiteX314" fmla="*/ 19358692 w 25004707"/>
              <a:gd name="connsiteY314" fmla="*/ 9017852 h 10808782"/>
              <a:gd name="connsiteX315" fmla="*/ 19326754 w 25004707"/>
              <a:gd name="connsiteY315" fmla="*/ 9502741 h 10808782"/>
              <a:gd name="connsiteX316" fmla="*/ 18042646 w 25004707"/>
              <a:gd name="connsiteY316" fmla="*/ 9418573 h 10808782"/>
              <a:gd name="connsiteX317" fmla="*/ 19358692 w 25004707"/>
              <a:gd name="connsiteY317" fmla="*/ 9017852 h 10808782"/>
              <a:gd name="connsiteX318" fmla="*/ 19487700 w 25004707"/>
              <a:gd name="connsiteY318" fmla="*/ 8601900 h 10808782"/>
              <a:gd name="connsiteX319" fmla="*/ 19358692 w 25004707"/>
              <a:gd name="connsiteY319" fmla="*/ 9017852 h 10808782"/>
              <a:gd name="connsiteX320" fmla="*/ 18082764 w 25004707"/>
              <a:gd name="connsiteY320" fmla="*/ 8945975 h 10808782"/>
              <a:gd name="connsiteX321" fmla="*/ 21015666 w 25004707"/>
              <a:gd name="connsiteY321" fmla="*/ 5981974 h 10808782"/>
              <a:gd name="connsiteX322" fmla="*/ 21184006 w 25004707"/>
              <a:gd name="connsiteY322" fmla="*/ 6703508 h 10808782"/>
              <a:gd name="connsiteX323" fmla="*/ 21015666 w 25004707"/>
              <a:gd name="connsiteY323" fmla="*/ 5981974 h 10808782"/>
              <a:gd name="connsiteX324" fmla="*/ 20273552 w 25004707"/>
              <a:gd name="connsiteY324" fmla="*/ 5643966 h 10808782"/>
              <a:gd name="connsiteX325" fmla="*/ 21184006 w 25004707"/>
              <a:gd name="connsiteY325" fmla="*/ 6703508 h 10808782"/>
              <a:gd name="connsiteX326" fmla="*/ 20666240 w 25004707"/>
              <a:gd name="connsiteY326" fmla="*/ 6669558 h 10808782"/>
              <a:gd name="connsiteX327" fmla="*/ 19487700 w 25004707"/>
              <a:gd name="connsiteY327" fmla="*/ 8602388 h 10808782"/>
              <a:gd name="connsiteX328" fmla="*/ 19877244 w 25004707"/>
              <a:gd name="connsiteY328" fmla="*/ 8295720 h 10808782"/>
              <a:gd name="connsiteX329" fmla="*/ 20922686 w 25004707"/>
              <a:gd name="connsiteY329" fmla="*/ 7397331 h 10808782"/>
              <a:gd name="connsiteX330" fmla="*/ 20402560 w 25004707"/>
              <a:gd name="connsiteY330" fmla="*/ 7924564 h 10808782"/>
              <a:gd name="connsiteX331" fmla="*/ 19330530 w 25004707"/>
              <a:gd name="connsiteY331" fmla="*/ 8180368 h 10808782"/>
              <a:gd name="connsiteX332" fmla="*/ 19867960 w 25004707"/>
              <a:gd name="connsiteY332" fmla="*/ 1262715 h 10808782"/>
              <a:gd name="connsiteX333" fmla="*/ 19836024 w 25004707"/>
              <a:gd name="connsiteY333" fmla="*/ 1747609 h 10808782"/>
              <a:gd name="connsiteX334" fmla="*/ 18551914 w 25004707"/>
              <a:gd name="connsiteY334" fmla="*/ 1663441 h 10808782"/>
              <a:gd name="connsiteX335" fmla="*/ 18583852 w 25004707"/>
              <a:gd name="connsiteY335" fmla="*/ 1178533 h 10808782"/>
              <a:gd name="connsiteX336" fmla="*/ 18551914 w 25004707"/>
              <a:gd name="connsiteY336" fmla="*/ 1663425 h 10808782"/>
              <a:gd name="connsiteX337" fmla="*/ 18551914 w 25004707"/>
              <a:gd name="connsiteY337" fmla="*/ 1663425 h 10808782"/>
              <a:gd name="connsiteX338" fmla="*/ 18520136 w 25004707"/>
              <a:gd name="connsiteY338" fmla="*/ 2147874 h 10808782"/>
              <a:gd name="connsiteX339" fmla="*/ 18551914 w 25004707"/>
              <a:gd name="connsiteY339" fmla="*/ 1663425 h 10808782"/>
              <a:gd name="connsiteX340" fmla="*/ 17267806 w 25004707"/>
              <a:gd name="connsiteY340" fmla="*/ 1579257 h 10808782"/>
              <a:gd name="connsiteX341" fmla="*/ 18586528 w 25004707"/>
              <a:gd name="connsiteY341" fmla="*/ 4366498 h 10808782"/>
              <a:gd name="connsiteX342" fmla="*/ 18402610 w 25004707"/>
              <a:gd name="connsiteY342" fmla="*/ 4076822 h 10808782"/>
              <a:gd name="connsiteX343" fmla="*/ 18586528 w 25004707"/>
              <a:gd name="connsiteY343" fmla="*/ 4366498 h 10808782"/>
              <a:gd name="connsiteX344" fmla="*/ 18962698 w 25004707"/>
              <a:gd name="connsiteY344" fmla="*/ 4627804 h 10808782"/>
              <a:gd name="connsiteX345" fmla="*/ 18586528 w 25004707"/>
              <a:gd name="connsiteY345" fmla="*/ 4366498 h 10808782"/>
              <a:gd name="connsiteX346" fmla="*/ 17200786 w 25004707"/>
              <a:gd name="connsiteY346" fmla="*/ 4158019 h 10808782"/>
              <a:gd name="connsiteX347" fmla="*/ 18488356 w 25004707"/>
              <a:gd name="connsiteY347" fmla="*/ 2632764 h 10808782"/>
              <a:gd name="connsiteX348" fmla="*/ 18456418 w 25004707"/>
              <a:gd name="connsiteY348" fmla="*/ 3117653 h 10808782"/>
              <a:gd name="connsiteX349" fmla="*/ 17172310 w 25004707"/>
              <a:gd name="connsiteY349" fmla="*/ 3033485 h 10808782"/>
              <a:gd name="connsiteX350" fmla="*/ 18488356 w 25004707"/>
              <a:gd name="connsiteY350" fmla="*/ 2632764 h 10808782"/>
              <a:gd name="connsiteX351" fmla="*/ 18520136 w 25004707"/>
              <a:gd name="connsiteY351" fmla="*/ 2147874 h 10808782"/>
              <a:gd name="connsiteX352" fmla="*/ 18488356 w 25004707"/>
              <a:gd name="connsiteY352" fmla="*/ 2632764 h 10808782"/>
              <a:gd name="connsiteX353" fmla="*/ 17204090 w 25004707"/>
              <a:gd name="connsiteY353" fmla="*/ 2548596 h 10808782"/>
              <a:gd name="connsiteX354" fmla="*/ 18424638 w 25004707"/>
              <a:gd name="connsiteY354" fmla="*/ 3602118 h 10808782"/>
              <a:gd name="connsiteX355" fmla="*/ 18402454 w 25004707"/>
              <a:gd name="connsiteY355" fmla="*/ 4077310 h 10808782"/>
              <a:gd name="connsiteX356" fmla="*/ 17125426 w 25004707"/>
              <a:gd name="connsiteY356" fmla="*/ 3949824 h 10808782"/>
              <a:gd name="connsiteX357" fmla="*/ 18424638 w 25004707"/>
              <a:gd name="connsiteY357" fmla="*/ 3602118 h 10808782"/>
              <a:gd name="connsiteX358" fmla="*/ 18456418 w 25004707"/>
              <a:gd name="connsiteY358" fmla="*/ 3117684 h 10808782"/>
              <a:gd name="connsiteX359" fmla="*/ 18424638 w 25004707"/>
              <a:gd name="connsiteY359" fmla="*/ 3602118 h 10808782"/>
              <a:gd name="connsiteX360" fmla="*/ 17140372 w 25004707"/>
              <a:gd name="connsiteY360" fmla="*/ 3517934 h 10808782"/>
              <a:gd name="connsiteX361" fmla="*/ 18520136 w 25004707"/>
              <a:gd name="connsiteY361" fmla="*/ 2147874 h 10808782"/>
              <a:gd name="connsiteX362" fmla="*/ 17236028 w 25004707"/>
              <a:gd name="connsiteY362" fmla="*/ 2063691 h 10808782"/>
              <a:gd name="connsiteX363" fmla="*/ 18962698 w 25004707"/>
              <a:gd name="connsiteY363" fmla="*/ 4627804 h 10808782"/>
              <a:gd name="connsiteX364" fmla="*/ 17358900 w 25004707"/>
              <a:gd name="connsiteY364" fmla="*/ 4323180 h 10808782"/>
              <a:gd name="connsiteX365" fmla="*/ 18962698 w 25004707"/>
              <a:gd name="connsiteY365" fmla="*/ 4627804 h 10808782"/>
              <a:gd name="connsiteX366" fmla="*/ 20096558 w 25004707"/>
              <a:gd name="connsiteY366" fmla="*/ 4954825 h 10808782"/>
              <a:gd name="connsiteX367" fmla="*/ 20273552 w 25004707"/>
              <a:gd name="connsiteY367" fmla="*/ 5643966 h 10808782"/>
              <a:gd name="connsiteX368" fmla="*/ 19539618 w 25004707"/>
              <a:gd name="connsiteY368" fmla="*/ 4997813 h 10808782"/>
              <a:gd name="connsiteX369" fmla="*/ 20273552 w 25004707"/>
              <a:gd name="connsiteY369" fmla="*/ 5643966 h 10808782"/>
              <a:gd name="connsiteX370" fmla="*/ 20666240 w 25004707"/>
              <a:gd name="connsiteY370" fmla="*/ 6669558 h 10808782"/>
              <a:gd name="connsiteX371" fmla="*/ 20273552 w 25004707"/>
              <a:gd name="connsiteY371" fmla="*/ 5643966 h 10808782"/>
              <a:gd name="connsiteX372" fmla="*/ 18261016 w 25004707"/>
              <a:gd name="connsiteY372" fmla="*/ 5022238 h 10808782"/>
              <a:gd name="connsiteX373" fmla="*/ 18710344 w 25004707"/>
              <a:gd name="connsiteY373" fmla="*/ 8471883 h 10808782"/>
              <a:gd name="connsiteX374" fmla="*/ 18303180 w 25004707"/>
              <a:gd name="connsiteY374" fmla="*/ 8681872 h 10808782"/>
              <a:gd name="connsiteX375" fmla="*/ 19487858 w 25004707"/>
              <a:gd name="connsiteY375" fmla="*/ 8602371 h 10808782"/>
              <a:gd name="connsiteX376" fmla="*/ 20666084 w 25004707"/>
              <a:gd name="connsiteY376" fmla="*/ 6669542 h 10808782"/>
              <a:gd name="connsiteX377" fmla="*/ 20142814 w 25004707"/>
              <a:gd name="connsiteY377" fmla="*/ 7635092 h 10808782"/>
              <a:gd name="connsiteX378" fmla="*/ 19330530 w 25004707"/>
              <a:gd name="connsiteY378" fmla="*/ 8179866 h 10808782"/>
              <a:gd name="connsiteX379" fmla="*/ 18710188 w 25004707"/>
              <a:gd name="connsiteY379" fmla="*/ 8471868 h 10808782"/>
              <a:gd name="connsiteX380" fmla="*/ 19330530 w 25004707"/>
              <a:gd name="connsiteY380" fmla="*/ 8179881 h 10808782"/>
              <a:gd name="connsiteX381" fmla="*/ 17402166 w 25004707"/>
              <a:gd name="connsiteY381" fmla="*/ 8385201 h 10808782"/>
              <a:gd name="connsiteX382" fmla="*/ 18082764 w 25004707"/>
              <a:gd name="connsiteY382" fmla="*/ 8945975 h 10808782"/>
              <a:gd name="connsiteX383" fmla="*/ 18303180 w 25004707"/>
              <a:gd name="connsiteY383" fmla="*/ 8681400 h 10808782"/>
              <a:gd name="connsiteX384" fmla="*/ 18082764 w 25004707"/>
              <a:gd name="connsiteY384" fmla="*/ 8945975 h 10808782"/>
              <a:gd name="connsiteX385" fmla="*/ 18042646 w 25004707"/>
              <a:gd name="connsiteY385" fmla="*/ 9418573 h 10808782"/>
              <a:gd name="connsiteX386" fmla="*/ 18082764 w 25004707"/>
              <a:gd name="connsiteY386" fmla="*/ 8945975 h 10808782"/>
              <a:gd name="connsiteX387" fmla="*/ 16799444 w 25004707"/>
              <a:gd name="connsiteY387" fmla="*/ 8904669 h 10808782"/>
              <a:gd name="connsiteX388" fmla="*/ 17978928 w 25004707"/>
              <a:gd name="connsiteY388" fmla="*/ 10387896 h 10808782"/>
              <a:gd name="connsiteX389" fmla="*/ 18010866 w 25004707"/>
              <a:gd name="connsiteY389" fmla="*/ 9902991 h 10808782"/>
              <a:gd name="connsiteX390" fmla="*/ 17978928 w 25004707"/>
              <a:gd name="connsiteY390" fmla="*/ 10387896 h 10808782"/>
              <a:gd name="connsiteX391" fmla="*/ 16694821 w 25004707"/>
              <a:gd name="connsiteY391" fmla="*/ 10303712 h 10808782"/>
              <a:gd name="connsiteX392" fmla="*/ 18010866 w 25004707"/>
              <a:gd name="connsiteY392" fmla="*/ 9902991 h 10808782"/>
              <a:gd name="connsiteX393" fmla="*/ 18042646 w 25004707"/>
              <a:gd name="connsiteY393" fmla="*/ 9418558 h 10808782"/>
              <a:gd name="connsiteX394" fmla="*/ 16758537 w 25004707"/>
              <a:gd name="connsiteY394" fmla="*/ 9334389 h 10808782"/>
              <a:gd name="connsiteX395" fmla="*/ 18010866 w 25004707"/>
              <a:gd name="connsiteY395" fmla="*/ 9902991 h 10808782"/>
              <a:gd name="connsiteX396" fmla="*/ 16726601 w 25004707"/>
              <a:gd name="connsiteY396" fmla="*/ 9818807 h 10808782"/>
              <a:gd name="connsiteX397" fmla="*/ 20666240 w 25004707"/>
              <a:gd name="connsiteY397" fmla="*/ 6669558 h 10808782"/>
              <a:gd name="connsiteX398" fmla="*/ 18998410 w 25004707"/>
              <a:gd name="connsiteY398" fmla="*/ 6560226 h 10808782"/>
              <a:gd name="connsiteX399" fmla="*/ 18261646 w 25004707"/>
              <a:gd name="connsiteY399" fmla="*/ 5022270 h 10808782"/>
              <a:gd name="connsiteX400" fmla="*/ 14385738 w 25004707"/>
              <a:gd name="connsiteY400" fmla="*/ 4808195 h 10808782"/>
              <a:gd name="connsiteX401" fmla="*/ 12486354 w 25004707"/>
              <a:gd name="connsiteY401" fmla="*/ 5165033 h 10808782"/>
              <a:gd name="connsiteX402" fmla="*/ 18962698 w 25004707"/>
              <a:gd name="connsiteY402" fmla="*/ 4628276 h 10808782"/>
              <a:gd name="connsiteX403" fmla="*/ 19539460 w 25004707"/>
              <a:gd name="connsiteY403" fmla="*/ 4998269 h 10808782"/>
              <a:gd name="connsiteX404" fmla="*/ 17654520 w 25004707"/>
              <a:gd name="connsiteY404" fmla="*/ 4542992 h 10808782"/>
              <a:gd name="connsiteX405" fmla="*/ 16758537 w 25004707"/>
              <a:gd name="connsiteY405" fmla="*/ 9334389 h 10808782"/>
              <a:gd name="connsiteX406" fmla="*/ 16800072 w 25004707"/>
              <a:gd name="connsiteY406" fmla="*/ 8904700 h 10808782"/>
              <a:gd name="connsiteX407" fmla="*/ 16758537 w 25004707"/>
              <a:gd name="connsiteY407" fmla="*/ 9334389 h 10808782"/>
              <a:gd name="connsiteX408" fmla="*/ 16726601 w 25004707"/>
              <a:gd name="connsiteY408" fmla="*/ 9818807 h 10808782"/>
              <a:gd name="connsiteX409" fmla="*/ 16758537 w 25004707"/>
              <a:gd name="connsiteY409" fmla="*/ 9334389 h 10808782"/>
              <a:gd name="connsiteX410" fmla="*/ 15474273 w 25004707"/>
              <a:gd name="connsiteY410" fmla="*/ 9250206 h 10808782"/>
              <a:gd name="connsiteX411" fmla="*/ 16726601 w 25004707"/>
              <a:gd name="connsiteY411" fmla="*/ 9818807 h 10808782"/>
              <a:gd name="connsiteX412" fmla="*/ 16694821 w 25004707"/>
              <a:gd name="connsiteY412" fmla="*/ 10303712 h 10808782"/>
              <a:gd name="connsiteX413" fmla="*/ 15410602 w 25004707"/>
              <a:gd name="connsiteY413" fmla="*/ 10219528 h 10808782"/>
              <a:gd name="connsiteX414" fmla="*/ 17267806 w 25004707"/>
              <a:gd name="connsiteY414" fmla="*/ 1579257 h 10808782"/>
              <a:gd name="connsiteX415" fmla="*/ 17236028 w 25004707"/>
              <a:gd name="connsiteY415" fmla="*/ 2063691 h 10808782"/>
              <a:gd name="connsiteX416" fmla="*/ 17267806 w 25004707"/>
              <a:gd name="connsiteY416" fmla="*/ 1579257 h 10808782"/>
              <a:gd name="connsiteX417" fmla="*/ 17299588 w 25004707"/>
              <a:gd name="connsiteY417" fmla="*/ 1094351 h 10808782"/>
              <a:gd name="connsiteX418" fmla="*/ 17267806 w 25004707"/>
              <a:gd name="connsiteY418" fmla="*/ 1579257 h 10808782"/>
              <a:gd name="connsiteX419" fmla="*/ 15983542 w 25004707"/>
              <a:gd name="connsiteY419" fmla="*/ 1495075 h 10808782"/>
              <a:gd name="connsiteX420" fmla="*/ 17236028 w 25004707"/>
              <a:gd name="connsiteY420" fmla="*/ 2063691 h 10808782"/>
              <a:gd name="connsiteX421" fmla="*/ 17204090 w 25004707"/>
              <a:gd name="connsiteY421" fmla="*/ 2548596 h 10808782"/>
              <a:gd name="connsiteX422" fmla="*/ 17236028 w 25004707"/>
              <a:gd name="connsiteY422" fmla="*/ 2063691 h 10808782"/>
              <a:gd name="connsiteX423" fmla="*/ 15951762 w 25004707"/>
              <a:gd name="connsiteY423" fmla="*/ 1979523 h 10808782"/>
              <a:gd name="connsiteX424" fmla="*/ 16799444 w 25004707"/>
              <a:gd name="connsiteY424" fmla="*/ 8904669 h 10808782"/>
              <a:gd name="connsiteX425" fmla="*/ 16902020 w 25004707"/>
              <a:gd name="connsiteY425" fmla="*/ 8707648 h 10808782"/>
              <a:gd name="connsiteX426" fmla="*/ 18303180 w 25004707"/>
              <a:gd name="connsiteY426" fmla="*/ 8681872 h 10808782"/>
              <a:gd name="connsiteX427" fmla="*/ 16799444 w 25004707"/>
              <a:gd name="connsiteY427" fmla="*/ 8904669 h 10808782"/>
              <a:gd name="connsiteX428" fmla="*/ 15487866 w 25004707"/>
              <a:gd name="connsiteY428" fmla="*/ 8816367 h 10808782"/>
              <a:gd name="connsiteX429" fmla="*/ 17204090 w 25004707"/>
              <a:gd name="connsiteY429" fmla="*/ 2548596 h 10808782"/>
              <a:gd name="connsiteX430" fmla="*/ 15919982 w 25004707"/>
              <a:gd name="connsiteY430" fmla="*/ 2464396 h 10808782"/>
              <a:gd name="connsiteX431" fmla="*/ 17172310 w 25004707"/>
              <a:gd name="connsiteY431" fmla="*/ 3033501 h 10808782"/>
              <a:gd name="connsiteX432" fmla="*/ 17140372 w 25004707"/>
              <a:gd name="connsiteY432" fmla="*/ 3517934 h 10808782"/>
              <a:gd name="connsiteX433" fmla="*/ 17140372 w 25004707"/>
              <a:gd name="connsiteY433" fmla="*/ 3517934 h 10808782"/>
              <a:gd name="connsiteX434" fmla="*/ 15856264 w 25004707"/>
              <a:gd name="connsiteY434" fmla="*/ 3433766 h 10808782"/>
              <a:gd name="connsiteX435" fmla="*/ 16726601 w 25004707"/>
              <a:gd name="connsiteY435" fmla="*/ 9818807 h 10808782"/>
              <a:gd name="connsiteX436" fmla="*/ 15442492 w 25004707"/>
              <a:gd name="connsiteY436" fmla="*/ 9734623 h 10808782"/>
              <a:gd name="connsiteX437" fmla="*/ 17204090 w 25004707"/>
              <a:gd name="connsiteY437" fmla="*/ 2548580 h 10808782"/>
              <a:gd name="connsiteX438" fmla="*/ 17172310 w 25004707"/>
              <a:gd name="connsiteY438" fmla="*/ 3033485 h 10808782"/>
              <a:gd name="connsiteX439" fmla="*/ 15888202 w 25004707"/>
              <a:gd name="connsiteY439" fmla="*/ 2949301 h 10808782"/>
              <a:gd name="connsiteX440" fmla="*/ 17402166 w 25004707"/>
              <a:gd name="connsiteY440" fmla="*/ 8385673 h 10808782"/>
              <a:gd name="connsiteX441" fmla="*/ 18066716 w 25004707"/>
              <a:gd name="connsiteY441" fmla="*/ 7989305 h 10808782"/>
              <a:gd name="connsiteX442" fmla="*/ 18998254 w 25004707"/>
              <a:gd name="connsiteY442" fmla="*/ 6560697 h 10808782"/>
              <a:gd name="connsiteX443" fmla="*/ 16901864 w 25004707"/>
              <a:gd name="connsiteY443" fmla="*/ 8707648 h 10808782"/>
              <a:gd name="connsiteX444" fmla="*/ 17080274 w 25004707"/>
              <a:gd name="connsiteY444" fmla="*/ 8564539 h 10808782"/>
              <a:gd name="connsiteX445" fmla="*/ 17402166 w 25004707"/>
              <a:gd name="connsiteY445" fmla="*/ 8385201 h 10808782"/>
              <a:gd name="connsiteX446" fmla="*/ 17200630 w 25004707"/>
              <a:gd name="connsiteY446" fmla="*/ 4158019 h 10808782"/>
              <a:gd name="connsiteX447" fmla="*/ 17124954 w 25004707"/>
              <a:gd name="connsiteY447" fmla="*/ 3949321 h 10808782"/>
              <a:gd name="connsiteX448" fmla="*/ 17140530 w 25004707"/>
              <a:gd name="connsiteY448" fmla="*/ 3517934 h 10808782"/>
              <a:gd name="connsiteX449" fmla="*/ 17125426 w 25004707"/>
              <a:gd name="connsiteY449" fmla="*/ 3949352 h 10808782"/>
              <a:gd name="connsiteX450" fmla="*/ 17201730 w 25004707"/>
              <a:gd name="connsiteY450" fmla="*/ 4158098 h 10808782"/>
              <a:gd name="connsiteX451" fmla="*/ 17358742 w 25004707"/>
              <a:gd name="connsiteY451" fmla="*/ 4323196 h 10808782"/>
              <a:gd name="connsiteX452" fmla="*/ 15489707 w 25004707"/>
              <a:gd name="connsiteY452" fmla="*/ 4211020 h 10808782"/>
              <a:gd name="connsiteX453" fmla="*/ 17654676 w 25004707"/>
              <a:gd name="connsiteY453" fmla="*/ 4542552 h 10808782"/>
              <a:gd name="connsiteX454" fmla="*/ 17359372 w 25004707"/>
              <a:gd name="connsiteY454" fmla="*/ 4322756 h 10808782"/>
              <a:gd name="connsiteX455" fmla="*/ 18261488 w 25004707"/>
              <a:gd name="connsiteY455" fmla="*/ 5022254 h 10808782"/>
              <a:gd name="connsiteX456" fmla="*/ 17654520 w 25004707"/>
              <a:gd name="connsiteY456" fmla="*/ 4542536 h 10808782"/>
              <a:gd name="connsiteX457" fmla="*/ 10846386 w 25004707"/>
              <a:gd name="connsiteY457" fmla="*/ 1158336 h 10808782"/>
              <a:gd name="connsiteX458" fmla="*/ 10814575 w 25004707"/>
              <a:gd name="connsiteY458" fmla="*/ 1642772 h 10808782"/>
              <a:gd name="connsiteX459" fmla="*/ 10846386 w 25004707"/>
              <a:gd name="connsiteY459" fmla="*/ 1158336 h 10808782"/>
              <a:gd name="connsiteX460" fmla="*/ 10878229 w 25004707"/>
              <a:gd name="connsiteY460" fmla="*/ 673426 h 10808782"/>
              <a:gd name="connsiteX461" fmla="*/ 10846386 w 25004707"/>
              <a:gd name="connsiteY461" fmla="*/ 1158336 h 10808782"/>
              <a:gd name="connsiteX462" fmla="*/ 9562215 w 25004707"/>
              <a:gd name="connsiteY462" fmla="*/ 1074149 h 10808782"/>
              <a:gd name="connsiteX463" fmla="*/ 10846386 w 25004707"/>
              <a:gd name="connsiteY463" fmla="*/ 1158336 h 10808782"/>
              <a:gd name="connsiteX464" fmla="*/ 12130541 w 25004707"/>
              <a:gd name="connsiteY464" fmla="*/ 1242500 h 10808782"/>
              <a:gd name="connsiteX465" fmla="*/ 10814575 w 25004707"/>
              <a:gd name="connsiteY465" fmla="*/ 1642772 h 10808782"/>
              <a:gd name="connsiteX466" fmla="*/ 10782701 w 25004707"/>
              <a:gd name="connsiteY466" fmla="*/ 2127677 h 10808782"/>
              <a:gd name="connsiteX467" fmla="*/ 10814575 w 25004707"/>
              <a:gd name="connsiteY467" fmla="*/ 1642772 h 10808782"/>
              <a:gd name="connsiteX468" fmla="*/ 12098730 w 25004707"/>
              <a:gd name="connsiteY468" fmla="*/ 1726956 h 10808782"/>
              <a:gd name="connsiteX469" fmla="*/ 10814575 w 25004707"/>
              <a:gd name="connsiteY469" fmla="*/ 1642772 h 10808782"/>
              <a:gd name="connsiteX470" fmla="*/ 9530388 w 25004707"/>
              <a:gd name="connsiteY470" fmla="*/ 1558589 h 10808782"/>
              <a:gd name="connsiteX471" fmla="*/ 10305289 w 25004707"/>
              <a:gd name="connsiteY471" fmla="*/ 9397889 h 10808782"/>
              <a:gd name="connsiteX472" fmla="*/ 10273446 w 25004707"/>
              <a:gd name="connsiteY472" fmla="*/ 9882778 h 10808782"/>
              <a:gd name="connsiteX473" fmla="*/ 8989260 w 25004707"/>
              <a:gd name="connsiteY473" fmla="*/ 9798610 h 10808782"/>
              <a:gd name="connsiteX474" fmla="*/ 10555692 w 25004707"/>
              <a:gd name="connsiteY474" fmla="*/ 5519827 h 10808782"/>
              <a:gd name="connsiteX475" fmla="*/ 10507424 w 25004707"/>
              <a:gd name="connsiteY475" fmla="*/ 6003648 h 10808782"/>
              <a:gd name="connsiteX476" fmla="*/ 10555614 w 25004707"/>
              <a:gd name="connsiteY476" fmla="*/ 5519341 h 10808782"/>
              <a:gd name="connsiteX477" fmla="*/ 10575783 w 25004707"/>
              <a:gd name="connsiteY477" fmla="*/ 5277870 h 10808782"/>
              <a:gd name="connsiteX478" fmla="*/ 10591688 w 25004707"/>
              <a:gd name="connsiteY478" fmla="*/ 5035661 h 10808782"/>
              <a:gd name="connsiteX479" fmla="*/ 11548855 w 25004707"/>
              <a:gd name="connsiteY479" fmla="*/ 5027347 h 10808782"/>
              <a:gd name="connsiteX480" fmla="*/ 10337085 w 25004707"/>
              <a:gd name="connsiteY480" fmla="*/ 8913455 h 10808782"/>
              <a:gd name="connsiteX481" fmla="*/ 10305258 w 25004707"/>
              <a:gd name="connsiteY481" fmla="*/ 9397889 h 10808782"/>
              <a:gd name="connsiteX482" fmla="*/ 9021087 w 25004707"/>
              <a:gd name="connsiteY482" fmla="*/ 9313705 h 10808782"/>
              <a:gd name="connsiteX483" fmla="*/ 10337085 w 25004707"/>
              <a:gd name="connsiteY483" fmla="*/ 8913455 h 10808782"/>
              <a:gd name="connsiteX484" fmla="*/ 10368913 w 25004707"/>
              <a:gd name="connsiteY484" fmla="*/ 8428566 h 10808782"/>
              <a:gd name="connsiteX485" fmla="*/ 10337085 w 25004707"/>
              <a:gd name="connsiteY485" fmla="*/ 8913455 h 10808782"/>
              <a:gd name="connsiteX486" fmla="*/ 9052883 w 25004707"/>
              <a:gd name="connsiteY486" fmla="*/ 8829287 h 10808782"/>
              <a:gd name="connsiteX487" fmla="*/ 10464347 w 25004707"/>
              <a:gd name="connsiteY487" fmla="*/ 6974794 h 10808782"/>
              <a:gd name="connsiteX488" fmla="*/ 10432536 w 25004707"/>
              <a:gd name="connsiteY488" fmla="*/ 7459228 h 10808782"/>
              <a:gd name="connsiteX489" fmla="*/ 9148365 w 25004707"/>
              <a:gd name="connsiteY489" fmla="*/ 7375059 h 10808782"/>
              <a:gd name="connsiteX490" fmla="*/ 9116522 w 25004707"/>
              <a:gd name="connsiteY490" fmla="*/ 7859965 h 10808782"/>
              <a:gd name="connsiteX491" fmla="*/ 10782731 w 25004707"/>
              <a:gd name="connsiteY491" fmla="*/ 2127662 h 10808782"/>
              <a:gd name="connsiteX492" fmla="*/ 10750888 w 25004707"/>
              <a:gd name="connsiteY492" fmla="*/ 2612551 h 10808782"/>
              <a:gd name="connsiteX493" fmla="*/ 10750888 w 25004707"/>
              <a:gd name="connsiteY493" fmla="*/ 2612551 h 10808782"/>
              <a:gd name="connsiteX494" fmla="*/ 12035043 w 25004707"/>
              <a:gd name="connsiteY494" fmla="*/ 2696735 h 10808782"/>
              <a:gd name="connsiteX495" fmla="*/ 10750888 w 25004707"/>
              <a:gd name="connsiteY495" fmla="*/ 2612551 h 10808782"/>
              <a:gd name="connsiteX496" fmla="*/ 9466717 w 25004707"/>
              <a:gd name="connsiteY496" fmla="*/ 2528383 h 10808782"/>
              <a:gd name="connsiteX497" fmla="*/ 10687250 w 25004707"/>
              <a:gd name="connsiteY497" fmla="*/ 3581905 h 10808782"/>
              <a:gd name="connsiteX498" fmla="*/ 10655422 w 25004707"/>
              <a:gd name="connsiteY498" fmla="*/ 4066339 h 10808782"/>
              <a:gd name="connsiteX499" fmla="*/ 10687250 w 25004707"/>
              <a:gd name="connsiteY499" fmla="*/ 3581905 h 10808782"/>
              <a:gd name="connsiteX500" fmla="*/ 10719077 w 25004707"/>
              <a:gd name="connsiteY500" fmla="*/ 3096984 h 10808782"/>
              <a:gd name="connsiteX501" fmla="*/ 10687250 w 25004707"/>
              <a:gd name="connsiteY501" fmla="*/ 3581905 h 10808782"/>
              <a:gd name="connsiteX502" fmla="*/ 9403063 w 25004707"/>
              <a:gd name="connsiteY502" fmla="*/ 3497721 h 10808782"/>
              <a:gd name="connsiteX503" fmla="*/ 10655422 w 25004707"/>
              <a:gd name="connsiteY503" fmla="*/ 4066339 h 10808782"/>
              <a:gd name="connsiteX504" fmla="*/ 9371251 w 25004707"/>
              <a:gd name="connsiteY504" fmla="*/ 3982155 h 10808782"/>
              <a:gd name="connsiteX505" fmla="*/ 10655422 w 25004707"/>
              <a:gd name="connsiteY505" fmla="*/ 4066339 h 10808782"/>
              <a:gd name="connsiteX506" fmla="*/ 11939593 w 25004707"/>
              <a:gd name="connsiteY506" fmla="*/ 4150506 h 10808782"/>
              <a:gd name="connsiteX507" fmla="*/ 10368881 w 25004707"/>
              <a:gd name="connsiteY507" fmla="*/ 8428566 h 10808782"/>
              <a:gd name="connsiteX508" fmla="*/ 10400693 w 25004707"/>
              <a:gd name="connsiteY508" fmla="*/ 7944132 h 10808782"/>
              <a:gd name="connsiteX509" fmla="*/ 11684864 w 25004707"/>
              <a:gd name="connsiteY509" fmla="*/ 8028316 h 10808782"/>
              <a:gd name="connsiteX510" fmla="*/ 10368881 w 25004707"/>
              <a:gd name="connsiteY510" fmla="*/ 8428566 h 10808782"/>
              <a:gd name="connsiteX511" fmla="*/ 11653068 w 25004707"/>
              <a:gd name="connsiteY511" fmla="*/ 8512733 h 10808782"/>
              <a:gd name="connsiteX512" fmla="*/ 10368881 w 25004707"/>
              <a:gd name="connsiteY512" fmla="*/ 8428566 h 10808782"/>
              <a:gd name="connsiteX513" fmla="*/ 9084726 w 25004707"/>
              <a:gd name="connsiteY513" fmla="*/ 8344382 h 10808782"/>
              <a:gd name="connsiteX514" fmla="*/ 10491817 w 25004707"/>
              <a:gd name="connsiteY514" fmla="*/ 6490549 h 10808782"/>
              <a:gd name="connsiteX515" fmla="*/ 10480222 w 25004707"/>
              <a:gd name="connsiteY515" fmla="*/ 6732585 h 10808782"/>
              <a:gd name="connsiteX516" fmla="*/ 10464317 w 25004707"/>
              <a:gd name="connsiteY516" fmla="*/ 6974794 h 10808782"/>
              <a:gd name="connsiteX517" fmla="*/ 9180145 w 25004707"/>
              <a:gd name="connsiteY517" fmla="*/ 6890626 h 10808782"/>
              <a:gd name="connsiteX518" fmla="*/ 10507361 w 25004707"/>
              <a:gd name="connsiteY518" fmla="*/ 6003632 h 10808782"/>
              <a:gd name="connsiteX519" fmla="*/ 10491943 w 25004707"/>
              <a:gd name="connsiteY519" fmla="*/ 6489606 h 10808782"/>
              <a:gd name="connsiteX520" fmla="*/ 10163458 w 25004707"/>
              <a:gd name="connsiteY520" fmla="*/ 6468073 h 10808782"/>
              <a:gd name="connsiteX521" fmla="*/ 9212005 w 25004707"/>
              <a:gd name="connsiteY521" fmla="*/ 6405705 h 10808782"/>
              <a:gd name="connsiteX522" fmla="*/ 10507361 w 25004707"/>
              <a:gd name="connsiteY522" fmla="*/ 6003632 h 10808782"/>
              <a:gd name="connsiteX523" fmla="*/ 9243879 w 25004707"/>
              <a:gd name="connsiteY523" fmla="*/ 5920832 h 10808782"/>
              <a:gd name="connsiteX524" fmla="*/ 10507361 w 25004707"/>
              <a:gd name="connsiteY524" fmla="*/ 6003632 h 10808782"/>
              <a:gd name="connsiteX525" fmla="*/ 11123456 w 25004707"/>
              <a:gd name="connsiteY525" fmla="*/ 6044043 h 10808782"/>
              <a:gd name="connsiteX526" fmla="*/ 10782701 w 25004707"/>
              <a:gd name="connsiteY526" fmla="*/ 2127677 h 10808782"/>
              <a:gd name="connsiteX527" fmla="*/ 12066887 w 25004707"/>
              <a:gd name="connsiteY527" fmla="*/ 2211845 h 10808782"/>
              <a:gd name="connsiteX528" fmla="*/ 10782701 w 25004707"/>
              <a:gd name="connsiteY528" fmla="*/ 2127677 h 10808782"/>
              <a:gd name="connsiteX529" fmla="*/ 9498529 w 25004707"/>
              <a:gd name="connsiteY529" fmla="*/ 2043493 h 10808782"/>
              <a:gd name="connsiteX530" fmla="*/ 10750841 w 25004707"/>
              <a:gd name="connsiteY530" fmla="*/ 2612582 h 10808782"/>
              <a:gd name="connsiteX531" fmla="*/ 10719029 w 25004707"/>
              <a:gd name="connsiteY531" fmla="*/ 3097016 h 10808782"/>
              <a:gd name="connsiteX532" fmla="*/ 9434859 w 25004707"/>
              <a:gd name="connsiteY532" fmla="*/ 3012832 h 10808782"/>
              <a:gd name="connsiteX533" fmla="*/ 10623563 w 25004707"/>
              <a:gd name="connsiteY533" fmla="*/ 4551244 h 10808782"/>
              <a:gd name="connsiteX534" fmla="*/ 10591752 w 25004707"/>
              <a:gd name="connsiteY534" fmla="*/ 5035661 h 10808782"/>
              <a:gd name="connsiteX535" fmla="*/ 9307550 w 25004707"/>
              <a:gd name="connsiteY535" fmla="*/ 4951493 h 10808782"/>
              <a:gd name="connsiteX536" fmla="*/ 9275706 w 25004707"/>
              <a:gd name="connsiteY536" fmla="*/ 5436398 h 10808782"/>
              <a:gd name="connsiteX537" fmla="*/ 10623563 w 25004707"/>
              <a:gd name="connsiteY537" fmla="*/ 4551244 h 10808782"/>
              <a:gd name="connsiteX538" fmla="*/ 10655390 w 25004707"/>
              <a:gd name="connsiteY538" fmla="*/ 4066339 h 10808782"/>
              <a:gd name="connsiteX539" fmla="*/ 10623563 w 25004707"/>
              <a:gd name="connsiteY539" fmla="*/ 4551244 h 10808782"/>
              <a:gd name="connsiteX540" fmla="*/ 9339392 w 25004707"/>
              <a:gd name="connsiteY540" fmla="*/ 4467060 h 10808782"/>
              <a:gd name="connsiteX541" fmla="*/ 10432504 w 25004707"/>
              <a:gd name="connsiteY541" fmla="*/ 7459228 h 10808782"/>
              <a:gd name="connsiteX542" fmla="*/ 10400662 w 25004707"/>
              <a:gd name="connsiteY542" fmla="*/ 7944132 h 10808782"/>
              <a:gd name="connsiteX543" fmla="*/ 9116475 w 25004707"/>
              <a:gd name="connsiteY543" fmla="*/ 7859949 h 10808782"/>
              <a:gd name="connsiteX544" fmla="*/ 5662142 w 25004707"/>
              <a:gd name="connsiteY544" fmla="*/ 1780254 h 10808782"/>
              <a:gd name="connsiteX545" fmla="*/ 5658194 w 25004707"/>
              <a:gd name="connsiteY545" fmla="*/ 2262267 h 10808782"/>
              <a:gd name="connsiteX546" fmla="*/ 5662142 w 25004707"/>
              <a:gd name="connsiteY546" fmla="*/ 1780254 h 10808782"/>
              <a:gd name="connsiteX547" fmla="*/ 4402830 w 25004707"/>
              <a:gd name="connsiteY547" fmla="*/ 1082261 h 10808782"/>
              <a:gd name="connsiteX548" fmla="*/ 5662142 w 25004707"/>
              <a:gd name="connsiteY548" fmla="*/ 1780254 h 10808782"/>
              <a:gd name="connsiteX549" fmla="*/ 6479129 w 25004707"/>
              <a:gd name="connsiteY549" fmla="*/ 1845561 h 10808782"/>
              <a:gd name="connsiteX550" fmla="*/ 6930187 w 25004707"/>
              <a:gd name="connsiteY550" fmla="*/ 1875142 h 10808782"/>
              <a:gd name="connsiteX551" fmla="*/ 5658194 w 25004707"/>
              <a:gd name="connsiteY551" fmla="*/ 2262267 h 10808782"/>
              <a:gd name="connsiteX552" fmla="*/ 4366723 w 25004707"/>
              <a:gd name="connsiteY552" fmla="*/ 1631817 h 10808782"/>
              <a:gd name="connsiteX553" fmla="*/ 5658194 w 25004707"/>
              <a:gd name="connsiteY553" fmla="*/ 2262267 h 10808782"/>
              <a:gd name="connsiteX554" fmla="*/ 5911822 w 25004707"/>
              <a:gd name="connsiteY554" fmla="*/ 2295353 h 10808782"/>
              <a:gd name="connsiteX555" fmla="*/ 6898297 w 25004707"/>
              <a:gd name="connsiteY555" fmla="*/ 2360015 h 10808782"/>
              <a:gd name="connsiteX556" fmla="*/ 6930156 w 25004707"/>
              <a:gd name="connsiteY556" fmla="*/ 1875126 h 10808782"/>
              <a:gd name="connsiteX557" fmla="*/ 5455005 w 25004707"/>
              <a:gd name="connsiteY557" fmla="*/ 4698958 h 10808782"/>
              <a:gd name="connsiteX558" fmla="*/ 5486817 w 25004707"/>
              <a:gd name="connsiteY558" fmla="*/ 4214524 h 10808782"/>
              <a:gd name="connsiteX559" fmla="*/ 6771003 w 25004707"/>
              <a:gd name="connsiteY559" fmla="*/ 4298708 h 10808782"/>
              <a:gd name="connsiteX560" fmla="*/ 5455005 w 25004707"/>
              <a:gd name="connsiteY560" fmla="*/ 4698958 h 10808782"/>
              <a:gd name="connsiteX561" fmla="*/ 6739176 w 25004707"/>
              <a:gd name="connsiteY561" fmla="*/ 4783142 h 10808782"/>
              <a:gd name="connsiteX562" fmla="*/ 5455005 w 25004707"/>
              <a:gd name="connsiteY562" fmla="*/ 4698958 h 10808782"/>
              <a:gd name="connsiteX563" fmla="*/ 5254428 w 25004707"/>
              <a:gd name="connsiteY563" fmla="*/ 4685802 h 10808782"/>
              <a:gd name="connsiteX564" fmla="*/ 4154818 w 25004707"/>
              <a:gd name="connsiteY564" fmla="*/ 4858838 h 10808782"/>
              <a:gd name="connsiteX565" fmla="*/ 5455005 w 25004707"/>
              <a:gd name="connsiteY565" fmla="*/ 4698958 h 10808782"/>
              <a:gd name="connsiteX566" fmla="*/ 5391335 w 25004707"/>
              <a:gd name="connsiteY566" fmla="*/ 5668281 h 10808782"/>
              <a:gd name="connsiteX567" fmla="*/ 4107179 w 25004707"/>
              <a:gd name="connsiteY567" fmla="*/ 5584097 h 10808782"/>
              <a:gd name="connsiteX568" fmla="*/ 5200355 w 25004707"/>
              <a:gd name="connsiteY568" fmla="*/ 8576736 h 10808782"/>
              <a:gd name="connsiteX569" fmla="*/ 5168543 w 25004707"/>
              <a:gd name="connsiteY569" fmla="*/ 9061169 h 10808782"/>
              <a:gd name="connsiteX570" fmla="*/ 3884356 w 25004707"/>
              <a:gd name="connsiteY570" fmla="*/ 8976986 h 10808782"/>
              <a:gd name="connsiteX571" fmla="*/ 5200355 w 25004707"/>
              <a:gd name="connsiteY571" fmla="*/ 8576736 h 10808782"/>
              <a:gd name="connsiteX572" fmla="*/ 5232197 w 25004707"/>
              <a:gd name="connsiteY572" fmla="*/ 8091847 h 10808782"/>
              <a:gd name="connsiteX573" fmla="*/ 5200355 w 25004707"/>
              <a:gd name="connsiteY573" fmla="*/ 8576736 h 10808782"/>
              <a:gd name="connsiteX574" fmla="*/ 3916184 w 25004707"/>
              <a:gd name="connsiteY574" fmla="*/ 8492568 h 10808782"/>
              <a:gd name="connsiteX575" fmla="*/ 5658225 w 25004707"/>
              <a:gd name="connsiteY575" fmla="*/ 2262283 h 10808782"/>
              <a:gd name="connsiteX576" fmla="*/ 5637521 w 25004707"/>
              <a:gd name="connsiteY576" fmla="*/ 2763912 h 10808782"/>
              <a:gd name="connsiteX577" fmla="*/ 6866517 w 25004707"/>
              <a:gd name="connsiteY577" fmla="*/ 2844465 h 10808782"/>
              <a:gd name="connsiteX578" fmla="*/ 5592415 w 25004707"/>
              <a:gd name="connsiteY578" fmla="*/ 3263937 h 10808782"/>
              <a:gd name="connsiteX579" fmla="*/ 5637489 w 25004707"/>
              <a:gd name="connsiteY579" fmla="*/ 2763896 h 10808782"/>
              <a:gd name="connsiteX580" fmla="*/ 4298128 w 25004707"/>
              <a:gd name="connsiteY580" fmla="*/ 2676113 h 10808782"/>
              <a:gd name="connsiteX581" fmla="*/ 5592415 w 25004707"/>
              <a:gd name="connsiteY581" fmla="*/ 3263937 h 10808782"/>
              <a:gd name="connsiteX582" fmla="*/ 5533291 w 25004707"/>
              <a:gd name="connsiteY582" fmla="*/ 3742335 h 10808782"/>
              <a:gd name="connsiteX583" fmla="*/ 5592415 w 25004707"/>
              <a:gd name="connsiteY583" fmla="*/ 3263937 h 10808782"/>
              <a:gd name="connsiteX584" fmla="*/ 5848183 w 25004707"/>
              <a:gd name="connsiteY584" fmla="*/ 3264220 h 10808782"/>
              <a:gd name="connsiteX585" fmla="*/ 6834674 w 25004707"/>
              <a:gd name="connsiteY585" fmla="*/ 3328898 h 10808782"/>
              <a:gd name="connsiteX586" fmla="*/ 5709640 w 25004707"/>
              <a:gd name="connsiteY586" fmla="*/ 821626 h 10808782"/>
              <a:gd name="connsiteX587" fmla="*/ 5677828 w 25004707"/>
              <a:gd name="connsiteY587" fmla="*/ 1306056 h 10808782"/>
              <a:gd name="connsiteX588" fmla="*/ 5622638 w 25004707"/>
              <a:gd name="connsiteY588" fmla="*/ 1302440 h 10808782"/>
              <a:gd name="connsiteX589" fmla="*/ 5501527 w 25004707"/>
              <a:gd name="connsiteY589" fmla="*/ 1263917 h 10808782"/>
              <a:gd name="connsiteX590" fmla="*/ 4424446 w 25004707"/>
              <a:gd name="connsiteY590" fmla="*/ 752908 h 10808782"/>
              <a:gd name="connsiteX591" fmla="*/ 5709640 w 25004707"/>
              <a:gd name="connsiteY591" fmla="*/ 821626 h 10808782"/>
              <a:gd name="connsiteX592" fmla="*/ 5741483 w 25004707"/>
              <a:gd name="connsiteY592" fmla="*/ 336712 h 10808782"/>
              <a:gd name="connsiteX593" fmla="*/ 5709640 w 25004707"/>
              <a:gd name="connsiteY593" fmla="*/ 821626 h 10808782"/>
              <a:gd name="connsiteX594" fmla="*/ 5509063 w 25004707"/>
              <a:gd name="connsiteY594" fmla="*/ 808462 h 10808782"/>
              <a:gd name="connsiteX595" fmla="*/ 4441500 w 25004707"/>
              <a:gd name="connsiteY595" fmla="*/ 493335 h 10808782"/>
              <a:gd name="connsiteX596" fmla="*/ 5136715 w 25004707"/>
              <a:gd name="connsiteY596" fmla="*/ 9546074 h 10808782"/>
              <a:gd name="connsiteX597" fmla="*/ 5168575 w 25004707"/>
              <a:gd name="connsiteY597" fmla="*/ 9061169 h 10808782"/>
              <a:gd name="connsiteX598" fmla="*/ 5136715 w 25004707"/>
              <a:gd name="connsiteY598" fmla="*/ 9546074 h 10808782"/>
              <a:gd name="connsiteX599" fmla="*/ 6420871 w 25004707"/>
              <a:gd name="connsiteY599" fmla="*/ 9630242 h 10808782"/>
              <a:gd name="connsiteX600" fmla="*/ 6452730 w 25004707"/>
              <a:gd name="connsiteY600" fmla="*/ 9145353 h 10808782"/>
              <a:gd name="connsiteX601" fmla="*/ 7736885 w 25004707"/>
              <a:gd name="connsiteY601" fmla="*/ 9229521 h 10808782"/>
              <a:gd name="connsiteX602" fmla="*/ 5136715 w 25004707"/>
              <a:gd name="connsiteY602" fmla="*/ 9546074 h 10808782"/>
              <a:gd name="connsiteX603" fmla="*/ 3852544 w 25004707"/>
              <a:gd name="connsiteY603" fmla="*/ 9461890 h 10808782"/>
              <a:gd name="connsiteX604" fmla="*/ 5486801 w 25004707"/>
              <a:gd name="connsiteY604" fmla="*/ 4214981 h 10808782"/>
              <a:gd name="connsiteX605" fmla="*/ 5491773 w 25004707"/>
              <a:gd name="connsiteY605" fmla="*/ 4139080 h 10808782"/>
              <a:gd name="connsiteX606" fmla="*/ 5497892 w 25004707"/>
              <a:gd name="connsiteY606" fmla="*/ 4062315 h 10808782"/>
              <a:gd name="connsiteX607" fmla="*/ 5533276 w 25004707"/>
              <a:gd name="connsiteY607" fmla="*/ 3742335 h 10808782"/>
              <a:gd name="connsiteX608" fmla="*/ 4193442 w 25004707"/>
              <a:gd name="connsiteY608" fmla="*/ 4269945 h 10808782"/>
              <a:gd name="connsiteX609" fmla="*/ 5327633 w 25004707"/>
              <a:gd name="connsiteY609" fmla="*/ 6638091 h 10808782"/>
              <a:gd name="connsiteX610" fmla="*/ 5359476 w 25004707"/>
              <a:gd name="connsiteY610" fmla="*/ 6153186 h 10808782"/>
              <a:gd name="connsiteX611" fmla="*/ 6643678 w 25004707"/>
              <a:gd name="connsiteY611" fmla="*/ 6237369 h 10808782"/>
              <a:gd name="connsiteX612" fmla="*/ 5327633 w 25004707"/>
              <a:gd name="connsiteY612" fmla="*/ 6638091 h 10808782"/>
              <a:gd name="connsiteX613" fmla="*/ 5295821 w 25004707"/>
              <a:gd name="connsiteY613" fmla="*/ 7122508 h 10808782"/>
              <a:gd name="connsiteX614" fmla="*/ 5327633 w 25004707"/>
              <a:gd name="connsiteY614" fmla="*/ 6638091 h 10808782"/>
              <a:gd name="connsiteX615" fmla="*/ 6611819 w 25004707"/>
              <a:gd name="connsiteY615" fmla="*/ 6722259 h 10808782"/>
              <a:gd name="connsiteX616" fmla="*/ 5327633 w 25004707"/>
              <a:gd name="connsiteY616" fmla="*/ 6638091 h 10808782"/>
              <a:gd name="connsiteX617" fmla="*/ 4043446 w 25004707"/>
              <a:gd name="connsiteY617" fmla="*/ 6553891 h 10808782"/>
              <a:gd name="connsiteX618" fmla="*/ 5295821 w 25004707"/>
              <a:gd name="connsiteY618" fmla="*/ 7122508 h 10808782"/>
              <a:gd name="connsiteX619" fmla="*/ 4011634 w 25004707"/>
              <a:gd name="connsiteY619" fmla="*/ 7038325 h 10808782"/>
              <a:gd name="connsiteX620" fmla="*/ 5295821 w 25004707"/>
              <a:gd name="connsiteY620" fmla="*/ 7122508 h 10808782"/>
              <a:gd name="connsiteX621" fmla="*/ 6579992 w 25004707"/>
              <a:gd name="connsiteY621" fmla="*/ 7206692 h 10808782"/>
              <a:gd name="connsiteX622" fmla="*/ 5391303 w 25004707"/>
              <a:gd name="connsiteY622" fmla="*/ 5668281 h 10808782"/>
              <a:gd name="connsiteX623" fmla="*/ 5359460 w 25004707"/>
              <a:gd name="connsiteY623" fmla="*/ 6153186 h 10808782"/>
              <a:gd name="connsiteX624" fmla="*/ 4075304 w 25004707"/>
              <a:gd name="connsiteY624" fmla="*/ 6069002 h 10808782"/>
              <a:gd name="connsiteX625" fmla="*/ 5676774 w 25004707"/>
              <a:gd name="connsiteY625" fmla="*/ 1305997 h 10808782"/>
              <a:gd name="connsiteX626" fmla="*/ 5661592 w 25004707"/>
              <a:gd name="connsiteY626" fmla="*/ 1780223 h 10808782"/>
              <a:gd name="connsiteX627" fmla="*/ 5295774 w 25004707"/>
              <a:gd name="connsiteY627" fmla="*/ 7122508 h 10808782"/>
              <a:gd name="connsiteX628" fmla="*/ 5263931 w 25004707"/>
              <a:gd name="connsiteY628" fmla="*/ 7607414 h 10808782"/>
              <a:gd name="connsiteX629" fmla="*/ 3979775 w 25004707"/>
              <a:gd name="connsiteY629" fmla="*/ 7523230 h 10808782"/>
              <a:gd name="connsiteX630" fmla="*/ 1666131 w 25004707"/>
              <a:gd name="connsiteY630" fmla="*/ 3477068 h 10808782"/>
              <a:gd name="connsiteX631" fmla="*/ 1697943 w 25004707"/>
              <a:gd name="connsiteY631" fmla="*/ 2992651 h 10808782"/>
              <a:gd name="connsiteX632" fmla="*/ 1666131 w 25004707"/>
              <a:gd name="connsiteY632" fmla="*/ 3477068 h 10808782"/>
              <a:gd name="connsiteX633" fmla="*/ 1634272 w 25004707"/>
              <a:gd name="connsiteY633" fmla="*/ 3961989 h 10808782"/>
              <a:gd name="connsiteX634" fmla="*/ 1666131 w 25004707"/>
              <a:gd name="connsiteY634" fmla="*/ 3477068 h 10808782"/>
              <a:gd name="connsiteX635" fmla="*/ 381954 w 25004707"/>
              <a:gd name="connsiteY635" fmla="*/ 3392900 h 10808782"/>
              <a:gd name="connsiteX636" fmla="*/ 1666131 w 25004707"/>
              <a:gd name="connsiteY636" fmla="*/ 3477068 h 10808782"/>
              <a:gd name="connsiteX637" fmla="*/ 2652607 w 25004707"/>
              <a:gd name="connsiteY637" fmla="*/ 3541731 h 10808782"/>
              <a:gd name="connsiteX638" fmla="*/ 2934679 w 25004707"/>
              <a:gd name="connsiteY638" fmla="*/ 3571987 h 10808782"/>
              <a:gd name="connsiteX639" fmla="*/ 1697943 w 25004707"/>
              <a:gd name="connsiteY639" fmla="*/ 2992651 h 10808782"/>
              <a:gd name="connsiteX640" fmla="*/ 1729801 w 25004707"/>
              <a:gd name="connsiteY640" fmla="*/ 2507730 h 10808782"/>
              <a:gd name="connsiteX641" fmla="*/ 1697943 w 25004707"/>
              <a:gd name="connsiteY641" fmla="*/ 2992651 h 10808782"/>
              <a:gd name="connsiteX642" fmla="*/ 403160 w 25004707"/>
              <a:gd name="connsiteY642" fmla="*/ 2907760 h 10808782"/>
              <a:gd name="connsiteX643" fmla="*/ 1602492 w 25004707"/>
              <a:gd name="connsiteY643" fmla="*/ 4446422 h 10808782"/>
              <a:gd name="connsiteX644" fmla="*/ 1634304 w 25004707"/>
              <a:gd name="connsiteY644" fmla="*/ 3961989 h 10808782"/>
              <a:gd name="connsiteX645" fmla="*/ 1602492 w 25004707"/>
              <a:gd name="connsiteY645" fmla="*/ 4446422 h 10808782"/>
              <a:gd name="connsiteX646" fmla="*/ 2886663 w 25004707"/>
              <a:gd name="connsiteY646" fmla="*/ 4530606 h 10808782"/>
              <a:gd name="connsiteX647" fmla="*/ 1602492 w 25004707"/>
              <a:gd name="connsiteY647" fmla="*/ 4446422 h 10808782"/>
              <a:gd name="connsiteX648" fmla="*/ 318315 w 25004707"/>
              <a:gd name="connsiteY648" fmla="*/ 4362239 h 10808782"/>
              <a:gd name="connsiteX649" fmla="*/ 1347818 w 25004707"/>
              <a:gd name="connsiteY649" fmla="*/ 8324201 h 10808782"/>
              <a:gd name="connsiteX650" fmla="*/ 1379664 w 25004707"/>
              <a:gd name="connsiteY650" fmla="*/ 7839312 h 10808782"/>
              <a:gd name="connsiteX651" fmla="*/ 1347818 w 25004707"/>
              <a:gd name="connsiteY651" fmla="*/ 8324201 h 10808782"/>
              <a:gd name="connsiteX652" fmla="*/ 2631997 w 25004707"/>
              <a:gd name="connsiteY652" fmla="*/ 8408384 h 10808782"/>
              <a:gd name="connsiteX653" fmla="*/ 2663840 w 25004707"/>
              <a:gd name="connsiteY653" fmla="*/ 7923495 h 10808782"/>
              <a:gd name="connsiteX654" fmla="*/ 1347818 w 25004707"/>
              <a:gd name="connsiteY654" fmla="*/ 8324201 h 10808782"/>
              <a:gd name="connsiteX655" fmla="*/ 63640 w 25004707"/>
              <a:gd name="connsiteY655" fmla="*/ 8240033 h 10808782"/>
              <a:gd name="connsiteX656" fmla="*/ 1411411 w 25004707"/>
              <a:gd name="connsiteY656" fmla="*/ 7354878 h 10808782"/>
              <a:gd name="connsiteX657" fmla="*/ 1443258 w 25004707"/>
              <a:gd name="connsiteY657" fmla="*/ 6869973 h 10808782"/>
              <a:gd name="connsiteX658" fmla="*/ 2727447 w 25004707"/>
              <a:gd name="connsiteY658" fmla="*/ 6954157 h 10808782"/>
              <a:gd name="connsiteX659" fmla="*/ 1411411 w 25004707"/>
              <a:gd name="connsiteY659" fmla="*/ 7354878 h 10808782"/>
              <a:gd name="connsiteX660" fmla="*/ 1379615 w 25004707"/>
              <a:gd name="connsiteY660" fmla="*/ 7839312 h 10808782"/>
              <a:gd name="connsiteX661" fmla="*/ 1411411 w 25004707"/>
              <a:gd name="connsiteY661" fmla="*/ 7354878 h 10808782"/>
              <a:gd name="connsiteX662" fmla="*/ 127234 w 25004707"/>
              <a:gd name="connsiteY662" fmla="*/ 7270695 h 10808782"/>
              <a:gd name="connsiteX663" fmla="*/ 1793456 w 25004707"/>
              <a:gd name="connsiteY663" fmla="*/ 1538423 h 10808782"/>
              <a:gd name="connsiteX664" fmla="*/ 1825315 w 25004707"/>
              <a:gd name="connsiteY664" fmla="*/ 1053519 h 10808782"/>
              <a:gd name="connsiteX665" fmla="*/ 1793456 w 25004707"/>
              <a:gd name="connsiteY665" fmla="*/ 1538423 h 10808782"/>
              <a:gd name="connsiteX666" fmla="*/ 509285 w 25004707"/>
              <a:gd name="connsiteY666" fmla="*/ 1454241 h 10808782"/>
              <a:gd name="connsiteX667" fmla="*/ 1793456 w 25004707"/>
              <a:gd name="connsiteY667" fmla="*/ 1538423 h 10808782"/>
              <a:gd name="connsiteX668" fmla="*/ 2244530 w 25004707"/>
              <a:gd name="connsiteY668" fmla="*/ 1567988 h 10808782"/>
              <a:gd name="connsiteX669" fmla="*/ 3063877 w 25004707"/>
              <a:gd name="connsiteY669" fmla="*/ 1613223 h 10808782"/>
              <a:gd name="connsiteX670" fmla="*/ 1825315 w 25004707"/>
              <a:gd name="connsiteY670" fmla="*/ 1053519 h 10808782"/>
              <a:gd name="connsiteX671" fmla="*/ 1857095 w 25004707"/>
              <a:gd name="connsiteY671" fmla="*/ 569070 h 10808782"/>
              <a:gd name="connsiteX672" fmla="*/ 1825315 w 25004707"/>
              <a:gd name="connsiteY672" fmla="*/ 1053519 h 10808782"/>
              <a:gd name="connsiteX673" fmla="*/ 541117 w 25004707"/>
              <a:gd name="connsiteY673" fmla="*/ 969340 h 10808782"/>
              <a:gd name="connsiteX674" fmla="*/ 1315958 w 25004707"/>
              <a:gd name="connsiteY674" fmla="*/ 8808634 h 10808782"/>
              <a:gd name="connsiteX675" fmla="*/ 1284111 w 25004707"/>
              <a:gd name="connsiteY675" fmla="*/ 9293539 h 10808782"/>
              <a:gd name="connsiteX676" fmla="*/ 2568295 w 25004707"/>
              <a:gd name="connsiteY676" fmla="*/ 9377707 h 10808782"/>
              <a:gd name="connsiteX677" fmla="*/ 1538806 w 25004707"/>
              <a:gd name="connsiteY677" fmla="*/ 5415746 h 10808782"/>
              <a:gd name="connsiteX678" fmla="*/ 1570617 w 25004707"/>
              <a:gd name="connsiteY678" fmla="*/ 4931312 h 10808782"/>
              <a:gd name="connsiteX679" fmla="*/ 1538806 w 25004707"/>
              <a:gd name="connsiteY679" fmla="*/ 5415746 h 10808782"/>
              <a:gd name="connsiteX680" fmla="*/ 1506961 w 25004707"/>
              <a:gd name="connsiteY680" fmla="*/ 5900650 h 10808782"/>
              <a:gd name="connsiteX681" fmla="*/ 1538806 w 25004707"/>
              <a:gd name="connsiteY681" fmla="*/ 5415746 h 10808782"/>
              <a:gd name="connsiteX682" fmla="*/ 254622 w 25004707"/>
              <a:gd name="connsiteY682" fmla="*/ 5331577 h 10808782"/>
              <a:gd name="connsiteX683" fmla="*/ 1570617 w 25004707"/>
              <a:gd name="connsiteY683" fmla="*/ 4931312 h 10808782"/>
              <a:gd name="connsiteX684" fmla="*/ 1602461 w 25004707"/>
              <a:gd name="connsiteY684" fmla="*/ 4446407 h 10808782"/>
              <a:gd name="connsiteX685" fmla="*/ 1570617 w 25004707"/>
              <a:gd name="connsiteY685" fmla="*/ 4931312 h 10808782"/>
              <a:gd name="connsiteX686" fmla="*/ 286431 w 25004707"/>
              <a:gd name="connsiteY686" fmla="*/ 4847128 h 10808782"/>
              <a:gd name="connsiteX687" fmla="*/ 1729786 w 25004707"/>
              <a:gd name="connsiteY687" fmla="*/ 2507761 h 10808782"/>
              <a:gd name="connsiteX688" fmla="*/ 1761597 w 25004707"/>
              <a:gd name="connsiteY688" fmla="*/ 2023328 h 10808782"/>
              <a:gd name="connsiteX689" fmla="*/ 2414287 w 25004707"/>
              <a:gd name="connsiteY689" fmla="*/ 2066111 h 10808782"/>
              <a:gd name="connsiteX690" fmla="*/ 2740663 w 25004707"/>
              <a:gd name="connsiteY690" fmla="*/ 2087031 h 10808782"/>
              <a:gd name="connsiteX691" fmla="*/ 3004360 w 25004707"/>
              <a:gd name="connsiteY691" fmla="*/ 2088776 h 10808782"/>
              <a:gd name="connsiteX692" fmla="*/ 1729786 w 25004707"/>
              <a:gd name="connsiteY692" fmla="*/ 2507761 h 10808782"/>
              <a:gd name="connsiteX693" fmla="*/ 2958782 w 25004707"/>
              <a:gd name="connsiteY693" fmla="*/ 2588330 h 10808782"/>
              <a:gd name="connsiteX694" fmla="*/ 1729786 w 25004707"/>
              <a:gd name="connsiteY694" fmla="*/ 2507761 h 10808782"/>
              <a:gd name="connsiteX695" fmla="*/ 434989 w 25004707"/>
              <a:gd name="connsiteY695" fmla="*/ 2422886 h 10808782"/>
              <a:gd name="connsiteX696" fmla="*/ 1475135 w 25004707"/>
              <a:gd name="connsiteY696" fmla="*/ 6385540 h 10808782"/>
              <a:gd name="connsiteX697" fmla="*/ 1443319 w 25004707"/>
              <a:gd name="connsiteY697" fmla="*/ 6869973 h 10808782"/>
              <a:gd name="connsiteX698" fmla="*/ 159142 w 25004707"/>
              <a:gd name="connsiteY698" fmla="*/ 6785789 h 10808782"/>
              <a:gd name="connsiteX699" fmla="*/ 1475135 w 25004707"/>
              <a:gd name="connsiteY699" fmla="*/ 6385540 h 10808782"/>
              <a:gd name="connsiteX700" fmla="*/ 1506961 w 25004707"/>
              <a:gd name="connsiteY700" fmla="*/ 5900650 h 10808782"/>
              <a:gd name="connsiteX701" fmla="*/ 1475135 w 25004707"/>
              <a:gd name="connsiteY701" fmla="*/ 6385540 h 10808782"/>
              <a:gd name="connsiteX702" fmla="*/ 190938 w 25004707"/>
              <a:gd name="connsiteY702" fmla="*/ 6301372 h 10808782"/>
              <a:gd name="connsiteX703" fmla="*/ 1857095 w 25004707"/>
              <a:gd name="connsiteY703" fmla="*/ 569070 h 10808782"/>
              <a:gd name="connsiteX704" fmla="*/ 1888954 w 25004707"/>
              <a:gd name="connsiteY704" fmla="*/ 84169 h 10808782"/>
              <a:gd name="connsiteX705" fmla="*/ 1857095 w 25004707"/>
              <a:gd name="connsiteY705" fmla="*/ 569070 h 10808782"/>
              <a:gd name="connsiteX706" fmla="*/ 3141266 w 25004707"/>
              <a:gd name="connsiteY706" fmla="*/ 653251 h 10808782"/>
              <a:gd name="connsiteX707" fmla="*/ 3173109 w 25004707"/>
              <a:gd name="connsiteY707" fmla="*/ 168350 h 10808782"/>
              <a:gd name="connsiteX708" fmla="*/ 1857095 w 25004707"/>
              <a:gd name="connsiteY708" fmla="*/ 569070 h 10808782"/>
              <a:gd name="connsiteX709" fmla="*/ 572924 w 25004707"/>
              <a:gd name="connsiteY709" fmla="*/ 484891 h 10808782"/>
              <a:gd name="connsiteX710" fmla="*/ 1379615 w 25004707"/>
              <a:gd name="connsiteY710" fmla="*/ 7839312 h 10808782"/>
              <a:gd name="connsiteX711" fmla="*/ 95437 w 25004707"/>
              <a:gd name="connsiteY711" fmla="*/ 7755128 h 10808782"/>
              <a:gd name="connsiteX712" fmla="*/ 1379615 w 25004707"/>
              <a:gd name="connsiteY712" fmla="*/ 7839312 h 10808782"/>
              <a:gd name="connsiteX713" fmla="*/ 2663793 w 25004707"/>
              <a:gd name="connsiteY713" fmla="*/ 7923495 h 10808782"/>
              <a:gd name="connsiteX714" fmla="*/ 1634272 w 25004707"/>
              <a:gd name="connsiteY714" fmla="*/ 3961989 h 10808782"/>
              <a:gd name="connsiteX715" fmla="*/ 2918475 w 25004707"/>
              <a:gd name="connsiteY715" fmla="*/ 4046173 h 10808782"/>
              <a:gd name="connsiteX716" fmla="*/ 1634272 w 25004707"/>
              <a:gd name="connsiteY716" fmla="*/ 3961989 h 10808782"/>
              <a:gd name="connsiteX717" fmla="*/ 350101 w 25004707"/>
              <a:gd name="connsiteY717" fmla="*/ 3877805 h 10808782"/>
              <a:gd name="connsiteX718" fmla="*/ 1506961 w 25004707"/>
              <a:gd name="connsiteY718" fmla="*/ 5900650 h 10808782"/>
              <a:gd name="connsiteX719" fmla="*/ 222779 w 25004707"/>
              <a:gd name="connsiteY719" fmla="*/ 5816467 h 10808782"/>
              <a:gd name="connsiteX720" fmla="*/ 1506961 w 25004707"/>
              <a:gd name="connsiteY720" fmla="*/ 5900650 h 10808782"/>
              <a:gd name="connsiteX721" fmla="*/ 2791118 w 25004707"/>
              <a:gd name="connsiteY721" fmla="*/ 5984834 h 10808782"/>
              <a:gd name="connsiteX722" fmla="*/ 1793441 w 25004707"/>
              <a:gd name="connsiteY722" fmla="*/ 1538407 h 10808782"/>
              <a:gd name="connsiteX723" fmla="*/ 1761597 w 25004707"/>
              <a:gd name="connsiteY723" fmla="*/ 2023296 h 10808782"/>
              <a:gd name="connsiteX724" fmla="*/ 477423 w 25004707"/>
              <a:gd name="connsiteY724" fmla="*/ 1939128 h 10808782"/>
              <a:gd name="connsiteX725" fmla="*/ 1347747 w 25004707"/>
              <a:gd name="connsiteY725" fmla="*/ 8324185 h 10808782"/>
              <a:gd name="connsiteX726" fmla="*/ 1315932 w 25004707"/>
              <a:gd name="connsiteY726" fmla="*/ 8808618 h 10808782"/>
              <a:gd name="connsiteX727" fmla="*/ 31754 w 25004707"/>
              <a:gd name="connsiteY727" fmla="*/ 8724434 h 10808782"/>
              <a:gd name="connsiteX728" fmla="*/ 2918475 w 25004707"/>
              <a:gd name="connsiteY728" fmla="*/ 4046173 h 10808782"/>
              <a:gd name="connsiteX729" fmla="*/ 2886663 w 25004707"/>
              <a:gd name="connsiteY729" fmla="*/ 4530606 h 10808782"/>
              <a:gd name="connsiteX730" fmla="*/ 2918475 w 25004707"/>
              <a:gd name="connsiteY730" fmla="*/ 4046173 h 10808782"/>
              <a:gd name="connsiteX731" fmla="*/ 2923446 w 25004707"/>
              <a:gd name="connsiteY731" fmla="*/ 3970272 h 10808782"/>
              <a:gd name="connsiteX732" fmla="*/ 2934176 w 25004707"/>
              <a:gd name="connsiteY732" fmla="*/ 3571956 h 10808782"/>
              <a:gd name="connsiteX733" fmla="*/ 2886663 w 25004707"/>
              <a:gd name="connsiteY733" fmla="*/ 4530606 h 10808782"/>
              <a:gd name="connsiteX734" fmla="*/ 3087240 w 25004707"/>
              <a:gd name="connsiteY734" fmla="*/ 4543731 h 10808782"/>
              <a:gd name="connsiteX735" fmla="*/ 4154818 w 25004707"/>
              <a:gd name="connsiteY735" fmla="*/ 4858838 h 10808782"/>
              <a:gd name="connsiteX736" fmla="*/ 2958782 w 25004707"/>
              <a:gd name="connsiteY736" fmla="*/ 2588330 h 10808782"/>
              <a:gd name="connsiteX737" fmla="*/ 3003841 w 25004707"/>
              <a:gd name="connsiteY737" fmla="*/ 2088289 h 10808782"/>
              <a:gd name="connsiteX738" fmla="*/ 3062980 w 25004707"/>
              <a:gd name="connsiteY738" fmla="*/ 1609875 h 10808782"/>
              <a:gd name="connsiteX739" fmla="*/ 2958782 w 25004707"/>
              <a:gd name="connsiteY739" fmla="*/ 2588330 h 10808782"/>
              <a:gd name="connsiteX740" fmla="*/ 2938062 w 25004707"/>
              <a:gd name="connsiteY740" fmla="*/ 3089943 h 10808782"/>
              <a:gd name="connsiteX741" fmla="*/ 4229533 w 25004707"/>
              <a:gd name="connsiteY741" fmla="*/ 3720409 h 10808782"/>
              <a:gd name="connsiteX742" fmla="*/ 4298128 w 25004707"/>
              <a:gd name="connsiteY742" fmla="*/ 2676113 h 10808782"/>
              <a:gd name="connsiteX743" fmla="*/ 2958782 w 25004707"/>
              <a:gd name="connsiteY743" fmla="*/ 2588330 h 10808782"/>
              <a:gd name="connsiteX744" fmla="*/ 4298128 w 25004707"/>
              <a:gd name="connsiteY744" fmla="*/ 2676113 h 10808782"/>
              <a:gd name="connsiteX745" fmla="*/ 3141329 w 25004707"/>
              <a:gd name="connsiteY745" fmla="*/ 653273 h 10808782"/>
              <a:gd name="connsiteX746" fmla="*/ 3109502 w 25004707"/>
              <a:gd name="connsiteY746" fmla="*/ 1137705 h 10808782"/>
              <a:gd name="connsiteX747" fmla="*/ 3109502 w 25004707"/>
              <a:gd name="connsiteY747" fmla="*/ 1137705 h 10808782"/>
              <a:gd name="connsiteX748" fmla="*/ 3063043 w 25004707"/>
              <a:gd name="connsiteY748" fmla="*/ 1609891 h 10808782"/>
              <a:gd name="connsiteX749" fmla="*/ 4402830 w 25004707"/>
              <a:gd name="connsiteY749" fmla="*/ 1082261 h 10808782"/>
              <a:gd name="connsiteX750" fmla="*/ 3109502 w 25004707"/>
              <a:gd name="connsiteY750" fmla="*/ 1137705 h 10808782"/>
              <a:gd name="connsiteX751" fmla="*/ 1825331 w 25004707"/>
              <a:gd name="connsiteY751" fmla="*/ 1053526 h 10808782"/>
              <a:gd name="connsiteX752" fmla="*/ 2938125 w 25004707"/>
              <a:gd name="connsiteY752" fmla="*/ 3089943 h 10808782"/>
              <a:gd name="connsiteX753" fmla="*/ 2934176 w 25004707"/>
              <a:gd name="connsiteY753" fmla="*/ 3571956 h 10808782"/>
              <a:gd name="connsiteX754" fmla="*/ 2934176 w 25004707"/>
              <a:gd name="connsiteY754" fmla="*/ 3571956 h 10808782"/>
              <a:gd name="connsiteX755" fmla="*/ 4193489 w 25004707"/>
              <a:gd name="connsiteY755" fmla="*/ 4269945 h 10808782"/>
              <a:gd name="connsiteX756" fmla="*/ 4229580 w 25004707"/>
              <a:gd name="connsiteY756" fmla="*/ 3720393 h 10808782"/>
              <a:gd name="connsiteX757" fmla="*/ 2854836 w 25004707"/>
              <a:gd name="connsiteY757" fmla="*/ 5015496 h 10808782"/>
              <a:gd name="connsiteX758" fmla="*/ 2823024 w 25004707"/>
              <a:gd name="connsiteY758" fmla="*/ 5499929 h 10808782"/>
              <a:gd name="connsiteX759" fmla="*/ 2854836 w 25004707"/>
              <a:gd name="connsiteY759" fmla="*/ 5015496 h 10808782"/>
              <a:gd name="connsiteX760" fmla="*/ 2886695 w 25004707"/>
              <a:gd name="connsiteY760" fmla="*/ 4530606 h 10808782"/>
              <a:gd name="connsiteX761" fmla="*/ 2854836 w 25004707"/>
              <a:gd name="connsiteY761" fmla="*/ 5015496 h 10808782"/>
              <a:gd name="connsiteX762" fmla="*/ 1570665 w 25004707"/>
              <a:gd name="connsiteY762" fmla="*/ 4931328 h 10808782"/>
              <a:gd name="connsiteX763" fmla="*/ 2823024 w 25004707"/>
              <a:gd name="connsiteY763" fmla="*/ 5499929 h 10808782"/>
              <a:gd name="connsiteX764" fmla="*/ 4107179 w 25004707"/>
              <a:gd name="connsiteY764" fmla="*/ 5584097 h 10808782"/>
              <a:gd name="connsiteX765" fmla="*/ 2823024 w 25004707"/>
              <a:gd name="connsiteY765" fmla="*/ 5499929 h 10808782"/>
              <a:gd name="connsiteX766" fmla="*/ 1538853 w 25004707"/>
              <a:gd name="connsiteY766" fmla="*/ 5415746 h 10808782"/>
              <a:gd name="connsiteX767" fmla="*/ 2663793 w 25004707"/>
              <a:gd name="connsiteY767" fmla="*/ 7923495 h 10808782"/>
              <a:gd name="connsiteX768" fmla="*/ 2695604 w 25004707"/>
              <a:gd name="connsiteY768" fmla="*/ 7439062 h 10808782"/>
              <a:gd name="connsiteX769" fmla="*/ 3979775 w 25004707"/>
              <a:gd name="connsiteY769" fmla="*/ 7523230 h 10808782"/>
              <a:gd name="connsiteX770" fmla="*/ 2663793 w 25004707"/>
              <a:gd name="connsiteY770" fmla="*/ 7923495 h 10808782"/>
              <a:gd name="connsiteX771" fmla="*/ 3947948 w 25004707"/>
              <a:gd name="connsiteY771" fmla="*/ 8007663 h 10808782"/>
              <a:gd name="connsiteX772" fmla="*/ 3979775 w 25004707"/>
              <a:gd name="connsiteY772" fmla="*/ 7523230 h 10808782"/>
              <a:gd name="connsiteX773" fmla="*/ 2568295 w 25004707"/>
              <a:gd name="connsiteY773" fmla="*/ 9377707 h 10808782"/>
              <a:gd name="connsiteX774" fmla="*/ 2600138 w 25004707"/>
              <a:gd name="connsiteY774" fmla="*/ 8892802 h 10808782"/>
              <a:gd name="connsiteX775" fmla="*/ 3884340 w 25004707"/>
              <a:gd name="connsiteY775" fmla="*/ 8976986 h 10808782"/>
              <a:gd name="connsiteX776" fmla="*/ 3916152 w 25004707"/>
              <a:gd name="connsiteY776" fmla="*/ 8492552 h 10808782"/>
              <a:gd name="connsiteX777" fmla="*/ 2568295 w 25004707"/>
              <a:gd name="connsiteY777" fmla="*/ 9377707 h 10808782"/>
              <a:gd name="connsiteX778" fmla="*/ 3852450 w 25004707"/>
              <a:gd name="connsiteY778" fmla="*/ 9461875 h 10808782"/>
              <a:gd name="connsiteX779" fmla="*/ 3884293 w 25004707"/>
              <a:gd name="connsiteY779" fmla="*/ 8976986 h 10808782"/>
              <a:gd name="connsiteX780" fmla="*/ 2822961 w 25004707"/>
              <a:gd name="connsiteY780" fmla="*/ 5499929 h 10808782"/>
              <a:gd name="connsiteX781" fmla="*/ 2791118 w 25004707"/>
              <a:gd name="connsiteY781" fmla="*/ 5984834 h 10808782"/>
              <a:gd name="connsiteX782" fmla="*/ 2791118 w 25004707"/>
              <a:gd name="connsiteY782" fmla="*/ 5984834 h 10808782"/>
              <a:gd name="connsiteX783" fmla="*/ 2759275 w 25004707"/>
              <a:gd name="connsiteY783" fmla="*/ 6469723 h 10808782"/>
              <a:gd name="connsiteX784" fmla="*/ 2791118 w 25004707"/>
              <a:gd name="connsiteY784" fmla="*/ 5984834 h 10808782"/>
              <a:gd name="connsiteX785" fmla="*/ 4075304 w 25004707"/>
              <a:gd name="connsiteY785" fmla="*/ 6069002 h 10808782"/>
              <a:gd name="connsiteX786" fmla="*/ 2759275 w 25004707"/>
              <a:gd name="connsiteY786" fmla="*/ 6469723 h 10808782"/>
              <a:gd name="connsiteX787" fmla="*/ 2727447 w 25004707"/>
              <a:gd name="connsiteY787" fmla="*/ 6954157 h 10808782"/>
              <a:gd name="connsiteX788" fmla="*/ 2759275 w 25004707"/>
              <a:gd name="connsiteY788" fmla="*/ 6469723 h 10808782"/>
              <a:gd name="connsiteX789" fmla="*/ 1475099 w 25004707"/>
              <a:gd name="connsiteY789" fmla="*/ 6385555 h 10808782"/>
              <a:gd name="connsiteX790" fmla="*/ 2759275 w 25004707"/>
              <a:gd name="connsiteY790" fmla="*/ 6469723 h 10808782"/>
              <a:gd name="connsiteX791" fmla="*/ 4043446 w 25004707"/>
              <a:gd name="connsiteY791" fmla="*/ 6553891 h 10808782"/>
              <a:gd name="connsiteX792" fmla="*/ 2727479 w 25004707"/>
              <a:gd name="connsiteY792" fmla="*/ 6954157 h 10808782"/>
              <a:gd name="connsiteX793" fmla="*/ 2695636 w 25004707"/>
              <a:gd name="connsiteY793" fmla="*/ 7439062 h 10808782"/>
              <a:gd name="connsiteX794" fmla="*/ 1411460 w 25004707"/>
              <a:gd name="connsiteY794" fmla="*/ 7354878 h 10808782"/>
              <a:gd name="connsiteX795" fmla="*/ 2727447 w 25004707"/>
              <a:gd name="connsiteY795" fmla="*/ 6954157 h 10808782"/>
              <a:gd name="connsiteX796" fmla="*/ 4011634 w 25004707"/>
              <a:gd name="connsiteY796" fmla="*/ 7038325 h 10808782"/>
              <a:gd name="connsiteX797" fmla="*/ 4298128 w 25004707"/>
              <a:gd name="connsiteY797" fmla="*/ 2676113 h 10808782"/>
              <a:gd name="connsiteX798" fmla="*/ 4366723 w 25004707"/>
              <a:gd name="connsiteY798" fmla="*/ 1631817 h 10808782"/>
              <a:gd name="connsiteX799" fmla="*/ 4043446 w 25004707"/>
              <a:gd name="connsiteY799" fmla="*/ 6553891 h 10808782"/>
              <a:gd name="connsiteX800" fmla="*/ 4011634 w 25004707"/>
              <a:gd name="connsiteY800" fmla="*/ 7038325 h 10808782"/>
              <a:gd name="connsiteX801" fmla="*/ 4043446 w 25004707"/>
              <a:gd name="connsiteY801" fmla="*/ 6553891 h 10808782"/>
              <a:gd name="connsiteX802" fmla="*/ 4075304 w 25004707"/>
              <a:gd name="connsiteY802" fmla="*/ 6069002 h 10808782"/>
              <a:gd name="connsiteX803" fmla="*/ 4011634 w 25004707"/>
              <a:gd name="connsiteY803" fmla="*/ 7038325 h 10808782"/>
              <a:gd name="connsiteX804" fmla="*/ 3979775 w 25004707"/>
              <a:gd name="connsiteY804" fmla="*/ 7523230 h 10808782"/>
              <a:gd name="connsiteX805" fmla="*/ 4457312 w 25004707"/>
              <a:gd name="connsiteY805" fmla="*/ 252523 h 10808782"/>
              <a:gd name="connsiteX806" fmla="*/ 4441500 w 25004707"/>
              <a:gd name="connsiteY806" fmla="*/ 493335 h 10808782"/>
              <a:gd name="connsiteX807" fmla="*/ 4441500 w 25004707"/>
              <a:gd name="connsiteY807" fmla="*/ 493335 h 10808782"/>
              <a:gd name="connsiteX808" fmla="*/ 3341890 w 25004707"/>
              <a:gd name="connsiteY808" fmla="*/ 666397 h 10808782"/>
              <a:gd name="connsiteX809" fmla="*/ 3141314 w 25004707"/>
              <a:gd name="connsiteY809" fmla="*/ 653248 h 10808782"/>
              <a:gd name="connsiteX810" fmla="*/ 4193505 w 25004707"/>
              <a:gd name="connsiteY810" fmla="*/ 4269945 h 10808782"/>
              <a:gd name="connsiteX811" fmla="*/ 4171904 w 25004707"/>
              <a:gd name="connsiteY811" fmla="*/ 4598837 h 10808782"/>
              <a:gd name="connsiteX812" fmla="*/ 4402830 w 25004707"/>
              <a:gd name="connsiteY812" fmla="*/ 1082261 h 10808782"/>
              <a:gd name="connsiteX813" fmla="*/ 4424415 w 25004707"/>
              <a:gd name="connsiteY813" fmla="*/ 753372 h 10808782"/>
              <a:gd name="connsiteX814" fmla="*/ 3289752 w 25004707"/>
              <a:gd name="connsiteY814" fmla="*/ 1119395 h 10808782"/>
              <a:gd name="connsiteX815" fmla="*/ 3109439 w 25004707"/>
              <a:gd name="connsiteY815" fmla="*/ 1138162 h 10808782"/>
              <a:gd name="connsiteX816" fmla="*/ 4366723 w 25004707"/>
              <a:gd name="connsiteY816" fmla="*/ 1631817 h 10808782"/>
              <a:gd name="connsiteX817" fmla="*/ 3003872 w 25004707"/>
              <a:gd name="connsiteY817" fmla="*/ 2088273 h 10808782"/>
              <a:gd name="connsiteX818" fmla="*/ 4402766 w 25004707"/>
              <a:gd name="connsiteY818" fmla="*/ 1082272 h 10808782"/>
              <a:gd name="connsiteX819" fmla="*/ 4366676 w 25004707"/>
              <a:gd name="connsiteY819" fmla="*/ 1631817 h 10808782"/>
              <a:gd name="connsiteX820" fmla="*/ 4107148 w 25004707"/>
              <a:gd name="connsiteY820" fmla="*/ 5584097 h 10808782"/>
              <a:gd name="connsiteX821" fmla="*/ 4075304 w 25004707"/>
              <a:gd name="connsiteY821" fmla="*/ 6069002 h 10808782"/>
              <a:gd name="connsiteX822" fmla="*/ 4136254 w 25004707"/>
              <a:gd name="connsiteY822" fmla="*/ 5141363 h 10808782"/>
              <a:gd name="connsiteX823" fmla="*/ 4107179 w 25004707"/>
              <a:gd name="connsiteY823" fmla="*/ 5584097 h 10808782"/>
              <a:gd name="connsiteX824" fmla="*/ 4136254 w 25004707"/>
              <a:gd name="connsiteY824" fmla="*/ 5141363 h 10808782"/>
              <a:gd name="connsiteX825" fmla="*/ 4154818 w 25004707"/>
              <a:gd name="connsiteY825" fmla="*/ 4858838 h 10808782"/>
              <a:gd name="connsiteX826" fmla="*/ 4136254 w 25004707"/>
              <a:gd name="connsiteY826" fmla="*/ 5141363 h 10808782"/>
              <a:gd name="connsiteX827" fmla="*/ 4901023 w 25004707"/>
              <a:gd name="connsiteY827" fmla="*/ 5149598 h 10808782"/>
              <a:gd name="connsiteX828" fmla="*/ 5423193 w 25004707"/>
              <a:gd name="connsiteY828" fmla="*/ 5183816 h 10808782"/>
              <a:gd name="connsiteX829" fmla="*/ 4136254 w 25004707"/>
              <a:gd name="connsiteY829" fmla="*/ 5141363 h 10808782"/>
              <a:gd name="connsiteX830" fmla="*/ 3509586 w 25004707"/>
              <a:gd name="connsiteY830" fmla="*/ 5059317 h 10808782"/>
              <a:gd name="connsiteX831" fmla="*/ 2854836 w 25004707"/>
              <a:gd name="connsiteY831" fmla="*/ 5015464 h 10808782"/>
              <a:gd name="connsiteX832" fmla="*/ 3948026 w 25004707"/>
              <a:gd name="connsiteY832" fmla="*/ 8007663 h 10808782"/>
              <a:gd name="connsiteX833" fmla="*/ 3916184 w 25004707"/>
              <a:gd name="connsiteY833" fmla="*/ 8492568 h 10808782"/>
              <a:gd name="connsiteX834" fmla="*/ 3916184 w 25004707"/>
              <a:gd name="connsiteY834" fmla="*/ 8492568 h 10808782"/>
              <a:gd name="connsiteX835" fmla="*/ 2632012 w 25004707"/>
              <a:gd name="connsiteY835" fmla="*/ 8408369 h 10808782"/>
              <a:gd name="connsiteX836" fmla="*/ 2600201 w 25004707"/>
              <a:gd name="connsiteY836" fmla="*/ 8892802 h 10808782"/>
              <a:gd name="connsiteX837" fmla="*/ 1316024 w 25004707"/>
              <a:gd name="connsiteY837" fmla="*/ 8808634 h 10808782"/>
              <a:gd name="connsiteX838" fmla="*/ 4154818 w 25004707"/>
              <a:gd name="connsiteY838" fmla="*/ 4858838 h 10808782"/>
              <a:gd name="connsiteX839" fmla="*/ 4171888 w 25004707"/>
              <a:gd name="connsiteY839" fmla="*/ 4598837 h 10808782"/>
              <a:gd name="connsiteX840" fmla="*/ 4441469 w 25004707"/>
              <a:gd name="connsiteY840" fmla="*/ 493350 h 10808782"/>
              <a:gd name="connsiteX841" fmla="*/ 4424383 w 25004707"/>
              <a:gd name="connsiteY841" fmla="*/ 753369 h 10808782"/>
              <a:gd name="connsiteX842" fmla="*/ 4171888 w 25004707"/>
              <a:gd name="connsiteY842" fmla="*/ 4598837 h 10808782"/>
              <a:gd name="connsiteX843" fmla="*/ 5486817 w 25004707"/>
              <a:gd name="connsiteY843" fmla="*/ 4214493 h 10808782"/>
              <a:gd name="connsiteX844" fmla="*/ 4171888 w 25004707"/>
              <a:gd name="connsiteY844" fmla="*/ 4598837 h 10808782"/>
              <a:gd name="connsiteX845" fmla="*/ 2918475 w 25004707"/>
              <a:gd name="connsiteY845" fmla="*/ 4046141 h 10808782"/>
              <a:gd name="connsiteX846" fmla="*/ 6516337 w 25004707"/>
              <a:gd name="connsiteY846" fmla="*/ 8176030 h 10808782"/>
              <a:gd name="connsiteX847" fmla="*/ 6484494 w 25004707"/>
              <a:gd name="connsiteY847" fmla="*/ 8660920 h 10808782"/>
              <a:gd name="connsiteX848" fmla="*/ 5200323 w 25004707"/>
              <a:gd name="connsiteY848" fmla="*/ 8576751 h 10808782"/>
              <a:gd name="connsiteX849" fmla="*/ 6516337 w 25004707"/>
              <a:gd name="connsiteY849" fmla="*/ 8176030 h 10808782"/>
              <a:gd name="connsiteX850" fmla="*/ 6548180 w 25004707"/>
              <a:gd name="connsiteY850" fmla="*/ 7691597 h 10808782"/>
              <a:gd name="connsiteX851" fmla="*/ 7832335 w 25004707"/>
              <a:gd name="connsiteY851" fmla="*/ 7775781 h 10808782"/>
              <a:gd name="connsiteX852" fmla="*/ 6516337 w 25004707"/>
              <a:gd name="connsiteY852" fmla="*/ 8176030 h 10808782"/>
              <a:gd name="connsiteX853" fmla="*/ 5232182 w 25004707"/>
              <a:gd name="connsiteY853" fmla="*/ 8091847 h 10808782"/>
              <a:gd name="connsiteX854" fmla="*/ 6516337 w 25004707"/>
              <a:gd name="connsiteY854" fmla="*/ 8176030 h 10808782"/>
              <a:gd name="connsiteX855" fmla="*/ 7800540 w 25004707"/>
              <a:gd name="connsiteY855" fmla="*/ 8260199 h 10808782"/>
              <a:gd name="connsiteX856" fmla="*/ 6484447 w 25004707"/>
              <a:gd name="connsiteY856" fmla="*/ 8660904 h 10808782"/>
              <a:gd name="connsiteX857" fmla="*/ 6452635 w 25004707"/>
              <a:gd name="connsiteY857" fmla="*/ 9145338 h 10808782"/>
              <a:gd name="connsiteX858" fmla="*/ 5168449 w 25004707"/>
              <a:gd name="connsiteY858" fmla="*/ 9061154 h 10808782"/>
              <a:gd name="connsiteX859" fmla="*/ 6707364 w 25004707"/>
              <a:gd name="connsiteY859" fmla="*/ 5268031 h 10808782"/>
              <a:gd name="connsiteX860" fmla="*/ 6675537 w 25004707"/>
              <a:gd name="connsiteY860" fmla="*/ 5752465 h 10808782"/>
              <a:gd name="connsiteX861" fmla="*/ 6675537 w 25004707"/>
              <a:gd name="connsiteY861" fmla="*/ 5752465 h 10808782"/>
              <a:gd name="connsiteX862" fmla="*/ 6643678 w 25004707"/>
              <a:gd name="connsiteY862" fmla="*/ 6237369 h 10808782"/>
              <a:gd name="connsiteX863" fmla="*/ 6675537 w 25004707"/>
              <a:gd name="connsiteY863" fmla="*/ 5752465 h 10808782"/>
              <a:gd name="connsiteX864" fmla="*/ 7959724 w 25004707"/>
              <a:gd name="connsiteY864" fmla="*/ 5836648 h 10808782"/>
              <a:gd name="connsiteX865" fmla="*/ 6675537 w 25004707"/>
              <a:gd name="connsiteY865" fmla="*/ 5752465 h 10808782"/>
              <a:gd name="connsiteX866" fmla="*/ 5391366 w 25004707"/>
              <a:gd name="connsiteY866" fmla="*/ 5668297 h 10808782"/>
              <a:gd name="connsiteX867" fmla="*/ 6739145 w 25004707"/>
              <a:gd name="connsiteY867" fmla="*/ 4783126 h 10808782"/>
              <a:gd name="connsiteX868" fmla="*/ 6707301 w 25004707"/>
              <a:gd name="connsiteY868" fmla="*/ 5268031 h 10808782"/>
              <a:gd name="connsiteX869" fmla="*/ 5423115 w 25004707"/>
              <a:gd name="connsiteY869" fmla="*/ 5183847 h 10808782"/>
              <a:gd name="connsiteX870" fmla="*/ 6771003 w 25004707"/>
              <a:gd name="connsiteY870" fmla="*/ 4298708 h 10808782"/>
              <a:gd name="connsiteX871" fmla="*/ 6802846 w 25004707"/>
              <a:gd name="connsiteY871" fmla="*/ 3813819 h 10808782"/>
              <a:gd name="connsiteX872" fmla="*/ 8087017 w 25004707"/>
              <a:gd name="connsiteY872" fmla="*/ 3897971 h 10808782"/>
              <a:gd name="connsiteX873" fmla="*/ 8118845 w 25004707"/>
              <a:gd name="connsiteY873" fmla="*/ 3413538 h 10808782"/>
              <a:gd name="connsiteX874" fmla="*/ 6771003 w 25004707"/>
              <a:gd name="connsiteY874" fmla="*/ 4298708 h 10808782"/>
              <a:gd name="connsiteX875" fmla="*/ 6739176 w 25004707"/>
              <a:gd name="connsiteY875" fmla="*/ 4783142 h 10808782"/>
              <a:gd name="connsiteX876" fmla="*/ 6962031 w 25004707"/>
              <a:gd name="connsiteY876" fmla="*/ 1390234 h 10808782"/>
              <a:gd name="connsiteX877" fmla="*/ 6930187 w 25004707"/>
              <a:gd name="connsiteY877" fmla="*/ 1875142 h 10808782"/>
              <a:gd name="connsiteX878" fmla="*/ 6962031 w 25004707"/>
              <a:gd name="connsiteY878" fmla="*/ 1390234 h 10808782"/>
              <a:gd name="connsiteX879" fmla="*/ 6993842 w 25004707"/>
              <a:gd name="connsiteY879" fmla="*/ 905794 h 10808782"/>
              <a:gd name="connsiteX880" fmla="*/ 6962031 w 25004707"/>
              <a:gd name="connsiteY880" fmla="*/ 1390234 h 10808782"/>
              <a:gd name="connsiteX881" fmla="*/ 5677875 w 25004707"/>
              <a:gd name="connsiteY881" fmla="*/ 1306052 h 10808782"/>
              <a:gd name="connsiteX882" fmla="*/ 6962031 w 25004707"/>
              <a:gd name="connsiteY882" fmla="*/ 1390234 h 10808782"/>
              <a:gd name="connsiteX883" fmla="*/ 8246217 w 25004707"/>
              <a:gd name="connsiteY883" fmla="*/ 1474414 h 10808782"/>
              <a:gd name="connsiteX884" fmla="*/ 6930187 w 25004707"/>
              <a:gd name="connsiteY884" fmla="*/ 1875142 h 10808782"/>
              <a:gd name="connsiteX885" fmla="*/ 8214374 w 25004707"/>
              <a:gd name="connsiteY885" fmla="*/ 1959310 h 10808782"/>
              <a:gd name="connsiteX886" fmla="*/ 8246217 w 25004707"/>
              <a:gd name="connsiteY886" fmla="*/ 1474414 h 10808782"/>
              <a:gd name="connsiteX887" fmla="*/ 7025685 w 25004707"/>
              <a:gd name="connsiteY887" fmla="*/ 420894 h 10808782"/>
              <a:gd name="connsiteX888" fmla="*/ 6993842 w 25004707"/>
              <a:gd name="connsiteY888" fmla="*/ 905794 h 10808782"/>
              <a:gd name="connsiteX889" fmla="*/ 6993842 w 25004707"/>
              <a:gd name="connsiteY889" fmla="*/ 905794 h 10808782"/>
              <a:gd name="connsiteX890" fmla="*/ 5709671 w 25004707"/>
              <a:gd name="connsiteY890" fmla="*/ 821615 h 10808782"/>
              <a:gd name="connsiteX891" fmla="*/ 6993842 w 25004707"/>
              <a:gd name="connsiteY891" fmla="*/ 905794 h 10808782"/>
              <a:gd name="connsiteX892" fmla="*/ 8278013 w 25004707"/>
              <a:gd name="connsiteY892" fmla="*/ 989967 h 10808782"/>
              <a:gd name="connsiteX893" fmla="*/ 8309856 w 25004707"/>
              <a:gd name="connsiteY893" fmla="*/ 505066 h 10808782"/>
              <a:gd name="connsiteX894" fmla="*/ 6739176 w 25004707"/>
              <a:gd name="connsiteY894" fmla="*/ 4783142 h 10808782"/>
              <a:gd name="connsiteX895" fmla="*/ 8023347 w 25004707"/>
              <a:gd name="connsiteY895" fmla="*/ 4867310 h 10808782"/>
              <a:gd name="connsiteX896" fmla="*/ 6611819 w 25004707"/>
              <a:gd name="connsiteY896" fmla="*/ 6722259 h 10808782"/>
              <a:gd name="connsiteX897" fmla="*/ 6579992 w 25004707"/>
              <a:gd name="connsiteY897" fmla="*/ 7206692 h 10808782"/>
              <a:gd name="connsiteX898" fmla="*/ 6611819 w 25004707"/>
              <a:gd name="connsiteY898" fmla="*/ 6722259 h 10808782"/>
              <a:gd name="connsiteX899" fmla="*/ 6643647 w 25004707"/>
              <a:gd name="connsiteY899" fmla="*/ 6237369 h 10808782"/>
              <a:gd name="connsiteX900" fmla="*/ 6611819 w 25004707"/>
              <a:gd name="connsiteY900" fmla="*/ 6722259 h 10808782"/>
              <a:gd name="connsiteX901" fmla="*/ 7895990 w 25004707"/>
              <a:gd name="connsiteY901" fmla="*/ 6806442 h 10808782"/>
              <a:gd name="connsiteX902" fmla="*/ 6579992 w 25004707"/>
              <a:gd name="connsiteY902" fmla="*/ 7206692 h 10808782"/>
              <a:gd name="connsiteX903" fmla="*/ 6548133 w 25004707"/>
              <a:gd name="connsiteY903" fmla="*/ 7691613 h 10808782"/>
              <a:gd name="connsiteX904" fmla="*/ 5263978 w 25004707"/>
              <a:gd name="connsiteY904" fmla="*/ 7607414 h 10808782"/>
              <a:gd name="connsiteX905" fmla="*/ 5232150 w 25004707"/>
              <a:gd name="connsiteY905" fmla="*/ 8091847 h 10808782"/>
              <a:gd name="connsiteX906" fmla="*/ 3947979 w 25004707"/>
              <a:gd name="connsiteY906" fmla="*/ 8007663 h 10808782"/>
              <a:gd name="connsiteX907" fmla="*/ 6643678 w 25004707"/>
              <a:gd name="connsiteY907" fmla="*/ 6237369 h 10808782"/>
              <a:gd name="connsiteX908" fmla="*/ 7927849 w 25004707"/>
              <a:gd name="connsiteY908" fmla="*/ 6321553 h 10808782"/>
              <a:gd name="connsiteX909" fmla="*/ 6898344 w 25004707"/>
              <a:gd name="connsiteY909" fmla="*/ 2360031 h 10808782"/>
              <a:gd name="connsiteX910" fmla="*/ 6866517 w 25004707"/>
              <a:gd name="connsiteY910" fmla="*/ 2844465 h 10808782"/>
              <a:gd name="connsiteX911" fmla="*/ 6866517 w 25004707"/>
              <a:gd name="connsiteY911" fmla="*/ 2844465 h 10808782"/>
              <a:gd name="connsiteX912" fmla="*/ 8150688 w 25004707"/>
              <a:gd name="connsiteY912" fmla="*/ 2928648 h 10808782"/>
              <a:gd name="connsiteX913" fmla="*/ 6866517 w 25004707"/>
              <a:gd name="connsiteY913" fmla="*/ 2844465 h 10808782"/>
              <a:gd name="connsiteX914" fmla="*/ 6802862 w 25004707"/>
              <a:gd name="connsiteY914" fmla="*/ 3813787 h 10808782"/>
              <a:gd name="connsiteX915" fmla="*/ 7832335 w 25004707"/>
              <a:gd name="connsiteY915" fmla="*/ 7775781 h 10808782"/>
              <a:gd name="connsiteX916" fmla="*/ 7864178 w 25004707"/>
              <a:gd name="connsiteY916" fmla="*/ 7290876 h 10808782"/>
              <a:gd name="connsiteX917" fmla="*/ 7832335 w 25004707"/>
              <a:gd name="connsiteY917" fmla="*/ 7775781 h 10808782"/>
              <a:gd name="connsiteX918" fmla="*/ 7800540 w 25004707"/>
              <a:gd name="connsiteY918" fmla="*/ 8260199 h 10808782"/>
              <a:gd name="connsiteX919" fmla="*/ 7832335 w 25004707"/>
              <a:gd name="connsiteY919" fmla="*/ 7775781 h 10808782"/>
              <a:gd name="connsiteX920" fmla="*/ 9116522 w 25004707"/>
              <a:gd name="connsiteY920" fmla="*/ 7859965 h 10808782"/>
              <a:gd name="connsiteX921" fmla="*/ 7864178 w 25004707"/>
              <a:gd name="connsiteY921" fmla="*/ 7290876 h 10808782"/>
              <a:gd name="connsiteX922" fmla="*/ 7895990 w 25004707"/>
              <a:gd name="connsiteY922" fmla="*/ 6806442 h 10808782"/>
              <a:gd name="connsiteX923" fmla="*/ 7864178 w 25004707"/>
              <a:gd name="connsiteY923" fmla="*/ 7290876 h 10808782"/>
              <a:gd name="connsiteX924" fmla="*/ 6580023 w 25004707"/>
              <a:gd name="connsiteY924" fmla="*/ 7206692 h 10808782"/>
              <a:gd name="connsiteX925" fmla="*/ 7864178 w 25004707"/>
              <a:gd name="connsiteY925" fmla="*/ 7290876 h 10808782"/>
              <a:gd name="connsiteX926" fmla="*/ 9148365 w 25004707"/>
              <a:gd name="connsiteY926" fmla="*/ 7375028 h 10808782"/>
              <a:gd name="connsiteX927" fmla="*/ 9180177 w 25004707"/>
              <a:gd name="connsiteY927" fmla="*/ 6890626 h 10808782"/>
              <a:gd name="connsiteX928" fmla="*/ 8023347 w 25004707"/>
              <a:gd name="connsiteY928" fmla="*/ 4867310 h 10808782"/>
              <a:gd name="connsiteX929" fmla="*/ 7991504 w 25004707"/>
              <a:gd name="connsiteY929" fmla="*/ 5352199 h 10808782"/>
              <a:gd name="connsiteX930" fmla="*/ 6707317 w 25004707"/>
              <a:gd name="connsiteY930" fmla="*/ 5268031 h 10808782"/>
              <a:gd name="connsiteX931" fmla="*/ 8023347 w 25004707"/>
              <a:gd name="connsiteY931" fmla="*/ 4867310 h 10808782"/>
              <a:gd name="connsiteX932" fmla="*/ 8055159 w 25004707"/>
              <a:gd name="connsiteY932" fmla="*/ 4382892 h 10808782"/>
              <a:gd name="connsiteX933" fmla="*/ 8023347 w 25004707"/>
              <a:gd name="connsiteY933" fmla="*/ 4867310 h 10808782"/>
              <a:gd name="connsiteX934" fmla="*/ 9307518 w 25004707"/>
              <a:gd name="connsiteY934" fmla="*/ 4951493 h 10808782"/>
              <a:gd name="connsiteX935" fmla="*/ 9339345 w 25004707"/>
              <a:gd name="connsiteY935" fmla="*/ 4467060 h 10808782"/>
              <a:gd name="connsiteX936" fmla="*/ 8150735 w 25004707"/>
              <a:gd name="connsiteY936" fmla="*/ 2928633 h 10808782"/>
              <a:gd name="connsiteX937" fmla="*/ 8118892 w 25004707"/>
              <a:gd name="connsiteY937" fmla="*/ 3413522 h 10808782"/>
              <a:gd name="connsiteX938" fmla="*/ 8118892 w 25004707"/>
              <a:gd name="connsiteY938" fmla="*/ 3413522 h 10808782"/>
              <a:gd name="connsiteX939" fmla="*/ 6834705 w 25004707"/>
              <a:gd name="connsiteY939" fmla="*/ 3329354 h 10808782"/>
              <a:gd name="connsiteX940" fmla="*/ 8118892 w 25004707"/>
              <a:gd name="connsiteY940" fmla="*/ 3413522 h 10808782"/>
              <a:gd name="connsiteX941" fmla="*/ 9403063 w 25004707"/>
              <a:gd name="connsiteY941" fmla="*/ 3497721 h 10808782"/>
              <a:gd name="connsiteX942" fmla="*/ 7927849 w 25004707"/>
              <a:gd name="connsiteY942" fmla="*/ 6321553 h 10808782"/>
              <a:gd name="connsiteX943" fmla="*/ 7895990 w 25004707"/>
              <a:gd name="connsiteY943" fmla="*/ 6806442 h 10808782"/>
              <a:gd name="connsiteX944" fmla="*/ 7927849 w 25004707"/>
              <a:gd name="connsiteY944" fmla="*/ 6321553 h 10808782"/>
              <a:gd name="connsiteX945" fmla="*/ 7959692 w 25004707"/>
              <a:gd name="connsiteY945" fmla="*/ 5836632 h 10808782"/>
              <a:gd name="connsiteX946" fmla="*/ 7895990 w 25004707"/>
              <a:gd name="connsiteY946" fmla="*/ 6806442 h 10808782"/>
              <a:gd name="connsiteX947" fmla="*/ 9180177 w 25004707"/>
              <a:gd name="connsiteY947" fmla="*/ 6890626 h 10808782"/>
              <a:gd name="connsiteX948" fmla="*/ 7736885 w 25004707"/>
              <a:gd name="connsiteY948" fmla="*/ 9229521 h 10808782"/>
              <a:gd name="connsiteX949" fmla="*/ 7705010 w 25004707"/>
              <a:gd name="connsiteY949" fmla="*/ 9714426 h 10808782"/>
              <a:gd name="connsiteX950" fmla="*/ 7736885 w 25004707"/>
              <a:gd name="connsiteY950" fmla="*/ 9229521 h 10808782"/>
              <a:gd name="connsiteX951" fmla="*/ 9021040 w 25004707"/>
              <a:gd name="connsiteY951" fmla="*/ 9313690 h 10808782"/>
              <a:gd name="connsiteX952" fmla="*/ 7736885 w 25004707"/>
              <a:gd name="connsiteY952" fmla="*/ 9229521 h 10808782"/>
              <a:gd name="connsiteX953" fmla="*/ 7800540 w 25004707"/>
              <a:gd name="connsiteY953" fmla="*/ 8260199 h 10808782"/>
              <a:gd name="connsiteX954" fmla="*/ 8087049 w 25004707"/>
              <a:gd name="connsiteY954" fmla="*/ 3897987 h 10808782"/>
              <a:gd name="connsiteX955" fmla="*/ 8055206 w 25004707"/>
              <a:gd name="connsiteY955" fmla="*/ 4382892 h 10808782"/>
              <a:gd name="connsiteX956" fmla="*/ 8055206 w 25004707"/>
              <a:gd name="connsiteY956" fmla="*/ 4382892 h 10808782"/>
              <a:gd name="connsiteX957" fmla="*/ 6771019 w 25004707"/>
              <a:gd name="connsiteY957" fmla="*/ 4298708 h 10808782"/>
              <a:gd name="connsiteX958" fmla="*/ 8055206 w 25004707"/>
              <a:gd name="connsiteY958" fmla="*/ 4382892 h 10808782"/>
              <a:gd name="connsiteX959" fmla="*/ 9339392 w 25004707"/>
              <a:gd name="connsiteY959" fmla="*/ 4467060 h 10808782"/>
              <a:gd name="connsiteX960" fmla="*/ 7959724 w 25004707"/>
              <a:gd name="connsiteY960" fmla="*/ 5836648 h 10808782"/>
              <a:gd name="connsiteX961" fmla="*/ 7991535 w 25004707"/>
              <a:gd name="connsiteY961" fmla="*/ 5352214 h 10808782"/>
              <a:gd name="connsiteX962" fmla="*/ 9275706 w 25004707"/>
              <a:gd name="connsiteY962" fmla="*/ 5436398 h 10808782"/>
              <a:gd name="connsiteX963" fmla="*/ 7959724 w 25004707"/>
              <a:gd name="connsiteY963" fmla="*/ 5836648 h 10808782"/>
              <a:gd name="connsiteX964" fmla="*/ 9243879 w 25004707"/>
              <a:gd name="connsiteY964" fmla="*/ 5920832 h 10808782"/>
              <a:gd name="connsiteX965" fmla="*/ 7705010 w 25004707"/>
              <a:gd name="connsiteY965" fmla="*/ 9714426 h 10808782"/>
              <a:gd name="connsiteX966" fmla="*/ 6420839 w 25004707"/>
              <a:gd name="connsiteY966" fmla="*/ 9630242 h 10808782"/>
              <a:gd name="connsiteX967" fmla="*/ 7705010 w 25004707"/>
              <a:gd name="connsiteY967" fmla="*/ 9714426 h 10808782"/>
              <a:gd name="connsiteX968" fmla="*/ 8989196 w 25004707"/>
              <a:gd name="connsiteY968" fmla="*/ 9798594 h 10808782"/>
              <a:gd name="connsiteX969" fmla="*/ 9021040 w 25004707"/>
              <a:gd name="connsiteY969" fmla="*/ 9313690 h 10808782"/>
              <a:gd name="connsiteX970" fmla="*/ 8246217 w 25004707"/>
              <a:gd name="connsiteY970" fmla="*/ 1474414 h 10808782"/>
              <a:gd name="connsiteX971" fmla="*/ 8278029 w 25004707"/>
              <a:gd name="connsiteY971" fmla="*/ 989981 h 10808782"/>
              <a:gd name="connsiteX972" fmla="*/ 9562184 w 25004707"/>
              <a:gd name="connsiteY972" fmla="*/ 1074155 h 10808782"/>
              <a:gd name="connsiteX973" fmla="*/ 7800540 w 25004707"/>
              <a:gd name="connsiteY973" fmla="*/ 8260199 h 10808782"/>
              <a:gd name="connsiteX974" fmla="*/ 9084726 w 25004707"/>
              <a:gd name="connsiteY974" fmla="*/ 8344382 h 10808782"/>
              <a:gd name="connsiteX975" fmla="*/ 8182500 w 25004707"/>
              <a:gd name="connsiteY975" fmla="*/ 2444199 h 10808782"/>
              <a:gd name="connsiteX976" fmla="*/ 8214343 w 25004707"/>
              <a:gd name="connsiteY976" fmla="*/ 1959294 h 10808782"/>
              <a:gd name="connsiteX977" fmla="*/ 9498529 w 25004707"/>
              <a:gd name="connsiteY977" fmla="*/ 2043493 h 10808782"/>
              <a:gd name="connsiteX978" fmla="*/ 8182500 w 25004707"/>
              <a:gd name="connsiteY978" fmla="*/ 2444199 h 10808782"/>
              <a:gd name="connsiteX979" fmla="*/ 8150688 w 25004707"/>
              <a:gd name="connsiteY979" fmla="*/ 2928648 h 10808782"/>
              <a:gd name="connsiteX980" fmla="*/ 8182500 w 25004707"/>
              <a:gd name="connsiteY980" fmla="*/ 2444199 h 10808782"/>
              <a:gd name="connsiteX981" fmla="*/ 9466686 w 25004707"/>
              <a:gd name="connsiteY981" fmla="*/ 2528399 h 10808782"/>
              <a:gd name="connsiteX982" fmla="*/ 8182500 w 25004707"/>
              <a:gd name="connsiteY982" fmla="*/ 2444199 h 10808782"/>
              <a:gd name="connsiteX983" fmla="*/ 6898329 w 25004707"/>
              <a:gd name="connsiteY983" fmla="*/ 2360015 h 10808782"/>
              <a:gd name="connsiteX984" fmla="*/ 8150688 w 25004707"/>
              <a:gd name="connsiteY984" fmla="*/ 2928648 h 10808782"/>
              <a:gd name="connsiteX985" fmla="*/ 9434859 w 25004707"/>
              <a:gd name="connsiteY985" fmla="*/ 3012832 h 10808782"/>
              <a:gd name="connsiteX986" fmla="*/ 9275706 w 25004707"/>
              <a:gd name="connsiteY986" fmla="*/ 5436398 h 10808782"/>
              <a:gd name="connsiteX987" fmla="*/ 9243879 w 25004707"/>
              <a:gd name="connsiteY987" fmla="*/ 5920832 h 10808782"/>
              <a:gd name="connsiteX988" fmla="*/ 9243879 w 25004707"/>
              <a:gd name="connsiteY988" fmla="*/ 5920832 h 10808782"/>
              <a:gd name="connsiteX989" fmla="*/ 9212035 w 25004707"/>
              <a:gd name="connsiteY989" fmla="*/ 6405721 h 10808782"/>
              <a:gd name="connsiteX990" fmla="*/ 9212035 w 25004707"/>
              <a:gd name="connsiteY990" fmla="*/ 6405721 h 10808782"/>
              <a:gd name="connsiteX991" fmla="*/ 9180177 w 25004707"/>
              <a:gd name="connsiteY991" fmla="*/ 6890626 h 10808782"/>
              <a:gd name="connsiteX992" fmla="*/ 9212035 w 25004707"/>
              <a:gd name="connsiteY992" fmla="*/ 6405721 h 10808782"/>
              <a:gd name="connsiteX993" fmla="*/ 7927865 w 25004707"/>
              <a:gd name="connsiteY993" fmla="*/ 6321538 h 10808782"/>
              <a:gd name="connsiteX994" fmla="*/ 9371235 w 25004707"/>
              <a:gd name="connsiteY994" fmla="*/ 3982171 h 10808782"/>
              <a:gd name="connsiteX995" fmla="*/ 9339392 w 25004707"/>
              <a:gd name="connsiteY995" fmla="*/ 4467060 h 10808782"/>
              <a:gd name="connsiteX996" fmla="*/ 9562184 w 25004707"/>
              <a:gd name="connsiteY996" fmla="*/ 1074155 h 10808782"/>
              <a:gd name="connsiteX997" fmla="*/ 9530372 w 25004707"/>
              <a:gd name="connsiteY997" fmla="*/ 1558589 h 10808782"/>
              <a:gd name="connsiteX998" fmla="*/ 9562184 w 25004707"/>
              <a:gd name="connsiteY998" fmla="*/ 1074155 h 10808782"/>
              <a:gd name="connsiteX999" fmla="*/ 9594027 w 25004707"/>
              <a:gd name="connsiteY999" fmla="*/ 589247 h 10808782"/>
              <a:gd name="connsiteX1000" fmla="*/ 9530372 w 25004707"/>
              <a:gd name="connsiteY1000" fmla="*/ 1558589 h 10808782"/>
              <a:gd name="connsiteX1001" fmla="*/ 9498529 w 25004707"/>
              <a:gd name="connsiteY1001" fmla="*/ 2043493 h 10808782"/>
              <a:gd name="connsiteX1002" fmla="*/ 9530372 w 25004707"/>
              <a:gd name="connsiteY1002" fmla="*/ 1558589 h 10808782"/>
              <a:gd name="connsiteX1003" fmla="*/ 8246186 w 25004707"/>
              <a:gd name="connsiteY1003" fmla="*/ 1474408 h 10808782"/>
              <a:gd name="connsiteX1004" fmla="*/ 9116522 w 25004707"/>
              <a:gd name="connsiteY1004" fmla="*/ 7859965 h 10808782"/>
              <a:gd name="connsiteX1005" fmla="*/ 9084726 w 25004707"/>
              <a:gd name="connsiteY1005" fmla="*/ 8344382 h 10808782"/>
              <a:gd name="connsiteX1006" fmla="*/ 9403063 w 25004707"/>
              <a:gd name="connsiteY1006" fmla="*/ 3497721 h 10808782"/>
              <a:gd name="connsiteX1007" fmla="*/ 9371251 w 25004707"/>
              <a:gd name="connsiteY1007" fmla="*/ 3982155 h 10808782"/>
              <a:gd name="connsiteX1008" fmla="*/ 9403063 w 25004707"/>
              <a:gd name="connsiteY1008" fmla="*/ 3497721 h 10808782"/>
              <a:gd name="connsiteX1009" fmla="*/ 9434921 w 25004707"/>
              <a:gd name="connsiteY1009" fmla="*/ 3012801 h 10808782"/>
              <a:gd name="connsiteX1010" fmla="*/ 9371251 w 25004707"/>
              <a:gd name="connsiteY1010" fmla="*/ 3982155 h 10808782"/>
              <a:gd name="connsiteX1011" fmla="*/ 8087081 w 25004707"/>
              <a:gd name="connsiteY1011" fmla="*/ 3897971 h 10808782"/>
              <a:gd name="connsiteX1012" fmla="*/ 9498529 w 25004707"/>
              <a:gd name="connsiteY1012" fmla="*/ 2043493 h 10808782"/>
              <a:gd name="connsiteX1013" fmla="*/ 9466686 w 25004707"/>
              <a:gd name="connsiteY1013" fmla="*/ 2528399 h 10808782"/>
              <a:gd name="connsiteX1014" fmla="*/ 9466686 w 25004707"/>
              <a:gd name="connsiteY1014" fmla="*/ 2528399 h 10808782"/>
              <a:gd name="connsiteX1015" fmla="*/ 9434859 w 25004707"/>
              <a:gd name="connsiteY1015" fmla="*/ 3012832 h 10808782"/>
              <a:gd name="connsiteX1016" fmla="*/ 9021040 w 25004707"/>
              <a:gd name="connsiteY1016" fmla="*/ 9313690 h 10808782"/>
              <a:gd name="connsiteX1017" fmla="*/ 9052851 w 25004707"/>
              <a:gd name="connsiteY1017" fmla="*/ 8829272 h 10808782"/>
              <a:gd name="connsiteX1018" fmla="*/ 9084726 w 25004707"/>
              <a:gd name="connsiteY1018" fmla="*/ 8344382 h 10808782"/>
              <a:gd name="connsiteX1019" fmla="*/ 9052883 w 25004707"/>
              <a:gd name="connsiteY1019" fmla="*/ 8829287 h 10808782"/>
              <a:gd name="connsiteX1020" fmla="*/ 9052883 w 25004707"/>
              <a:gd name="connsiteY1020" fmla="*/ 8829287 h 10808782"/>
              <a:gd name="connsiteX1021" fmla="*/ 6484525 w 25004707"/>
              <a:gd name="connsiteY1021" fmla="*/ 8660920 h 10808782"/>
              <a:gd name="connsiteX1022" fmla="*/ 11589397 w 25004707"/>
              <a:gd name="connsiteY1022" fmla="*/ 9482057 h 10808782"/>
              <a:gd name="connsiteX1023" fmla="*/ 11621209 w 25004707"/>
              <a:gd name="connsiteY1023" fmla="*/ 8997623 h 10808782"/>
              <a:gd name="connsiteX1024" fmla="*/ 11589397 w 25004707"/>
              <a:gd name="connsiteY1024" fmla="*/ 9482057 h 10808782"/>
              <a:gd name="connsiteX1025" fmla="*/ 11557539 w 25004707"/>
              <a:gd name="connsiteY1025" fmla="*/ 9966962 h 10808782"/>
              <a:gd name="connsiteX1026" fmla="*/ 10273352 w 25004707"/>
              <a:gd name="connsiteY1026" fmla="*/ 9882778 h 10808782"/>
              <a:gd name="connsiteX1027" fmla="*/ 11589397 w 25004707"/>
              <a:gd name="connsiteY1027" fmla="*/ 9482057 h 10808782"/>
              <a:gd name="connsiteX1028" fmla="*/ 12873584 w 25004707"/>
              <a:gd name="connsiteY1028" fmla="*/ 9566240 h 10808782"/>
              <a:gd name="connsiteX1029" fmla="*/ 11589397 w 25004707"/>
              <a:gd name="connsiteY1029" fmla="*/ 9482057 h 10808782"/>
              <a:gd name="connsiteX1030" fmla="*/ 10305227 w 25004707"/>
              <a:gd name="connsiteY1030" fmla="*/ 9397873 h 10808782"/>
              <a:gd name="connsiteX1031" fmla="*/ 11621209 w 25004707"/>
              <a:gd name="connsiteY1031" fmla="*/ 8997623 h 10808782"/>
              <a:gd name="connsiteX1032" fmla="*/ 11653068 w 25004707"/>
              <a:gd name="connsiteY1032" fmla="*/ 8512733 h 10808782"/>
              <a:gd name="connsiteX1033" fmla="*/ 11621209 w 25004707"/>
              <a:gd name="connsiteY1033" fmla="*/ 8997623 h 10808782"/>
              <a:gd name="connsiteX1034" fmla="*/ 10337038 w 25004707"/>
              <a:gd name="connsiteY1034" fmla="*/ 8913455 h 10808782"/>
              <a:gd name="connsiteX1035" fmla="*/ 12098730 w 25004707"/>
              <a:gd name="connsiteY1035" fmla="*/ 1726956 h 10808782"/>
              <a:gd name="connsiteX1036" fmla="*/ 12066887 w 25004707"/>
              <a:gd name="connsiteY1036" fmla="*/ 2211845 h 10808782"/>
              <a:gd name="connsiteX1037" fmla="*/ 12098730 w 25004707"/>
              <a:gd name="connsiteY1037" fmla="*/ 1726956 h 10808782"/>
              <a:gd name="connsiteX1038" fmla="*/ 12130541 w 25004707"/>
              <a:gd name="connsiteY1038" fmla="*/ 1242500 h 10808782"/>
              <a:gd name="connsiteX1039" fmla="*/ 12098730 w 25004707"/>
              <a:gd name="connsiteY1039" fmla="*/ 1726956 h 10808782"/>
              <a:gd name="connsiteX1040" fmla="*/ 13382917 w 25004707"/>
              <a:gd name="connsiteY1040" fmla="*/ 1811140 h 10808782"/>
              <a:gd name="connsiteX1041" fmla="*/ 12066887 w 25004707"/>
              <a:gd name="connsiteY1041" fmla="*/ 2211845 h 10808782"/>
              <a:gd name="connsiteX1042" fmla="*/ 12035043 w 25004707"/>
              <a:gd name="connsiteY1042" fmla="*/ 2696735 h 10808782"/>
              <a:gd name="connsiteX1043" fmla="*/ 12066887 w 25004707"/>
              <a:gd name="connsiteY1043" fmla="*/ 2211845 h 10808782"/>
              <a:gd name="connsiteX1044" fmla="*/ 13351074 w 25004707"/>
              <a:gd name="connsiteY1044" fmla="*/ 2296029 h 10808782"/>
              <a:gd name="connsiteX1045" fmla="*/ 13382917 w 25004707"/>
              <a:gd name="connsiteY1045" fmla="*/ 1811140 h 10808782"/>
              <a:gd name="connsiteX1046" fmla="*/ 11684864 w 25004707"/>
              <a:gd name="connsiteY1046" fmla="*/ 8028316 h 10808782"/>
              <a:gd name="connsiteX1047" fmla="*/ 11700769 w 25004707"/>
              <a:gd name="connsiteY1047" fmla="*/ 7786092 h 10808782"/>
              <a:gd name="connsiteX1048" fmla="*/ 11645721 w 25004707"/>
              <a:gd name="connsiteY1048" fmla="*/ 7561345 h 10808782"/>
              <a:gd name="connsiteX1049" fmla="*/ 11684864 w 25004707"/>
              <a:gd name="connsiteY1049" fmla="*/ 8028316 h 10808782"/>
              <a:gd name="connsiteX1050" fmla="*/ 11653068 w 25004707"/>
              <a:gd name="connsiteY1050" fmla="*/ 8512733 h 10808782"/>
              <a:gd name="connsiteX1051" fmla="*/ 12162401 w 25004707"/>
              <a:gd name="connsiteY1051" fmla="*/ 757600 h 10808782"/>
              <a:gd name="connsiteX1052" fmla="*/ 12130541 w 25004707"/>
              <a:gd name="connsiteY1052" fmla="*/ 1242500 h 10808782"/>
              <a:gd name="connsiteX1053" fmla="*/ 12130541 w 25004707"/>
              <a:gd name="connsiteY1053" fmla="*/ 1242500 h 10808782"/>
              <a:gd name="connsiteX1054" fmla="*/ 13414713 w 25004707"/>
              <a:gd name="connsiteY1054" fmla="*/ 1326681 h 10808782"/>
              <a:gd name="connsiteX1055" fmla="*/ 11971389 w 25004707"/>
              <a:gd name="connsiteY1055" fmla="*/ 3666073 h 10808782"/>
              <a:gd name="connsiteX1056" fmla="*/ 11939593 w 25004707"/>
              <a:gd name="connsiteY1056" fmla="*/ 4150506 h 10808782"/>
              <a:gd name="connsiteX1057" fmla="*/ 11971389 w 25004707"/>
              <a:gd name="connsiteY1057" fmla="*/ 3666073 h 10808782"/>
              <a:gd name="connsiteX1058" fmla="*/ 10687203 w 25004707"/>
              <a:gd name="connsiteY1058" fmla="*/ 3581889 h 10808782"/>
              <a:gd name="connsiteX1059" fmla="*/ 11971389 w 25004707"/>
              <a:gd name="connsiteY1059" fmla="*/ 3666073 h 10808782"/>
              <a:gd name="connsiteX1060" fmla="*/ 12035043 w 25004707"/>
              <a:gd name="connsiteY1060" fmla="*/ 2696750 h 10808782"/>
              <a:gd name="connsiteX1061" fmla="*/ 11939562 w 25004707"/>
              <a:gd name="connsiteY1061" fmla="*/ 4150506 h 10808782"/>
              <a:gd name="connsiteX1062" fmla="*/ 11923656 w 25004707"/>
              <a:gd name="connsiteY1062" fmla="*/ 4392731 h 10808782"/>
              <a:gd name="connsiteX1063" fmla="*/ 11839674 w 25004707"/>
              <a:gd name="connsiteY1063" fmla="*/ 4608362 h 10808782"/>
              <a:gd name="connsiteX1064" fmla="*/ 11939593 w 25004707"/>
              <a:gd name="connsiteY1064" fmla="*/ 4150506 h 10808782"/>
              <a:gd name="connsiteX1065" fmla="*/ 12272294 w 25004707"/>
              <a:gd name="connsiteY1065" fmla="*/ 4172322 h 10808782"/>
              <a:gd name="connsiteX1066" fmla="*/ 13140632 w 25004707"/>
              <a:gd name="connsiteY1066" fmla="*/ 4177462 h 10808782"/>
              <a:gd name="connsiteX1067" fmla="*/ 11123456 w 25004707"/>
              <a:gd name="connsiteY1067" fmla="*/ 6044043 h 10808782"/>
              <a:gd name="connsiteX1068" fmla="*/ 11191500 w 25004707"/>
              <a:gd name="connsiteY1068" fmla="*/ 6598074 h 10808782"/>
              <a:gd name="connsiteX1069" fmla="*/ 10491927 w 25004707"/>
              <a:gd name="connsiteY1069" fmla="*/ 6490078 h 10808782"/>
              <a:gd name="connsiteX1070" fmla="*/ 11123456 w 25004707"/>
              <a:gd name="connsiteY1070" fmla="*/ 6044043 h 10808782"/>
              <a:gd name="connsiteX1071" fmla="*/ 11503937 w 25004707"/>
              <a:gd name="connsiteY1071" fmla="*/ 6068971 h 10808782"/>
              <a:gd name="connsiteX1072" fmla="*/ 11646287 w 25004707"/>
              <a:gd name="connsiteY1072" fmla="*/ 7561361 h 10808782"/>
              <a:gd name="connsiteX1073" fmla="*/ 11412797 w 25004707"/>
              <a:gd name="connsiteY1073" fmla="*/ 7108001 h 10808782"/>
              <a:gd name="connsiteX1074" fmla="*/ 11130048 w 25004707"/>
              <a:gd name="connsiteY1074" fmla="*/ 7039111 h 10808782"/>
              <a:gd name="connsiteX1075" fmla="*/ 10846071 w 25004707"/>
              <a:gd name="connsiteY1075" fmla="*/ 7005444 h 10808782"/>
              <a:gd name="connsiteX1076" fmla="*/ 10464379 w 25004707"/>
              <a:gd name="connsiteY1076" fmla="*/ 6974779 h 10808782"/>
              <a:gd name="connsiteX1077" fmla="*/ 11191531 w 25004707"/>
              <a:gd name="connsiteY1077" fmla="*/ 6598058 h 10808782"/>
              <a:gd name="connsiteX1078" fmla="*/ 11412813 w 25004707"/>
              <a:gd name="connsiteY1078" fmla="*/ 7107545 h 10808782"/>
              <a:gd name="connsiteX1079" fmla="*/ 12088126 w 25004707"/>
              <a:gd name="connsiteY1079" fmla="*/ 7357425 h 10808782"/>
              <a:gd name="connsiteX1080" fmla="*/ 12035043 w 25004707"/>
              <a:gd name="connsiteY1080" fmla="*/ 2696735 h 10808782"/>
              <a:gd name="connsiteX1081" fmla="*/ 13319230 w 25004707"/>
              <a:gd name="connsiteY1081" fmla="*/ 2780918 h 10808782"/>
              <a:gd name="connsiteX1082" fmla="*/ 11840162 w 25004707"/>
              <a:gd name="connsiteY1082" fmla="*/ 4608393 h 10808782"/>
              <a:gd name="connsiteX1083" fmla="*/ 11549389 w 25004707"/>
              <a:gd name="connsiteY1083" fmla="*/ 5027378 h 10808782"/>
              <a:gd name="connsiteX1084" fmla="*/ 11263368 w 25004707"/>
              <a:gd name="connsiteY1084" fmla="*/ 5504110 h 10808782"/>
              <a:gd name="connsiteX1085" fmla="*/ 11123440 w 25004707"/>
              <a:gd name="connsiteY1085" fmla="*/ 6044498 h 10808782"/>
              <a:gd name="connsiteX1086" fmla="*/ 11549436 w 25004707"/>
              <a:gd name="connsiteY1086" fmla="*/ 5027394 h 10808782"/>
              <a:gd name="connsiteX1087" fmla="*/ 11263415 w 25004707"/>
              <a:gd name="connsiteY1087" fmla="*/ 5503623 h 10808782"/>
              <a:gd name="connsiteX1088" fmla="*/ 11752593 w 25004707"/>
              <a:gd name="connsiteY1088" fmla="*/ 5391241 h 10808782"/>
              <a:gd name="connsiteX1089" fmla="*/ 12251684 w 25004707"/>
              <a:gd name="connsiteY1089" fmla="*/ 4867812 h 10808782"/>
              <a:gd name="connsiteX1090" fmla="*/ 13275399 w 25004707"/>
              <a:gd name="connsiteY1090" fmla="*/ 4617321 h 10808782"/>
              <a:gd name="connsiteX1091" fmla="*/ 13140664 w 25004707"/>
              <a:gd name="connsiteY1091" fmla="*/ 4177494 h 10808782"/>
              <a:gd name="connsiteX1092" fmla="*/ 12761818 w 25004707"/>
              <a:gd name="connsiteY1092" fmla="*/ 4492837 h 10808782"/>
              <a:gd name="connsiteX1093" fmla="*/ 11661721 w 25004707"/>
              <a:gd name="connsiteY1093" fmla="*/ 6773813 h 10808782"/>
              <a:gd name="connsiteX1094" fmla="*/ 11503858 w 25004707"/>
              <a:gd name="connsiteY1094" fmla="*/ 6069442 h 10808782"/>
              <a:gd name="connsiteX1095" fmla="*/ 12905427 w 25004707"/>
              <a:gd name="connsiteY1095" fmla="*/ 9081823 h 10808782"/>
              <a:gd name="connsiteX1096" fmla="*/ 12937271 w 25004707"/>
              <a:gd name="connsiteY1096" fmla="*/ 8596917 h 10808782"/>
              <a:gd name="connsiteX1097" fmla="*/ 12905427 w 25004707"/>
              <a:gd name="connsiteY1097" fmla="*/ 9081823 h 10808782"/>
              <a:gd name="connsiteX1098" fmla="*/ 14190133 w 25004707"/>
              <a:gd name="connsiteY1098" fmla="*/ 9166037 h 10808782"/>
              <a:gd name="connsiteX1099" fmla="*/ 12905427 w 25004707"/>
              <a:gd name="connsiteY1099" fmla="*/ 9081823 h 10808782"/>
              <a:gd name="connsiteX1100" fmla="*/ 11621240 w 25004707"/>
              <a:gd name="connsiteY1100" fmla="*/ 8997639 h 10808782"/>
              <a:gd name="connsiteX1101" fmla="*/ 12251620 w 25004707"/>
              <a:gd name="connsiteY1101" fmla="*/ 4868269 h 10808782"/>
              <a:gd name="connsiteX1102" fmla="*/ 12762275 w 25004707"/>
              <a:gd name="connsiteY1102" fmla="*/ 4493340 h 10808782"/>
              <a:gd name="connsiteX1103" fmla="*/ 11503937 w 25004707"/>
              <a:gd name="connsiteY1103" fmla="*/ 6068971 h 10808782"/>
              <a:gd name="connsiteX1104" fmla="*/ 11752562 w 25004707"/>
              <a:gd name="connsiteY1104" fmla="*/ 5391257 h 10808782"/>
              <a:gd name="connsiteX1105" fmla="*/ 11503937 w 25004707"/>
              <a:gd name="connsiteY1105" fmla="*/ 6068971 h 10808782"/>
              <a:gd name="connsiteX1106" fmla="*/ 11995302 w 25004707"/>
              <a:gd name="connsiteY1106" fmla="*/ 6101176 h 10808782"/>
              <a:gd name="connsiteX1107" fmla="*/ 13319215 w 25004707"/>
              <a:gd name="connsiteY1107" fmla="*/ 2780934 h 10808782"/>
              <a:gd name="connsiteX1108" fmla="*/ 13287403 w 25004707"/>
              <a:gd name="connsiteY1108" fmla="*/ 3265368 h 10808782"/>
              <a:gd name="connsiteX1109" fmla="*/ 10719045 w 25004707"/>
              <a:gd name="connsiteY1109" fmla="*/ 3097000 h 10808782"/>
              <a:gd name="connsiteX1110" fmla="*/ 12879185 w 25004707"/>
              <a:gd name="connsiteY1110" fmla="*/ 8157877 h 10808782"/>
              <a:gd name="connsiteX1111" fmla="*/ 12953113 w 25004707"/>
              <a:gd name="connsiteY1111" fmla="*/ 8354693 h 10808782"/>
              <a:gd name="connsiteX1112" fmla="*/ 12937192 w 25004707"/>
              <a:gd name="connsiteY1112" fmla="*/ 8596917 h 10808782"/>
              <a:gd name="connsiteX1113" fmla="*/ 11653021 w 25004707"/>
              <a:gd name="connsiteY1113" fmla="*/ 8512733 h 10808782"/>
              <a:gd name="connsiteX1114" fmla="*/ 13351074 w 25004707"/>
              <a:gd name="connsiteY1114" fmla="*/ 2296013 h 10808782"/>
              <a:gd name="connsiteX1115" fmla="*/ 13319230 w 25004707"/>
              <a:gd name="connsiteY1115" fmla="*/ 2780918 h 10808782"/>
              <a:gd name="connsiteX1116" fmla="*/ 13319230 w 25004707"/>
              <a:gd name="connsiteY1116" fmla="*/ 2780918 h 10808782"/>
              <a:gd name="connsiteX1117" fmla="*/ 14603952 w 25004707"/>
              <a:gd name="connsiteY1117" fmla="*/ 2865118 h 10808782"/>
              <a:gd name="connsiteX1118" fmla="*/ 14635795 w 25004707"/>
              <a:gd name="connsiteY1118" fmla="*/ 2380244 h 10808782"/>
              <a:gd name="connsiteX1119" fmla="*/ 13382917 w 25004707"/>
              <a:gd name="connsiteY1119" fmla="*/ 1811140 h 10808782"/>
              <a:gd name="connsiteX1120" fmla="*/ 13414713 w 25004707"/>
              <a:gd name="connsiteY1120" fmla="*/ 1326681 h 10808782"/>
              <a:gd name="connsiteX1121" fmla="*/ 13382917 w 25004707"/>
              <a:gd name="connsiteY1121" fmla="*/ 1811140 h 10808782"/>
              <a:gd name="connsiteX1122" fmla="*/ 14667607 w 25004707"/>
              <a:gd name="connsiteY1122" fmla="*/ 1895339 h 10808782"/>
              <a:gd name="connsiteX1123" fmla="*/ 13287451 w 25004707"/>
              <a:gd name="connsiteY1123" fmla="*/ 3265336 h 10808782"/>
              <a:gd name="connsiteX1124" fmla="*/ 13255607 w 25004707"/>
              <a:gd name="connsiteY1124" fmla="*/ 3750241 h 10808782"/>
              <a:gd name="connsiteX1125" fmla="*/ 11971436 w 25004707"/>
              <a:gd name="connsiteY1125" fmla="*/ 3666057 h 10808782"/>
              <a:gd name="connsiteX1126" fmla="*/ 13140585 w 25004707"/>
              <a:gd name="connsiteY1126" fmla="*/ 4177934 h 10808782"/>
              <a:gd name="connsiteX1127" fmla="*/ 13239622 w 25004707"/>
              <a:gd name="connsiteY1127" fmla="*/ 3992450 h 10808782"/>
              <a:gd name="connsiteX1128" fmla="*/ 13255529 w 25004707"/>
              <a:gd name="connsiteY1128" fmla="*/ 3750241 h 10808782"/>
              <a:gd name="connsiteX1129" fmla="*/ 14206023 w 25004707"/>
              <a:gd name="connsiteY1129" fmla="*/ 3811147 h 10808782"/>
              <a:gd name="connsiteX1130" fmla="*/ 14533910 w 25004707"/>
              <a:gd name="connsiteY1130" fmla="*/ 3825576 h 10808782"/>
              <a:gd name="connsiteX1131" fmla="*/ 14311810 w 25004707"/>
              <a:gd name="connsiteY1131" fmla="*/ 4099440 h 10808782"/>
              <a:gd name="connsiteX1132" fmla="*/ 12544864 w 25004707"/>
              <a:gd name="connsiteY1132" fmla="*/ 7795774 h 10808782"/>
              <a:gd name="connsiteX1133" fmla="*/ 12879217 w 25004707"/>
              <a:gd name="connsiteY1133" fmla="*/ 8157877 h 10808782"/>
              <a:gd name="connsiteX1134" fmla="*/ 14029580 w 25004707"/>
              <a:gd name="connsiteY1134" fmla="*/ 8388549 h 10808782"/>
              <a:gd name="connsiteX1135" fmla="*/ 12545383 w 25004707"/>
              <a:gd name="connsiteY1135" fmla="*/ 7795805 h 10808782"/>
              <a:gd name="connsiteX1136" fmla="*/ 12088126 w 25004707"/>
              <a:gd name="connsiteY1136" fmla="*/ 7357425 h 10808782"/>
              <a:gd name="connsiteX1137" fmla="*/ 12088126 w 25004707"/>
              <a:gd name="connsiteY1137" fmla="*/ 7357425 h 10808782"/>
              <a:gd name="connsiteX1138" fmla="*/ 11661799 w 25004707"/>
              <a:gd name="connsiteY1138" fmla="*/ 6773325 h 10808782"/>
              <a:gd name="connsiteX1139" fmla="*/ 12088126 w 25004707"/>
              <a:gd name="connsiteY1139" fmla="*/ 7357425 h 10808782"/>
              <a:gd name="connsiteX1140" fmla="*/ 13070307 w 25004707"/>
              <a:gd name="connsiteY1140" fmla="*/ 7739410 h 10808782"/>
              <a:gd name="connsiteX1141" fmla="*/ 12873584 w 25004707"/>
              <a:gd name="connsiteY1141" fmla="*/ 9566240 h 10808782"/>
              <a:gd name="connsiteX1142" fmla="*/ 12905396 w 25004707"/>
              <a:gd name="connsiteY1142" fmla="*/ 9081806 h 10808782"/>
              <a:gd name="connsiteX1143" fmla="*/ 12873584 w 25004707"/>
              <a:gd name="connsiteY1143" fmla="*/ 9566240 h 10808782"/>
              <a:gd name="connsiteX1144" fmla="*/ 14158290 w 25004707"/>
              <a:gd name="connsiteY1144" fmla="*/ 9650455 h 10808782"/>
              <a:gd name="connsiteX1145" fmla="*/ 12873631 w 25004707"/>
              <a:gd name="connsiteY1145" fmla="*/ 9566240 h 10808782"/>
              <a:gd name="connsiteX1146" fmla="*/ 12841773 w 25004707"/>
              <a:gd name="connsiteY1146" fmla="*/ 10051145 h 10808782"/>
              <a:gd name="connsiteX1147" fmla="*/ 11557601 w 25004707"/>
              <a:gd name="connsiteY1147" fmla="*/ 9966962 h 10808782"/>
              <a:gd name="connsiteX1148" fmla="*/ 13446556 w 25004707"/>
              <a:gd name="connsiteY1148" fmla="*/ 841781 h 10808782"/>
              <a:gd name="connsiteX1149" fmla="*/ 13414713 w 25004707"/>
              <a:gd name="connsiteY1149" fmla="*/ 1326681 h 10808782"/>
              <a:gd name="connsiteX1150" fmla="*/ 14190133 w 25004707"/>
              <a:gd name="connsiteY1150" fmla="*/ 9166037 h 10808782"/>
              <a:gd name="connsiteX1151" fmla="*/ 14206039 w 25004707"/>
              <a:gd name="connsiteY1151" fmla="*/ 8923813 h 10808782"/>
              <a:gd name="connsiteX1152" fmla="*/ 14214503 w 25004707"/>
              <a:gd name="connsiteY1152" fmla="*/ 8689589 h 10808782"/>
              <a:gd name="connsiteX1153" fmla="*/ 14190133 w 25004707"/>
              <a:gd name="connsiteY1153" fmla="*/ 9166037 h 10808782"/>
              <a:gd name="connsiteX1154" fmla="*/ 14158290 w 25004707"/>
              <a:gd name="connsiteY1154" fmla="*/ 9650455 h 10808782"/>
              <a:gd name="connsiteX1155" fmla="*/ 14190133 w 25004707"/>
              <a:gd name="connsiteY1155" fmla="*/ 9166037 h 10808782"/>
              <a:gd name="connsiteX1156" fmla="*/ 15474273 w 25004707"/>
              <a:gd name="connsiteY1156" fmla="*/ 9250206 h 10808782"/>
              <a:gd name="connsiteX1157" fmla="*/ 14603889 w 25004707"/>
              <a:gd name="connsiteY1157" fmla="*/ 2865133 h 10808782"/>
              <a:gd name="connsiteX1158" fmla="*/ 14572062 w 25004707"/>
              <a:gd name="connsiteY1158" fmla="*/ 3349567 h 10808782"/>
              <a:gd name="connsiteX1159" fmla="*/ 14572062 w 25004707"/>
              <a:gd name="connsiteY1159" fmla="*/ 3349567 h 10808782"/>
              <a:gd name="connsiteX1160" fmla="*/ 13287355 w 25004707"/>
              <a:gd name="connsiteY1160" fmla="*/ 3265352 h 10808782"/>
              <a:gd name="connsiteX1161" fmla="*/ 14572062 w 25004707"/>
              <a:gd name="connsiteY1161" fmla="*/ 3349567 h 10808782"/>
              <a:gd name="connsiteX1162" fmla="*/ 15856264 w 25004707"/>
              <a:gd name="connsiteY1162" fmla="*/ 3433766 h 10808782"/>
              <a:gd name="connsiteX1163" fmla="*/ 14731277 w 25004707"/>
              <a:gd name="connsiteY1163" fmla="*/ 925990 h 10808782"/>
              <a:gd name="connsiteX1164" fmla="*/ 14699434 w 25004707"/>
              <a:gd name="connsiteY1164" fmla="*/ 1410890 h 10808782"/>
              <a:gd name="connsiteX1165" fmla="*/ 14699434 w 25004707"/>
              <a:gd name="connsiteY1165" fmla="*/ 1410890 h 10808782"/>
              <a:gd name="connsiteX1166" fmla="*/ 14667607 w 25004707"/>
              <a:gd name="connsiteY1166" fmla="*/ 1895339 h 10808782"/>
              <a:gd name="connsiteX1167" fmla="*/ 14699434 w 25004707"/>
              <a:gd name="connsiteY1167" fmla="*/ 1410890 h 10808782"/>
              <a:gd name="connsiteX1168" fmla="*/ 15983542 w 25004707"/>
              <a:gd name="connsiteY1168" fmla="*/ 1495075 h 10808782"/>
              <a:gd name="connsiteX1169" fmla="*/ 14699434 w 25004707"/>
              <a:gd name="connsiteY1169" fmla="*/ 1410890 h 10808782"/>
              <a:gd name="connsiteX1170" fmla="*/ 13414728 w 25004707"/>
              <a:gd name="connsiteY1170" fmla="*/ 1326676 h 10808782"/>
              <a:gd name="connsiteX1171" fmla="*/ 14029580 w 25004707"/>
              <a:gd name="connsiteY1171" fmla="*/ 8388549 h 10808782"/>
              <a:gd name="connsiteX1172" fmla="*/ 13647070 w 25004707"/>
              <a:gd name="connsiteY1172" fmla="*/ 8118803 h 10808782"/>
              <a:gd name="connsiteX1173" fmla="*/ 14029580 w 25004707"/>
              <a:gd name="connsiteY1173" fmla="*/ 8388549 h 10808782"/>
              <a:gd name="connsiteX1174" fmla="*/ 15397386 w 25004707"/>
              <a:gd name="connsiteY1174" fmla="*/ 8603361 h 10808782"/>
              <a:gd name="connsiteX1175" fmla="*/ 14126447 w 25004707"/>
              <a:gd name="connsiteY1175" fmla="*/ 10135345 h 10808782"/>
              <a:gd name="connsiteX1176" fmla="*/ 14158290 w 25004707"/>
              <a:gd name="connsiteY1176" fmla="*/ 9650455 h 10808782"/>
              <a:gd name="connsiteX1177" fmla="*/ 14126447 w 25004707"/>
              <a:gd name="connsiteY1177" fmla="*/ 10135345 h 10808782"/>
              <a:gd name="connsiteX1178" fmla="*/ 15410602 w 25004707"/>
              <a:gd name="connsiteY1178" fmla="*/ 10219528 h 10808782"/>
              <a:gd name="connsiteX1179" fmla="*/ 14126447 w 25004707"/>
              <a:gd name="connsiteY1179" fmla="*/ 10135345 h 10808782"/>
              <a:gd name="connsiteX1180" fmla="*/ 12841741 w 25004707"/>
              <a:gd name="connsiteY1180" fmla="*/ 10051145 h 10808782"/>
              <a:gd name="connsiteX1181" fmla="*/ 14158290 w 25004707"/>
              <a:gd name="connsiteY1181" fmla="*/ 9650455 h 10808782"/>
              <a:gd name="connsiteX1182" fmla="*/ 15442445 w 25004707"/>
              <a:gd name="connsiteY1182" fmla="*/ 9734623 h 10808782"/>
              <a:gd name="connsiteX1183" fmla="*/ 14667607 w 25004707"/>
              <a:gd name="connsiteY1183" fmla="*/ 1895339 h 10808782"/>
              <a:gd name="connsiteX1184" fmla="*/ 15951762 w 25004707"/>
              <a:gd name="connsiteY1184" fmla="*/ 1979523 h 10808782"/>
              <a:gd name="connsiteX1185" fmla="*/ 14667638 w 25004707"/>
              <a:gd name="connsiteY1185" fmla="*/ 1895339 h 10808782"/>
              <a:gd name="connsiteX1186" fmla="*/ 14635795 w 25004707"/>
              <a:gd name="connsiteY1186" fmla="*/ 2380244 h 10808782"/>
              <a:gd name="connsiteX1187" fmla="*/ 14635795 w 25004707"/>
              <a:gd name="connsiteY1187" fmla="*/ 2380244 h 10808782"/>
              <a:gd name="connsiteX1188" fmla="*/ 13351089 w 25004707"/>
              <a:gd name="connsiteY1188" fmla="*/ 2296029 h 10808782"/>
              <a:gd name="connsiteX1189" fmla="*/ 14030052 w 25004707"/>
              <a:gd name="connsiteY1189" fmla="*/ 8388596 h 10808782"/>
              <a:gd name="connsiteX1190" fmla="*/ 14214425 w 25004707"/>
              <a:gd name="connsiteY1190" fmla="*/ 8689101 h 10808782"/>
              <a:gd name="connsiteX1191" fmla="*/ 12937176 w 25004707"/>
              <a:gd name="connsiteY1191" fmla="*/ 8596886 h 10808782"/>
              <a:gd name="connsiteX1192" fmla="*/ 14572109 w 25004707"/>
              <a:gd name="connsiteY1192" fmla="*/ 3349551 h 10808782"/>
              <a:gd name="connsiteX1193" fmla="*/ 14556188 w 25004707"/>
              <a:gd name="connsiteY1193" fmla="*/ 3591776 h 10808782"/>
              <a:gd name="connsiteX1194" fmla="*/ 14533957 w 25004707"/>
              <a:gd name="connsiteY1194" fmla="*/ 3825104 h 10808782"/>
              <a:gd name="connsiteX1195" fmla="*/ 15812999 w 25004707"/>
              <a:gd name="connsiteY1195" fmla="*/ 3865656 h 10808782"/>
              <a:gd name="connsiteX1196" fmla="*/ 15695947 w 25004707"/>
              <a:gd name="connsiteY1196" fmla="*/ 4065002 h 10808782"/>
              <a:gd name="connsiteX1197" fmla="*/ 14311842 w 25004707"/>
              <a:gd name="connsiteY1197" fmla="*/ 4099440 h 10808782"/>
              <a:gd name="connsiteX1198" fmla="*/ 11994799 w 25004707"/>
              <a:gd name="connsiteY1198" fmla="*/ 6101616 h 10808782"/>
              <a:gd name="connsiteX1199" fmla="*/ 12359705 w 25004707"/>
              <a:gd name="connsiteY1199" fmla="*/ 7093871 h 10808782"/>
              <a:gd name="connsiteX1200" fmla="*/ 13070307 w 25004707"/>
              <a:gd name="connsiteY1200" fmla="*/ 7739882 h 10808782"/>
              <a:gd name="connsiteX1201" fmla="*/ 12486354 w 25004707"/>
              <a:gd name="connsiteY1201" fmla="*/ 5165033 h 10808782"/>
              <a:gd name="connsiteX1202" fmla="*/ 13275368 w 25004707"/>
              <a:gd name="connsiteY1202" fmla="*/ 4617305 h 10808782"/>
              <a:gd name="connsiteX1203" fmla="*/ 12486354 w 25004707"/>
              <a:gd name="connsiteY1203" fmla="*/ 5165033 h 10808782"/>
              <a:gd name="connsiteX1204" fmla="*/ 11752027 w 25004707"/>
              <a:gd name="connsiteY1204" fmla="*/ 5391210 h 10808782"/>
              <a:gd name="connsiteX1205" fmla="*/ 13275368 w 25004707"/>
              <a:gd name="connsiteY1205" fmla="*/ 4617305 h 10808782"/>
              <a:gd name="connsiteX1206" fmla="*/ 13897330 w 25004707"/>
              <a:gd name="connsiteY1206" fmla="*/ 4316485 h 10808782"/>
              <a:gd name="connsiteX1207" fmla="*/ 13275368 w 25004707"/>
              <a:gd name="connsiteY1207" fmla="*/ 4617305 h 10808782"/>
              <a:gd name="connsiteX1208" fmla="*/ 15121623 w 25004707"/>
              <a:gd name="connsiteY1208" fmla="*/ 4395796 h 10808782"/>
              <a:gd name="connsiteX1209" fmla="*/ 11995302 w 25004707"/>
              <a:gd name="connsiteY1209" fmla="*/ 6101176 h 10808782"/>
              <a:gd name="connsiteX1210" fmla="*/ 12486872 w 25004707"/>
              <a:gd name="connsiteY1210" fmla="*/ 5165065 h 10808782"/>
              <a:gd name="connsiteX1211" fmla="*/ 11995302 w 25004707"/>
              <a:gd name="connsiteY1211" fmla="*/ 6101176 h 10808782"/>
              <a:gd name="connsiteX1212" fmla="*/ 13443441 w 25004707"/>
              <a:gd name="connsiteY1212" fmla="*/ 6196111 h 10808782"/>
              <a:gd name="connsiteX1213" fmla="*/ 14385691 w 25004707"/>
              <a:gd name="connsiteY1213" fmla="*/ 4808195 h 10808782"/>
              <a:gd name="connsiteX1214" fmla="*/ 15121623 w 25004707"/>
              <a:gd name="connsiteY1214" fmla="*/ 4395796 h 10808782"/>
              <a:gd name="connsiteX1215" fmla="*/ 13897330 w 25004707"/>
              <a:gd name="connsiteY1215" fmla="*/ 4316485 h 10808782"/>
              <a:gd name="connsiteX1216" fmla="*/ 14311857 w 25004707"/>
              <a:gd name="connsiteY1216" fmla="*/ 4098984 h 10808782"/>
              <a:gd name="connsiteX1217" fmla="*/ 13897330 w 25004707"/>
              <a:gd name="connsiteY1217" fmla="*/ 4316485 h 10808782"/>
              <a:gd name="connsiteX1218" fmla="*/ 12762306 w 25004707"/>
              <a:gd name="connsiteY1218" fmla="*/ 4492884 h 10808782"/>
              <a:gd name="connsiteX1219" fmla="*/ 11840209 w 25004707"/>
              <a:gd name="connsiteY1219" fmla="*/ 4608409 h 10808782"/>
              <a:gd name="connsiteX1220" fmla="*/ 13647557 w 25004707"/>
              <a:gd name="connsiteY1220" fmla="*/ 8119305 h 10808782"/>
              <a:gd name="connsiteX1221" fmla="*/ 13070260 w 25004707"/>
              <a:gd name="connsiteY1221" fmla="*/ 7739866 h 10808782"/>
              <a:gd name="connsiteX1222" fmla="*/ 15121623 w 25004707"/>
              <a:gd name="connsiteY1222" fmla="*/ 4395796 h 10808782"/>
              <a:gd name="connsiteX1223" fmla="*/ 15490320 w 25004707"/>
              <a:gd name="connsiteY1223" fmla="*/ 4210579 h 10808782"/>
              <a:gd name="connsiteX1224" fmla="*/ 15121623 w 25004707"/>
              <a:gd name="connsiteY1224" fmla="*/ 4395796 h 10808782"/>
              <a:gd name="connsiteX1225" fmla="*/ 17654676 w 25004707"/>
              <a:gd name="connsiteY1225" fmla="*/ 4542536 h 10808782"/>
              <a:gd name="connsiteX1226" fmla="*/ 15489786 w 25004707"/>
              <a:gd name="connsiteY1226" fmla="*/ 4210564 h 10808782"/>
              <a:gd name="connsiteX1227" fmla="*/ 15695475 w 25004707"/>
              <a:gd name="connsiteY1227" fmla="*/ 4065002 h 10808782"/>
              <a:gd name="connsiteX1228" fmla="*/ 14871157 w 25004707"/>
              <a:gd name="connsiteY1228" fmla="*/ 8200471 h 10808782"/>
              <a:gd name="connsiteX1229" fmla="*/ 15212479 w 25004707"/>
              <a:gd name="connsiteY1229" fmla="*/ 8432228 h 10808782"/>
              <a:gd name="connsiteX1230" fmla="*/ 17080274 w 25004707"/>
              <a:gd name="connsiteY1230" fmla="*/ 8565010 h 10808782"/>
              <a:gd name="connsiteX1231" fmla="*/ 14196065 w 25004707"/>
              <a:gd name="connsiteY1231" fmla="*/ 7695574 h 10808782"/>
              <a:gd name="connsiteX1232" fmla="*/ 13443425 w 25004707"/>
              <a:gd name="connsiteY1232" fmla="*/ 6196566 h 10808782"/>
              <a:gd name="connsiteX1233" fmla="*/ 14196065 w 25004707"/>
              <a:gd name="connsiteY1233" fmla="*/ 7695574 h 10808782"/>
              <a:gd name="connsiteX1234" fmla="*/ 12359657 w 25004707"/>
              <a:gd name="connsiteY1234" fmla="*/ 7093855 h 10808782"/>
              <a:gd name="connsiteX1235" fmla="*/ 14196065 w 25004707"/>
              <a:gd name="connsiteY1235" fmla="*/ 7695574 h 10808782"/>
              <a:gd name="connsiteX1236" fmla="*/ 18066716 w 25004707"/>
              <a:gd name="connsiteY1236" fmla="*/ 7989289 h 10808782"/>
              <a:gd name="connsiteX1237" fmla="*/ 14196048 w 25004707"/>
              <a:gd name="connsiteY1237" fmla="*/ 7695558 h 10808782"/>
              <a:gd name="connsiteX1238" fmla="*/ 14871692 w 25004707"/>
              <a:gd name="connsiteY1238" fmla="*/ 8200488 h 10808782"/>
              <a:gd name="connsiteX1239" fmla="*/ 13070244 w 25004707"/>
              <a:gd name="connsiteY1239" fmla="*/ 7739850 h 10808782"/>
              <a:gd name="connsiteX1240" fmla="*/ 15397921 w 25004707"/>
              <a:gd name="connsiteY1240" fmla="*/ 8603409 h 10808782"/>
              <a:gd name="connsiteX1241" fmla="*/ 15213046 w 25004707"/>
              <a:gd name="connsiteY1241" fmla="*/ 8432244 h 10808782"/>
              <a:gd name="connsiteX1242" fmla="*/ 15397921 w 25004707"/>
              <a:gd name="connsiteY1242" fmla="*/ 8603409 h 10808782"/>
              <a:gd name="connsiteX1243" fmla="*/ 15487834 w 25004707"/>
              <a:gd name="connsiteY1243" fmla="*/ 8816336 h 10808782"/>
              <a:gd name="connsiteX1244" fmla="*/ 14214487 w 25004707"/>
              <a:gd name="connsiteY1244" fmla="*/ 8689086 h 10808782"/>
              <a:gd name="connsiteX1245" fmla="*/ 15397921 w 25004707"/>
              <a:gd name="connsiteY1245" fmla="*/ 8603409 h 10808782"/>
              <a:gd name="connsiteX1246" fmla="*/ 16902492 w 25004707"/>
              <a:gd name="connsiteY1246" fmla="*/ 8707695 h 10808782"/>
              <a:gd name="connsiteX1247" fmla="*/ 15410602 w 25004707"/>
              <a:gd name="connsiteY1247" fmla="*/ 10219528 h 10808782"/>
              <a:gd name="connsiteX1248" fmla="*/ 15442445 w 25004707"/>
              <a:gd name="connsiteY1248" fmla="*/ 9734623 h 10808782"/>
              <a:gd name="connsiteX1249" fmla="*/ 15442445 w 25004707"/>
              <a:gd name="connsiteY1249" fmla="*/ 9734623 h 10808782"/>
              <a:gd name="connsiteX1250" fmla="*/ 15474273 w 25004707"/>
              <a:gd name="connsiteY1250" fmla="*/ 9250206 h 10808782"/>
              <a:gd name="connsiteX1251" fmla="*/ 15474273 w 25004707"/>
              <a:gd name="connsiteY1251" fmla="*/ 9250206 h 10808782"/>
              <a:gd name="connsiteX1252" fmla="*/ 15487866 w 25004707"/>
              <a:gd name="connsiteY1252" fmla="*/ 8816336 h 10808782"/>
              <a:gd name="connsiteX1253" fmla="*/ 15888044 w 25004707"/>
              <a:gd name="connsiteY1253" fmla="*/ 2949333 h 10808782"/>
              <a:gd name="connsiteX1254" fmla="*/ 15856264 w 25004707"/>
              <a:gd name="connsiteY1254" fmla="*/ 3433766 h 10808782"/>
              <a:gd name="connsiteX1255" fmla="*/ 15856264 w 25004707"/>
              <a:gd name="connsiteY1255" fmla="*/ 3433766 h 10808782"/>
              <a:gd name="connsiteX1256" fmla="*/ 15812999 w 25004707"/>
              <a:gd name="connsiteY1256" fmla="*/ 3865671 h 10808782"/>
              <a:gd name="connsiteX1257" fmla="*/ 17124954 w 25004707"/>
              <a:gd name="connsiteY1257" fmla="*/ 3949352 h 10808782"/>
              <a:gd name="connsiteX1258" fmla="*/ 15919982 w 25004707"/>
              <a:gd name="connsiteY1258" fmla="*/ 2464396 h 10808782"/>
              <a:gd name="connsiteX1259" fmla="*/ 15888044 w 25004707"/>
              <a:gd name="connsiteY1259" fmla="*/ 2949301 h 10808782"/>
              <a:gd name="connsiteX1260" fmla="*/ 14603921 w 25004707"/>
              <a:gd name="connsiteY1260" fmla="*/ 2865118 h 10808782"/>
              <a:gd name="connsiteX1261" fmla="*/ 15919982 w 25004707"/>
              <a:gd name="connsiteY1261" fmla="*/ 2464396 h 10808782"/>
              <a:gd name="connsiteX1262" fmla="*/ 15951762 w 25004707"/>
              <a:gd name="connsiteY1262" fmla="*/ 1979523 h 10808782"/>
              <a:gd name="connsiteX1263" fmla="*/ 15919982 w 25004707"/>
              <a:gd name="connsiteY1263" fmla="*/ 2464396 h 10808782"/>
              <a:gd name="connsiteX1264" fmla="*/ 14635747 w 25004707"/>
              <a:gd name="connsiteY1264" fmla="*/ 2380244 h 10808782"/>
              <a:gd name="connsiteX1265" fmla="*/ 16015479 w 25004707"/>
              <a:gd name="connsiteY1265" fmla="*/ 1010175 h 10808782"/>
              <a:gd name="connsiteX1266" fmla="*/ 15983542 w 25004707"/>
              <a:gd name="connsiteY1266" fmla="*/ 1495075 h 10808782"/>
              <a:gd name="connsiteX1267" fmla="*/ 15951762 w 25004707"/>
              <a:gd name="connsiteY1267" fmla="*/ 1979523 h 10808782"/>
              <a:gd name="connsiteX1268" fmla="*/ 15983542 w 25004707"/>
              <a:gd name="connsiteY1268" fmla="*/ 1495086 h 10808782"/>
              <a:gd name="connsiteX1269" fmla="*/ 24431722 w 25004707"/>
              <a:gd name="connsiteY1269" fmla="*/ 10323878 h 10808782"/>
              <a:gd name="connsiteX1270" fmla="*/ 24442890 w 25004707"/>
              <a:gd name="connsiteY1270" fmla="*/ 10324617 h 10808782"/>
              <a:gd name="connsiteX1271" fmla="*/ 24474672 w 25004707"/>
              <a:gd name="connsiteY1271" fmla="*/ 9840199 h 10808782"/>
              <a:gd name="connsiteX1272" fmla="*/ 24463658 w 25004707"/>
              <a:gd name="connsiteY1272" fmla="*/ 9839460 h 10808782"/>
              <a:gd name="connsiteX1273" fmla="*/ 11684880 w 25004707"/>
              <a:gd name="connsiteY1273" fmla="*/ 8028300 h 10808782"/>
              <a:gd name="connsiteX1274" fmla="*/ 12879185 w 25004707"/>
              <a:gd name="connsiteY1274" fmla="*/ 8158364 h 10808782"/>
              <a:gd name="connsiteX1275" fmla="*/ 20674580 w 25004707"/>
              <a:gd name="connsiteY1275" fmla="*/ 8617586 h 10808782"/>
              <a:gd name="connsiteX1276" fmla="*/ 20341988 w 25004707"/>
              <a:gd name="connsiteY1276" fmla="*/ 8595770 h 10808782"/>
              <a:gd name="connsiteX1277" fmla="*/ 19488328 w 25004707"/>
              <a:gd name="connsiteY1277" fmla="*/ 8602418 h 10808782"/>
              <a:gd name="connsiteX1278" fmla="*/ 11646271 w 25004707"/>
              <a:gd name="connsiteY1278" fmla="*/ 7561376 h 10808782"/>
              <a:gd name="connsiteX1279" fmla="*/ 12545352 w 25004707"/>
              <a:gd name="connsiteY1279" fmla="*/ 7796293 h 10808782"/>
              <a:gd name="connsiteX1280" fmla="*/ 10432568 w 25004707"/>
              <a:gd name="connsiteY1280" fmla="*/ 7459228 h 10808782"/>
              <a:gd name="connsiteX1281" fmla="*/ 11645783 w 25004707"/>
              <a:gd name="connsiteY1281" fmla="*/ 7560874 h 10808782"/>
              <a:gd name="connsiteX1282" fmla="*/ 19877714 w 25004707"/>
              <a:gd name="connsiteY1282" fmla="*/ 8295736 h 10808782"/>
              <a:gd name="connsiteX1283" fmla="*/ 18710818 w 25004707"/>
              <a:gd name="connsiteY1283" fmla="*/ 8471900 h 10808782"/>
              <a:gd name="connsiteX1284" fmla="*/ 12545414 w 25004707"/>
              <a:gd name="connsiteY1284" fmla="*/ 7795821 h 10808782"/>
              <a:gd name="connsiteX1285" fmla="*/ 13647621 w 25004707"/>
              <a:gd name="connsiteY1285" fmla="*/ 8118850 h 10808782"/>
              <a:gd name="connsiteX1286" fmla="*/ 18710188 w 25004707"/>
              <a:gd name="connsiteY1286" fmla="*/ 8471883 h 10808782"/>
              <a:gd name="connsiteX1287" fmla="*/ 17080274 w 25004707"/>
              <a:gd name="connsiteY1287" fmla="*/ 8564539 h 10808782"/>
              <a:gd name="connsiteX1288" fmla="*/ 20800442 w 25004707"/>
              <a:gd name="connsiteY1288" fmla="*/ 8170357 h 10808782"/>
              <a:gd name="connsiteX1289" fmla="*/ 19877714 w 25004707"/>
              <a:gd name="connsiteY1289" fmla="*/ 8295264 h 10808782"/>
              <a:gd name="connsiteX1290" fmla="*/ 13647557 w 25004707"/>
              <a:gd name="connsiteY1290" fmla="*/ 8119337 h 10808782"/>
              <a:gd name="connsiteX1291" fmla="*/ 15213031 w 25004707"/>
              <a:gd name="connsiteY1291" fmla="*/ 8432275 h 10808782"/>
              <a:gd name="connsiteX1292" fmla="*/ 24570168 w 25004707"/>
              <a:gd name="connsiteY1292" fmla="*/ 8385956 h 10808782"/>
              <a:gd name="connsiteX1293" fmla="*/ 24558998 w 25004707"/>
              <a:gd name="connsiteY1293" fmla="*/ 8385217 h 10808782"/>
              <a:gd name="connsiteX1294" fmla="*/ 11191453 w 25004707"/>
              <a:gd name="connsiteY1294" fmla="*/ 6598058 h 10808782"/>
              <a:gd name="connsiteX1295" fmla="*/ 11661705 w 25004707"/>
              <a:gd name="connsiteY1295" fmla="*/ 6773325 h 10808782"/>
              <a:gd name="connsiteX1296" fmla="*/ 11661752 w 25004707"/>
              <a:gd name="connsiteY1296" fmla="*/ 6773797 h 10808782"/>
              <a:gd name="connsiteX1297" fmla="*/ 12360192 w 25004707"/>
              <a:gd name="connsiteY1297" fmla="*/ 7093886 h 10808782"/>
              <a:gd name="connsiteX1298" fmla="*/ 21415434 w 25004707"/>
              <a:gd name="connsiteY1298" fmla="*/ 7277170 h 10808782"/>
              <a:gd name="connsiteX1299" fmla="*/ 20922056 w 25004707"/>
              <a:gd name="connsiteY1299" fmla="*/ 7397268 h 10808782"/>
              <a:gd name="connsiteX1300" fmla="*/ 20922686 w 25004707"/>
              <a:gd name="connsiteY1300" fmla="*/ 7397316 h 10808782"/>
              <a:gd name="connsiteX1301" fmla="*/ 20142814 w 25004707"/>
              <a:gd name="connsiteY1301" fmla="*/ 7635564 h 10808782"/>
              <a:gd name="connsiteX1302" fmla="*/ 24622718 w 25004707"/>
              <a:gd name="connsiteY1302" fmla="*/ 7415894 h 10808782"/>
              <a:gd name="connsiteX1303" fmla="*/ 24633886 w 25004707"/>
              <a:gd name="connsiteY1303" fmla="*/ 7416633 h 10808782"/>
              <a:gd name="connsiteX1304" fmla="*/ 20142814 w 25004707"/>
              <a:gd name="connsiteY1304" fmla="*/ 7635108 h 10808782"/>
              <a:gd name="connsiteX1305" fmla="*/ 18066244 w 25004707"/>
              <a:gd name="connsiteY1305" fmla="*/ 7988802 h 10808782"/>
              <a:gd name="connsiteX1306" fmla="*/ 24665668 w 25004707"/>
              <a:gd name="connsiteY1306" fmla="*/ 6931728 h 10808782"/>
              <a:gd name="connsiteX1307" fmla="*/ 24654654 w 25004707"/>
              <a:gd name="connsiteY1307" fmla="*/ 6931005 h 10808782"/>
              <a:gd name="connsiteX1308" fmla="*/ 18998254 w 25004707"/>
              <a:gd name="connsiteY1308" fmla="*/ 6560194 h 10808782"/>
              <a:gd name="connsiteX1309" fmla="*/ 13443409 w 25004707"/>
              <a:gd name="connsiteY1309" fmla="*/ 6196079 h 10808782"/>
              <a:gd name="connsiteX1310" fmla="*/ 9275737 w 25004707"/>
              <a:gd name="connsiteY1310" fmla="*/ 5436398 h 10808782"/>
              <a:gd name="connsiteX1311" fmla="*/ 10227192 w 25004707"/>
              <a:gd name="connsiteY1311" fmla="*/ 5498766 h 10808782"/>
              <a:gd name="connsiteX1312" fmla="*/ 10555661 w 25004707"/>
              <a:gd name="connsiteY1312" fmla="*/ 5520299 h 10808782"/>
              <a:gd name="connsiteX1313" fmla="*/ 10555676 w 25004707"/>
              <a:gd name="connsiteY1313" fmla="*/ 5519796 h 10808782"/>
              <a:gd name="connsiteX1314" fmla="*/ 11263383 w 25004707"/>
              <a:gd name="connsiteY1314" fmla="*/ 5504063 h 10808782"/>
              <a:gd name="connsiteX1315" fmla="*/ 24761164 w 25004707"/>
              <a:gd name="connsiteY1315" fmla="*/ 5477971 h 10808782"/>
              <a:gd name="connsiteX1316" fmla="*/ 24749994 w 25004707"/>
              <a:gd name="connsiteY1316" fmla="*/ 5477249 h 10808782"/>
              <a:gd name="connsiteX1317" fmla="*/ 15489769 w 25004707"/>
              <a:gd name="connsiteY1317" fmla="*/ 4210548 h 10808782"/>
              <a:gd name="connsiteX1318" fmla="*/ 13896795 w 25004707"/>
              <a:gd name="connsiteY1318" fmla="*/ 4316454 h 10808782"/>
              <a:gd name="connsiteX1319" fmla="*/ 11840225 w 25004707"/>
              <a:gd name="connsiteY1319" fmla="*/ 4608393 h 10808782"/>
              <a:gd name="connsiteX1320" fmla="*/ 11564650 w 25004707"/>
              <a:gd name="connsiteY1320" fmla="*/ 4609163 h 10808782"/>
              <a:gd name="connsiteX1321" fmla="*/ 10623579 w 25004707"/>
              <a:gd name="connsiteY1321" fmla="*/ 4550772 h 10808782"/>
              <a:gd name="connsiteX1322" fmla="*/ 17200786 w 25004707"/>
              <a:gd name="connsiteY1322" fmla="*/ 4157957 h 10808782"/>
              <a:gd name="connsiteX1323" fmla="*/ 15695475 w 25004707"/>
              <a:gd name="connsiteY1323" fmla="*/ 4064971 h 10808782"/>
              <a:gd name="connsiteX1324" fmla="*/ 24792944 w 25004707"/>
              <a:gd name="connsiteY1324" fmla="*/ 4993051 h 10808782"/>
              <a:gd name="connsiteX1325" fmla="*/ 24781932 w 25004707"/>
              <a:gd name="connsiteY1325" fmla="*/ 4992328 h 10808782"/>
              <a:gd name="connsiteX1326" fmla="*/ 14311291 w 25004707"/>
              <a:gd name="connsiteY1326" fmla="*/ 4099408 h 10808782"/>
              <a:gd name="connsiteX1327" fmla="*/ 13140600 w 25004707"/>
              <a:gd name="connsiteY1327" fmla="*/ 4177934 h 10808782"/>
              <a:gd name="connsiteX1328" fmla="*/ 5533323 w 25004707"/>
              <a:gd name="connsiteY1328" fmla="*/ 3742335 h 10808782"/>
              <a:gd name="connsiteX1329" fmla="*/ 5816937 w 25004707"/>
              <a:gd name="connsiteY1329" fmla="*/ 3749157 h 10808782"/>
              <a:gd name="connsiteX1330" fmla="*/ 6803413 w 25004707"/>
              <a:gd name="connsiteY1330" fmla="*/ 3813819 h 10808782"/>
              <a:gd name="connsiteX1331" fmla="*/ 17402166 w 25004707"/>
              <a:gd name="connsiteY1331" fmla="*/ 8385657 h 10808782"/>
              <a:gd name="connsiteX1332" fmla="*/ 14871708 w 25004707"/>
              <a:gd name="connsiteY1332" fmla="*/ 8200471 h 10808782"/>
              <a:gd name="connsiteX1333" fmla="*/ 21113996 w 25004707"/>
              <a:gd name="connsiteY1333" fmla="*/ 7756165 h 10808782"/>
              <a:gd name="connsiteX1334" fmla="*/ 20402560 w 25004707"/>
              <a:gd name="connsiteY1334" fmla="*/ 7924564 h 10808782"/>
              <a:gd name="connsiteX1335" fmla="*/ 24729384 w 25004707"/>
              <a:gd name="connsiteY1335" fmla="*/ 5962405 h 10808782"/>
              <a:gd name="connsiteX1336" fmla="*/ 24718214 w 25004707"/>
              <a:gd name="connsiteY1336" fmla="*/ 5961666 h 10808782"/>
              <a:gd name="connsiteX1337" fmla="*/ 12251605 w 25004707"/>
              <a:gd name="connsiteY1337" fmla="*/ 4868284 h 10808782"/>
              <a:gd name="connsiteX1338" fmla="*/ 11549373 w 25004707"/>
              <a:gd name="connsiteY1338" fmla="*/ 5027865 h 10808782"/>
              <a:gd name="connsiteX1339" fmla="*/ 4229596 w 25004707"/>
              <a:gd name="connsiteY1339" fmla="*/ 3720409 h 10808782"/>
              <a:gd name="connsiteX1340" fmla="*/ 5592446 w 25004707"/>
              <a:gd name="connsiteY1340" fmla="*/ 3263937 h 10808782"/>
              <a:gd name="connsiteX1341" fmla="*/ 1697927 w 25004707"/>
              <a:gd name="connsiteY1341" fmla="*/ 2992635 h 10808782"/>
              <a:gd name="connsiteX1342" fmla="*/ 2684403 w 25004707"/>
              <a:gd name="connsiteY1342" fmla="*/ 3057297 h 10808782"/>
              <a:gd name="connsiteX1343" fmla="*/ 2938046 w 25004707"/>
              <a:gd name="connsiteY1343" fmla="*/ 3090399 h 10808782"/>
              <a:gd name="connsiteX1344" fmla="*/ 24824882 w 25004707"/>
              <a:gd name="connsiteY1344" fmla="*/ 4508602 h 10808782"/>
              <a:gd name="connsiteX1345" fmla="*/ 24813712 w 25004707"/>
              <a:gd name="connsiteY1345" fmla="*/ 4507879 h 10808782"/>
              <a:gd name="connsiteX1346" fmla="*/ 24888442 w 25004707"/>
              <a:gd name="connsiteY1346" fmla="*/ 3539279 h 10808782"/>
              <a:gd name="connsiteX1347" fmla="*/ 24877430 w 25004707"/>
              <a:gd name="connsiteY1347" fmla="*/ 3538556 h 10808782"/>
              <a:gd name="connsiteX1348" fmla="*/ 24920380 w 25004707"/>
              <a:gd name="connsiteY1348" fmla="*/ 3054405 h 10808782"/>
              <a:gd name="connsiteX1349" fmla="*/ 24909210 w 25004707"/>
              <a:gd name="connsiteY1349" fmla="*/ 3053682 h 10808782"/>
              <a:gd name="connsiteX1350" fmla="*/ 24984098 w 25004707"/>
              <a:gd name="connsiteY1350" fmla="*/ 2085067 h 10808782"/>
              <a:gd name="connsiteX1351" fmla="*/ 24972926 w 25004707"/>
              <a:gd name="connsiteY1351" fmla="*/ 2084328 h 10808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</a:cxnLst>
            <a:rect l="l" t="t" r="r" b="b"/>
            <a:pathLst>
              <a:path w="25004707" h="10808782">
                <a:moveTo>
                  <a:pt x="24781932" y="4992328"/>
                </a:moveTo>
                <a:lnTo>
                  <a:pt x="24813712" y="4507894"/>
                </a:lnTo>
                <a:moveTo>
                  <a:pt x="24781932" y="4992328"/>
                </a:moveTo>
                <a:lnTo>
                  <a:pt x="24749994" y="5477249"/>
                </a:lnTo>
                <a:moveTo>
                  <a:pt x="24781932" y="4992328"/>
                </a:moveTo>
                <a:lnTo>
                  <a:pt x="23497668" y="4908160"/>
                </a:lnTo>
                <a:lnTo>
                  <a:pt x="23465886" y="5393065"/>
                </a:lnTo>
                <a:moveTo>
                  <a:pt x="24813712" y="4507894"/>
                </a:moveTo>
                <a:lnTo>
                  <a:pt x="24845492" y="4022989"/>
                </a:lnTo>
                <a:moveTo>
                  <a:pt x="24813712" y="4507894"/>
                </a:moveTo>
                <a:lnTo>
                  <a:pt x="23529446" y="4423711"/>
                </a:lnTo>
                <a:moveTo>
                  <a:pt x="24718214" y="5961666"/>
                </a:moveTo>
                <a:lnTo>
                  <a:pt x="24686276" y="6446571"/>
                </a:lnTo>
                <a:lnTo>
                  <a:pt x="23402168" y="6362388"/>
                </a:lnTo>
                <a:moveTo>
                  <a:pt x="24718214" y="5961666"/>
                </a:moveTo>
                <a:lnTo>
                  <a:pt x="24749994" y="5477249"/>
                </a:lnTo>
                <a:moveTo>
                  <a:pt x="24718214" y="5961666"/>
                </a:moveTo>
                <a:lnTo>
                  <a:pt x="23433948" y="5877498"/>
                </a:lnTo>
                <a:moveTo>
                  <a:pt x="24749994" y="5477249"/>
                </a:moveTo>
                <a:lnTo>
                  <a:pt x="23465886" y="5393065"/>
                </a:lnTo>
                <a:moveTo>
                  <a:pt x="24940990" y="2568777"/>
                </a:moveTo>
                <a:lnTo>
                  <a:pt x="24909210" y="3053682"/>
                </a:lnTo>
                <a:lnTo>
                  <a:pt x="23624944" y="2969499"/>
                </a:lnTo>
                <a:moveTo>
                  <a:pt x="24877430" y="3538571"/>
                </a:moveTo>
                <a:lnTo>
                  <a:pt x="24845492" y="4023005"/>
                </a:lnTo>
                <a:moveTo>
                  <a:pt x="24845492" y="4023005"/>
                </a:moveTo>
                <a:lnTo>
                  <a:pt x="24856664" y="4023744"/>
                </a:lnTo>
                <a:moveTo>
                  <a:pt x="24845492" y="4023005"/>
                </a:moveTo>
                <a:lnTo>
                  <a:pt x="23561384" y="3938837"/>
                </a:lnTo>
                <a:moveTo>
                  <a:pt x="24940990" y="2568777"/>
                </a:moveTo>
                <a:lnTo>
                  <a:pt x="23656882" y="2484594"/>
                </a:lnTo>
                <a:lnTo>
                  <a:pt x="23624944" y="2969499"/>
                </a:lnTo>
                <a:moveTo>
                  <a:pt x="24940990" y="2568777"/>
                </a:moveTo>
                <a:lnTo>
                  <a:pt x="24952160" y="2569500"/>
                </a:lnTo>
                <a:moveTo>
                  <a:pt x="24940990" y="2568777"/>
                </a:moveTo>
                <a:lnTo>
                  <a:pt x="25004708" y="1599423"/>
                </a:lnTo>
                <a:lnTo>
                  <a:pt x="5763304" y="338142"/>
                </a:lnTo>
                <a:cubicBezTo>
                  <a:pt x="5433766" y="316539"/>
                  <a:pt x="631905" y="1774"/>
                  <a:pt x="631905" y="1774"/>
                </a:cubicBezTo>
                <a:lnTo>
                  <a:pt x="604841" y="0"/>
                </a:lnTo>
                <a:lnTo>
                  <a:pt x="0" y="9209356"/>
                </a:lnTo>
                <a:lnTo>
                  <a:pt x="1284177" y="9293539"/>
                </a:lnTo>
                <a:moveTo>
                  <a:pt x="24909210" y="3053651"/>
                </a:moveTo>
                <a:lnTo>
                  <a:pt x="24877430" y="3538556"/>
                </a:lnTo>
                <a:lnTo>
                  <a:pt x="23593164" y="3454388"/>
                </a:lnTo>
                <a:moveTo>
                  <a:pt x="24590780" y="7900799"/>
                </a:moveTo>
                <a:lnTo>
                  <a:pt x="24622718" y="7415910"/>
                </a:lnTo>
                <a:moveTo>
                  <a:pt x="24590780" y="7900799"/>
                </a:moveTo>
                <a:lnTo>
                  <a:pt x="23306672" y="7816615"/>
                </a:lnTo>
                <a:lnTo>
                  <a:pt x="23274890" y="8301049"/>
                </a:lnTo>
                <a:lnTo>
                  <a:pt x="21990782" y="8216849"/>
                </a:lnTo>
                <a:cubicBezTo>
                  <a:pt x="21990782" y="8216849"/>
                  <a:pt x="21573078" y="8189485"/>
                  <a:pt x="21466882" y="8182522"/>
                </a:cubicBezTo>
                <a:cubicBezTo>
                  <a:pt x="21222396" y="8166490"/>
                  <a:pt x="20955724" y="8169257"/>
                  <a:pt x="20799970" y="8169870"/>
                </a:cubicBezTo>
                <a:moveTo>
                  <a:pt x="24590780" y="7900799"/>
                </a:moveTo>
                <a:lnTo>
                  <a:pt x="24601948" y="7901538"/>
                </a:lnTo>
                <a:moveTo>
                  <a:pt x="24622718" y="7415910"/>
                </a:moveTo>
                <a:lnTo>
                  <a:pt x="24654496" y="6931005"/>
                </a:lnTo>
                <a:moveTo>
                  <a:pt x="24622718" y="7415910"/>
                </a:moveTo>
                <a:lnTo>
                  <a:pt x="23338452" y="7331710"/>
                </a:lnTo>
                <a:moveTo>
                  <a:pt x="24558998" y="8385232"/>
                </a:moveTo>
                <a:lnTo>
                  <a:pt x="24527218" y="8870137"/>
                </a:lnTo>
                <a:lnTo>
                  <a:pt x="23242952" y="8785953"/>
                </a:lnTo>
                <a:moveTo>
                  <a:pt x="24558998" y="8385232"/>
                </a:moveTo>
                <a:lnTo>
                  <a:pt x="24590780" y="7900799"/>
                </a:lnTo>
                <a:moveTo>
                  <a:pt x="24558998" y="8385232"/>
                </a:moveTo>
                <a:lnTo>
                  <a:pt x="23274890" y="8301049"/>
                </a:lnTo>
                <a:lnTo>
                  <a:pt x="23242952" y="8785953"/>
                </a:lnTo>
                <a:moveTo>
                  <a:pt x="24654496" y="6931005"/>
                </a:moveTo>
                <a:lnTo>
                  <a:pt x="24686434" y="6446571"/>
                </a:lnTo>
                <a:lnTo>
                  <a:pt x="24697448" y="6447294"/>
                </a:lnTo>
                <a:moveTo>
                  <a:pt x="24654496" y="6931005"/>
                </a:moveTo>
                <a:lnTo>
                  <a:pt x="23370388" y="6846837"/>
                </a:lnTo>
                <a:moveTo>
                  <a:pt x="24463500" y="9839444"/>
                </a:moveTo>
                <a:lnTo>
                  <a:pt x="24431722" y="10323878"/>
                </a:lnTo>
                <a:lnTo>
                  <a:pt x="23147614" y="10239694"/>
                </a:lnTo>
                <a:moveTo>
                  <a:pt x="23338608" y="7331726"/>
                </a:moveTo>
                <a:lnTo>
                  <a:pt x="23306672" y="7816631"/>
                </a:lnTo>
                <a:lnTo>
                  <a:pt x="22022564" y="7732447"/>
                </a:lnTo>
                <a:moveTo>
                  <a:pt x="23242952" y="8785953"/>
                </a:moveTo>
                <a:lnTo>
                  <a:pt x="23211172" y="9270371"/>
                </a:lnTo>
                <a:moveTo>
                  <a:pt x="23242952" y="8785953"/>
                </a:moveTo>
                <a:lnTo>
                  <a:pt x="21958844" y="8701770"/>
                </a:lnTo>
                <a:moveTo>
                  <a:pt x="23433948" y="5877498"/>
                </a:moveTo>
                <a:lnTo>
                  <a:pt x="23465886" y="5393065"/>
                </a:lnTo>
                <a:moveTo>
                  <a:pt x="23433948" y="5877498"/>
                </a:moveTo>
                <a:lnTo>
                  <a:pt x="22149840" y="5793299"/>
                </a:lnTo>
                <a:cubicBezTo>
                  <a:pt x="22139300" y="5953996"/>
                  <a:pt x="22133164" y="6038761"/>
                  <a:pt x="22138828" y="6277685"/>
                </a:cubicBezTo>
                <a:moveTo>
                  <a:pt x="23465886" y="5393065"/>
                </a:moveTo>
                <a:lnTo>
                  <a:pt x="22181622" y="5308881"/>
                </a:lnTo>
                <a:moveTo>
                  <a:pt x="23115676" y="10724599"/>
                </a:moveTo>
                <a:lnTo>
                  <a:pt x="23147614" y="10239709"/>
                </a:lnTo>
                <a:moveTo>
                  <a:pt x="23115676" y="10724599"/>
                </a:moveTo>
                <a:lnTo>
                  <a:pt x="24399940" y="10808782"/>
                </a:lnTo>
                <a:lnTo>
                  <a:pt x="24431722" y="10323878"/>
                </a:lnTo>
                <a:moveTo>
                  <a:pt x="23115676" y="10724599"/>
                </a:moveTo>
                <a:lnTo>
                  <a:pt x="21831568" y="10640431"/>
                </a:lnTo>
                <a:moveTo>
                  <a:pt x="23147614" y="10239709"/>
                </a:moveTo>
                <a:lnTo>
                  <a:pt x="23179392" y="9755261"/>
                </a:lnTo>
                <a:moveTo>
                  <a:pt x="23147614" y="10239709"/>
                </a:moveTo>
                <a:lnTo>
                  <a:pt x="21863348" y="10155526"/>
                </a:lnTo>
                <a:moveTo>
                  <a:pt x="23720600" y="1515244"/>
                </a:moveTo>
                <a:lnTo>
                  <a:pt x="23688662" y="2000144"/>
                </a:lnTo>
                <a:moveTo>
                  <a:pt x="23688662" y="2000144"/>
                </a:moveTo>
                <a:lnTo>
                  <a:pt x="24972772" y="2084312"/>
                </a:lnTo>
                <a:moveTo>
                  <a:pt x="23688662" y="2000144"/>
                </a:moveTo>
                <a:lnTo>
                  <a:pt x="22404554" y="1915976"/>
                </a:lnTo>
                <a:moveTo>
                  <a:pt x="23179392" y="9755261"/>
                </a:moveTo>
                <a:lnTo>
                  <a:pt x="23211172" y="9270387"/>
                </a:lnTo>
                <a:moveTo>
                  <a:pt x="23179392" y="9755261"/>
                </a:moveTo>
                <a:lnTo>
                  <a:pt x="21895126" y="9671092"/>
                </a:lnTo>
                <a:lnTo>
                  <a:pt x="21863348" y="10155526"/>
                </a:lnTo>
                <a:moveTo>
                  <a:pt x="23179392" y="9755261"/>
                </a:moveTo>
                <a:lnTo>
                  <a:pt x="24463500" y="9839460"/>
                </a:lnTo>
                <a:lnTo>
                  <a:pt x="24495438" y="9354555"/>
                </a:lnTo>
                <a:lnTo>
                  <a:pt x="24506452" y="9355294"/>
                </a:lnTo>
                <a:moveTo>
                  <a:pt x="23593164" y="3454388"/>
                </a:moveTo>
                <a:lnTo>
                  <a:pt x="23625102" y="2969483"/>
                </a:lnTo>
                <a:moveTo>
                  <a:pt x="23593164" y="3454388"/>
                </a:moveTo>
                <a:lnTo>
                  <a:pt x="22309056" y="3370204"/>
                </a:lnTo>
                <a:moveTo>
                  <a:pt x="23624944" y="2969499"/>
                </a:moveTo>
                <a:lnTo>
                  <a:pt x="22340836" y="2885315"/>
                </a:lnTo>
                <a:moveTo>
                  <a:pt x="23593164" y="3454388"/>
                </a:moveTo>
                <a:lnTo>
                  <a:pt x="23561384" y="3938821"/>
                </a:lnTo>
                <a:lnTo>
                  <a:pt x="22277118" y="3854653"/>
                </a:lnTo>
                <a:moveTo>
                  <a:pt x="23434106" y="5877482"/>
                </a:moveTo>
                <a:lnTo>
                  <a:pt x="23402168" y="6362388"/>
                </a:lnTo>
                <a:lnTo>
                  <a:pt x="22450808" y="6300020"/>
                </a:lnTo>
                <a:cubicBezTo>
                  <a:pt x="22261858" y="6287634"/>
                  <a:pt x="22138828" y="6277685"/>
                  <a:pt x="22138828" y="6277685"/>
                </a:cubicBezTo>
                <a:moveTo>
                  <a:pt x="23370388" y="6846837"/>
                </a:moveTo>
                <a:lnTo>
                  <a:pt x="23402168" y="6362404"/>
                </a:lnTo>
                <a:moveTo>
                  <a:pt x="23370388" y="6846837"/>
                </a:moveTo>
                <a:lnTo>
                  <a:pt x="23338452" y="7331710"/>
                </a:lnTo>
                <a:moveTo>
                  <a:pt x="23370388" y="6846837"/>
                </a:moveTo>
                <a:lnTo>
                  <a:pt x="22133950" y="6765781"/>
                </a:lnTo>
                <a:moveTo>
                  <a:pt x="23529604" y="4423711"/>
                </a:moveTo>
                <a:lnTo>
                  <a:pt x="23561384" y="3938806"/>
                </a:lnTo>
                <a:moveTo>
                  <a:pt x="23529604" y="4423711"/>
                </a:moveTo>
                <a:lnTo>
                  <a:pt x="23497668" y="4908160"/>
                </a:lnTo>
                <a:lnTo>
                  <a:pt x="22213560" y="4823976"/>
                </a:lnTo>
                <a:moveTo>
                  <a:pt x="23529604" y="4423711"/>
                </a:moveTo>
                <a:lnTo>
                  <a:pt x="22245338" y="4339527"/>
                </a:lnTo>
                <a:moveTo>
                  <a:pt x="23338452" y="7331710"/>
                </a:moveTo>
                <a:lnTo>
                  <a:pt x="22387090" y="7269358"/>
                </a:lnTo>
                <a:cubicBezTo>
                  <a:pt x="22198140" y="7256973"/>
                  <a:pt x="22074952" y="7250780"/>
                  <a:pt x="22074952" y="7250780"/>
                </a:cubicBezTo>
                <a:moveTo>
                  <a:pt x="23688662" y="2000160"/>
                </a:moveTo>
                <a:lnTo>
                  <a:pt x="23656882" y="2484594"/>
                </a:lnTo>
                <a:lnTo>
                  <a:pt x="22372618" y="2400410"/>
                </a:lnTo>
                <a:moveTo>
                  <a:pt x="23211172" y="9270371"/>
                </a:moveTo>
                <a:lnTo>
                  <a:pt x="24495438" y="9354555"/>
                </a:lnTo>
                <a:lnTo>
                  <a:pt x="24527218" y="8870122"/>
                </a:lnTo>
                <a:lnTo>
                  <a:pt x="24538388" y="8870860"/>
                </a:lnTo>
                <a:moveTo>
                  <a:pt x="23211172" y="9270371"/>
                </a:moveTo>
                <a:lnTo>
                  <a:pt x="21927064" y="9186203"/>
                </a:lnTo>
                <a:moveTo>
                  <a:pt x="21831568" y="10640431"/>
                </a:moveTo>
                <a:lnTo>
                  <a:pt x="21863348" y="10155526"/>
                </a:lnTo>
                <a:moveTo>
                  <a:pt x="21831568" y="10640431"/>
                </a:moveTo>
                <a:lnTo>
                  <a:pt x="20547302" y="10556248"/>
                </a:lnTo>
                <a:moveTo>
                  <a:pt x="21863348" y="10155526"/>
                </a:moveTo>
                <a:lnTo>
                  <a:pt x="20579240" y="10071342"/>
                </a:lnTo>
                <a:moveTo>
                  <a:pt x="22340836" y="2885299"/>
                </a:moveTo>
                <a:lnTo>
                  <a:pt x="22308898" y="3370204"/>
                </a:lnTo>
                <a:lnTo>
                  <a:pt x="21024790" y="3286020"/>
                </a:lnTo>
                <a:moveTo>
                  <a:pt x="22277118" y="3854653"/>
                </a:moveTo>
                <a:lnTo>
                  <a:pt x="22308898" y="3370220"/>
                </a:lnTo>
                <a:moveTo>
                  <a:pt x="22277118" y="3854653"/>
                </a:moveTo>
                <a:lnTo>
                  <a:pt x="20993010" y="3770469"/>
                </a:lnTo>
                <a:moveTo>
                  <a:pt x="21927064" y="9186203"/>
                </a:moveTo>
                <a:lnTo>
                  <a:pt x="21895126" y="9671109"/>
                </a:lnTo>
                <a:lnTo>
                  <a:pt x="20611018" y="9586925"/>
                </a:lnTo>
                <a:moveTo>
                  <a:pt x="21927064" y="9186203"/>
                </a:moveTo>
                <a:lnTo>
                  <a:pt x="21958844" y="8701770"/>
                </a:lnTo>
                <a:moveTo>
                  <a:pt x="21927064" y="9186203"/>
                </a:moveTo>
                <a:lnTo>
                  <a:pt x="20642800" y="9102019"/>
                </a:lnTo>
                <a:moveTo>
                  <a:pt x="22436334" y="1431070"/>
                </a:moveTo>
                <a:lnTo>
                  <a:pt x="22404554" y="1915976"/>
                </a:lnTo>
                <a:moveTo>
                  <a:pt x="22404554" y="1915976"/>
                </a:moveTo>
                <a:lnTo>
                  <a:pt x="21120288" y="1831793"/>
                </a:lnTo>
                <a:moveTo>
                  <a:pt x="22022564" y="7732431"/>
                </a:moveTo>
                <a:lnTo>
                  <a:pt x="22074952" y="7250780"/>
                </a:lnTo>
                <a:moveTo>
                  <a:pt x="22022564" y="7732431"/>
                </a:moveTo>
                <a:cubicBezTo>
                  <a:pt x="21593216" y="7704297"/>
                  <a:pt x="21304678" y="7722561"/>
                  <a:pt x="21113838" y="7756637"/>
                </a:cubicBezTo>
                <a:moveTo>
                  <a:pt x="22022564" y="7732431"/>
                </a:moveTo>
                <a:lnTo>
                  <a:pt x="21958844" y="8701770"/>
                </a:lnTo>
                <a:moveTo>
                  <a:pt x="22181622" y="5308897"/>
                </a:moveTo>
                <a:lnTo>
                  <a:pt x="22149840" y="5793330"/>
                </a:lnTo>
                <a:cubicBezTo>
                  <a:pt x="21856424" y="5773620"/>
                  <a:pt x="21532644" y="5736873"/>
                  <a:pt x="21252128" y="5650708"/>
                </a:cubicBezTo>
                <a:cubicBezTo>
                  <a:pt x="21357540" y="5840185"/>
                  <a:pt x="21418582" y="5988638"/>
                  <a:pt x="21488592" y="6165430"/>
                </a:cubicBezTo>
                <a:cubicBezTo>
                  <a:pt x="21381138" y="6137688"/>
                  <a:pt x="21161352" y="6067761"/>
                  <a:pt x="21015036" y="5981942"/>
                </a:cubicBezTo>
                <a:moveTo>
                  <a:pt x="22074952" y="7250780"/>
                </a:moveTo>
                <a:cubicBezTo>
                  <a:pt x="22082190" y="7163280"/>
                  <a:pt x="22118848" y="6995808"/>
                  <a:pt x="22133950" y="6766253"/>
                </a:cubicBezTo>
                <a:moveTo>
                  <a:pt x="22138828" y="6277685"/>
                </a:moveTo>
                <a:cubicBezTo>
                  <a:pt x="22133478" y="6440143"/>
                  <a:pt x="22152202" y="6487956"/>
                  <a:pt x="22133950" y="6765781"/>
                </a:cubicBezTo>
                <a:lnTo>
                  <a:pt x="21562380" y="6728310"/>
                </a:lnTo>
                <a:moveTo>
                  <a:pt x="22138828" y="6277685"/>
                </a:moveTo>
                <a:cubicBezTo>
                  <a:pt x="21841164" y="6258180"/>
                  <a:pt x="21640728" y="6210209"/>
                  <a:pt x="21488592" y="6165414"/>
                </a:cubicBezTo>
                <a:moveTo>
                  <a:pt x="22245338" y="4339527"/>
                </a:moveTo>
                <a:lnTo>
                  <a:pt x="22277276" y="3854622"/>
                </a:lnTo>
                <a:moveTo>
                  <a:pt x="22245338" y="4339527"/>
                </a:moveTo>
                <a:lnTo>
                  <a:pt x="20961230" y="4255359"/>
                </a:lnTo>
                <a:moveTo>
                  <a:pt x="21958844" y="8701770"/>
                </a:moveTo>
                <a:lnTo>
                  <a:pt x="20674580" y="8617586"/>
                </a:lnTo>
                <a:lnTo>
                  <a:pt x="20642800" y="9102019"/>
                </a:lnTo>
                <a:moveTo>
                  <a:pt x="22181622" y="5308881"/>
                </a:moveTo>
                <a:lnTo>
                  <a:pt x="22213560" y="4823992"/>
                </a:lnTo>
                <a:moveTo>
                  <a:pt x="22181622" y="5308881"/>
                </a:moveTo>
                <a:lnTo>
                  <a:pt x="21849030" y="5287081"/>
                </a:lnTo>
                <a:cubicBezTo>
                  <a:pt x="21563480" y="5268361"/>
                  <a:pt x="21279506" y="5234222"/>
                  <a:pt x="20995686" y="5199596"/>
                </a:cubicBezTo>
                <a:cubicBezTo>
                  <a:pt x="21087250" y="5355233"/>
                  <a:pt x="21157262" y="5465209"/>
                  <a:pt x="21252128" y="5651180"/>
                </a:cubicBezTo>
                <a:cubicBezTo>
                  <a:pt x="21018026" y="5564309"/>
                  <a:pt x="20878162" y="5518916"/>
                  <a:pt x="20568856" y="5391367"/>
                </a:cubicBezTo>
                <a:cubicBezTo>
                  <a:pt x="20753400" y="5568599"/>
                  <a:pt x="20900344" y="5766437"/>
                  <a:pt x="21015666" y="5981974"/>
                </a:cubicBezTo>
                <a:moveTo>
                  <a:pt x="22245338" y="4339543"/>
                </a:moveTo>
                <a:lnTo>
                  <a:pt x="22213560" y="4823976"/>
                </a:lnTo>
                <a:lnTo>
                  <a:pt x="20929452" y="4739792"/>
                </a:lnTo>
                <a:moveTo>
                  <a:pt x="22372774" y="2400425"/>
                </a:moveTo>
                <a:lnTo>
                  <a:pt x="22340836" y="2885315"/>
                </a:lnTo>
                <a:moveTo>
                  <a:pt x="22340836" y="2885315"/>
                </a:moveTo>
                <a:lnTo>
                  <a:pt x="21056728" y="2801147"/>
                </a:lnTo>
                <a:moveTo>
                  <a:pt x="22404398" y="1915976"/>
                </a:moveTo>
                <a:lnTo>
                  <a:pt x="22372618" y="2400410"/>
                </a:lnTo>
                <a:moveTo>
                  <a:pt x="22372618" y="2400410"/>
                </a:moveTo>
                <a:lnTo>
                  <a:pt x="21088510" y="2316226"/>
                </a:lnTo>
                <a:moveTo>
                  <a:pt x="20579240" y="10071342"/>
                </a:moveTo>
                <a:lnTo>
                  <a:pt x="20611018" y="9586909"/>
                </a:lnTo>
                <a:moveTo>
                  <a:pt x="20579240" y="10071342"/>
                </a:moveTo>
                <a:lnTo>
                  <a:pt x="19294974" y="9987158"/>
                </a:lnTo>
                <a:moveTo>
                  <a:pt x="21562380" y="6728766"/>
                </a:moveTo>
                <a:cubicBezTo>
                  <a:pt x="21551366" y="6897903"/>
                  <a:pt x="21513608" y="7106696"/>
                  <a:pt x="21415592" y="7277186"/>
                </a:cubicBezTo>
                <a:cubicBezTo>
                  <a:pt x="21613040" y="7231777"/>
                  <a:pt x="21816462" y="7233821"/>
                  <a:pt x="22074952" y="7250749"/>
                </a:cubicBezTo>
                <a:moveTo>
                  <a:pt x="20993010" y="3770469"/>
                </a:moveTo>
                <a:lnTo>
                  <a:pt x="21024790" y="3286052"/>
                </a:lnTo>
                <a:moveTo>
                  <a:pt x="20993010" y="3770469"/>
                </a:moveTo>
                <a:lnTo>
                  <a:pt x="19708746" y="3686286"/>
                </a:lnTo>
                <a:moveTo>
                  <a:pt x="20929294" y="4739792"/>
                </a:moveTo>
                <a:cubicBezTo>
                  <a:pt x="20917964" y="4912199"/>
                  <a:pt x="20908998" y="5049006"/>
                  <a:pt x="20995528" y="5199596"/>
                </a:cubicBezTo>
                <a:cubicBezTo>
                  <a:pt x="20674894" y="5140467"/>
                  <a:pt x="20423800" y="5069423"/>
                  <a:pt x="20097030" y="4955313"/>
                </a:cubicBezTo>
                <a:moveTo>
                  <a:pt x="20642800" y="9102019"/>
                </a:moveTo>
                <a:lnTo>
                  <a:pt x="20611018" y="9586925"/>
                </a:lnTo>
                <a:lnTo>
                  <a:pt x="19326754" y="9502741"/>
                </a:lnTo>
                <a:moveTo>
                  <a:pt x="20642800" y="9102019"/>
                </a:moveTo>
                <a:lnTo>
                  <a:pt x="19358692" y="9017836"/>
                </a:lnTo>
                <a:moveTo>
                  <a:pt x="20961230" y="4255359"/>
                </a:moveTo>
                <a:lnTo>
                  <a:pt x="20929294" y="4739792"/>
                </a:lnTo>
                <a:cubicBezTo>
                  <a:pt x="20497428" y="4711469"/>
                  <a:pt x="19951818" y="4635710"/>
                  <a:pt x="19750594" y="4599921"/>
                </a:cubicBezTo>
                <a:moveTo>
                  <a:pt x="20961230" y="4255359"/>
                </a:moveTo>
                <a:lnTo>
                  <a:pt x="20993010" y="3770454"/>
                </a:lnTo>
                <a:moveTo>
                  <a:pt x="20961230" y="4255359"/>
                </a:moveTo>
                <a:lnTo>
                  <a:pt x="19676964" y="4171175"/>
                </a:lnTo>
                <a:moveTo>
                  <a:pt x="21120288" y="1831808"/>
                </a:moveTo>
                <a:lnTo>
                  <a:pt x="21088510" y="2316226"/>
                </a:lnTo>
                <a:moveTo>
                  <a:pt x="21088510" y="2316226"/>
                </a:moveTo>
                <a:lnTo>
                  <a:pt x="21056728" y="2801131"/>
                </a:lnTo>
                <a:moveTo>
                  <a:pt x="21088510" y="2316226"/>
                </a:moveTo>
                <a:lnTo>
                  <a:pt x="19804244" y="2232058"/>
                </a:lnTo>
                <a:moveTo>
                  <a:pt x="21152226" y="1346888"/>
                </a:moveTo>
                <a:lnTo>
                  <a:pt x="21120288" y="1831793"/>
                </a:lnTo>
                <a:moveTo>
                  <a:pt x="21120288" y="1831793"/>
                </a:moveTo>
                <a:lnTo>
                  <a:pt x="19836180" y="1747609"/>
                </a:lnTo>
                <a:moveTo>
                  <a:pt x="21056728" y="2801131"/>
                </a:moveTo>
                <a:lnTo>
                  <a:pt x="21024790" y="3286020"/>
                </a:lnTo>
                <a:moveTo>
                  <a:pt x="21056728" y="2801131"/>
                </a:moveTo>
                <a:lnTo>
                  <a:pt x="19772464" y="2716963"/>
                </a:lnTo>
                <a:moveTo>
                  <a:pt x="21024790" y="3286020"/>
                </a:moveTo>
                <a:lnTo>
                  <a:pt x="19740684" y="3201853"/>
                </a:lnTo>
                <a:moveTo>
                  <a:pt x="21488592" y="6165430"/>
                </a:moveTo>
                <a:cubicBezTo>
                  <a:pt x="21553254" y="6373877"/>
                  <a:pt x="21574808" y="6539981"/>
                  <a:pt x="21562380" y="6728310"/>
                </a:cubicBezTo>
                <a:lnTo>
                  <a:pt x="21184006" y="6703508"/>
                </a:lnTo>
                <a:moveTo>
                  <a:pt x="20674736" y="8617602"/>
                </a:moveTo>
                <a:lnTo>
                  <a:pt x="20690628" y="8375378"/>
                </a:lnTo>
                <a:cubicBezTo>
                  <a:pt x="20698494" y="8254037"/>
                  <a:pt x="20800442" y="8170860"/>
                  <a:pt x="20800442" y="8170860"/>
                </a:cubicBezTo>
                <a:moveTo>
                  <a:pt x="21113838" y="7756165"/>
                </a:moveTo>
                <a:cubicBezTo>
                  <a:pt x="21242846" y="7593346"/>
                  <a:pt x="21324500" y="7452846"/>
                  <a:pt x="21415434" y="7276714"/>
                </a:cubicBezTo>
                <a:moveTo>
                  <a:pt x="20579240" y="10071342"/>
                </a:moveTo>
                <a:lnTo>
                  <a:pt x="20547302" y="10556248"/>
                </a:lnTo>
                <a:lnTo>
                  <a:pt x="19263194" y="10472064"/>
                </a:lnTo>
                <a:moveTo>
                  <a:pt x="20800442" y="8170372"/>
                </a:moveTo>
                <a:cubicBezTo>
                  <a:pt x="20889804" y="8068003"/>
                  <a:pt x="20956826" y="7973588"/>
                  <a:pt x="21113838" y="7756149"/>
                </a:cubicBezTo>
                <a:moveTo>
                  <a:pt x="20096558" y="4954825"/>
                </a:moveTo>
                <a:cubicBezTo>
                  <a:pt x="20285824" y="5109314"/>
                  <a:pt x="20403504" y="5216320"/>
                  <a:pt x="20568856" y="5391367"/>
                </a:cubicBezTo>
                <a:cubicBezTo>
                  <a:pt x="20241144" y="5252722"/>
                  <a:pt x="19875826" y="5134682"/>
                  <a:pt x="19539460" y="4997829"/>
                </a:cubicBezTo>
                <a:moveTo>
                  <a:pt x="19676964" y="4170719"/>
                </a:moveTo>
                <a:cubicBezTo>
                  <a:pt x="19667526" y="4307494"/>
                  <a:pt x="19655726" y="4494000"/>
                  <a:pt x="19750594" y="4599953"/>
                </a:cubicBezTo>
                <a:cubicBezTo>
                  <a:pt x="19382132" y="4537695"/>
                  <a:pt x="18960654" y="4463020"/>
                  <a:pt x="18586528" y="4366498"/>
                </a:cubicBezTo>
                <a:moveTo>
                  <a:pt x="20097188" y="4954857"/>
                </a:moveTo>
                <a:cubicBezTo>
                  <a:pt x="19977620" y="4860912"/>
                  <a:pt x="19850498" y="4709552"/>
                  <a:pt x="19751068" y="4599984"/>
                </a:cubicBezTo>
                <a:moveTo>
                  <a:pt x="19772464" y="2716947"/>
                </a:moveTo>
                <a:lnTo>
                  <a:pt x="19740684" y="3201853"/>
                </a:lnTo>
                <a:lnTo>
                  <a:pt x="18456576" y="3117669"/>
                </a:lnTo>
                <a:moveTo>
                  <a:pt x="20922686" y="7397316"/>
                </a:moveTo>
                <a:cubicBezTo>
                  <a:pt x="21042884" y="7204287"/>
                  <a:pt x="21160722" y="7057673"/>
                  <a:pt x="21184006" y="6703963"/>
                </a:cubicBezTo>
                <a:moveTo>
                  <a:pt x="19877714" y="8295752"/>
                </a:moveTo>
                <a:cubicBezTo>
                  <a:pt x="20050460" y="8157924"/>
                  <a:pt x="20215812" y="8074651"/>
                  <a:pt x="20403032" y="7924611"/>
                </a:cubicBezTo>
                <a:moveTo>
                  <a:pt x="19740684" y="3201853"/>
                </a:moveTo>
                <a:lnTo>
                  <a:pt x="19708746" y="3686286"/>
                </a:lnTo>
                <a:moveTo>
                  <a:pt x="19708746" y="3686286"/>
                </a:moveTo>
                <a:lnTo>
                  <a:pt x="18424638" y="3602118"/>
                </a:lnTo>
                <a:moveTo>
                  <a:pt x="19804244" y="2232042"/>
                </a:moveTo>
                <a:lnTo>
                  <a:pt x="19772464" y="2716947"/>
                </a:lnTo>
                <a:lnTo>
                  <a:pt x="18488356" y="2632764"/>
                </a:lnTo>
                <a:moveTo>
                  <a:pt x="19804244" y="2232042"/>
                </a:moveTo>
                <a:lnTo>
                  <a:pt x="19836180" y="1747625"/>
                </a:lnTo>
                <a:moveTo>
                  <a:pt x="19804244" y="2232042"/>
                </a:moveTo>
                <a:lnTo>
                  <a:pt x="18520136" y="2147874"/>
                </a:lnTo>
                <a:moveTo>
                  <a:pt x="19676964" y="4171175"/>
                </a:moveTo>
                <a:cubicBezTo>
                  <a:pt x="19687664" y="4009535"/>
                  <a:pt x="19698206" y="3847910"/>
                  <a:pt x="19708902" y="3686270"/>
                </a:cubicBezTo>
                <a:moveTo>
                  <a:pt x="19676964" y="4171175"/>
                </a:moveTo>
                <a:lnTo>
                  <a:pt x="19344218" y="4149359"/>
                </a:lnTo>
                <a:cubicBezTo>
                  <a:pt x="19030190" y="4128769"/>
                  <a:pt x="18716954" y="4102584"/>
                  <a:pt x="18402454" y="4077278"/>
                </a:cubicBezTo>
                <a:moveTo>
                  <a:pt x="19326754" y="9502725"/>
                </a:moveTo>
                <a:lnTo>
                  <a:pt x="19294974" y="9987158"/>
                </a:lnTo>
                <a:lnTo>
                  <a:pt x="18010866" y="9902991"/>
                </a:lnTo>
                <a:moveTo>
                  <a:pt x="19263194" y="10472064"/>
                </a:moveTo>
                <a:lnTo>
                  <a:pt x="19294974" y="9987175"/>
                </a:lnTo>
                <a:moveTo>
                  <a:pt x="19263194" y="10472064"/>
                </a:moveTo>
                <a:lnTo>
                  <a:pt x="17978928" y="10387896"/>
                </a:lnTo>
                <a:moveTo>
                  <a:pt x="19326754" y="9502741"/>
                </a:moveTo>
                <a:lnTo>
                  <a:pt x="19358692" y="9017852"/>
                </a:lnTo>
                <a:moveTo>
                  <a:pt x="19326754" y="9502741"/>
                </a:moveTo>
                <a:lnTo>
                  <a:pt x="18042646" y="9418573"/>
                </a:lnTo>
                <a:moveTo>
                  <a:pt x="19358692" y="9017852"/>
                </a:moveTo>
                <a:cubicBezTo>
                  <a:pt x="19367502" y="8882444"/>
                  <a:pt x="19337452" y="8684260"/>
                  <a:pt x="19487700" y="8601900"/>
                </a:cubicBezTo>
                <a:moveTo>
                  <a:pt x="19358692" y="9017852"/>
                </a:moveTo>
                <a:lnTo>
                  <a:pt x="18082764" y="8945975"/>
                </a:lnTo>
                <a:moveTo>
                  <a:pt x="21015666" y="5981974"/>
                </a:moveTo>
                <a:cubicBezTo>
                  <a:pt x="21113838" y="6157335"/>
                  <a:pt x="21203358" y="6410232"/>
                  <a:pt x="21184006" y="6703508"/>
                </a:cubicBezTo>
                <a:moveTo>
                  <a:pt x="21015666" y="5981974"/>
                </a:moveTo>
                <a:cubicBezTo>
                  <a:pt x="20703056" y="5825033"/>
                  <a:pt x="20571532" y="5764661"/>
                  <a:pt x="20273552" y="5643966"/>
                </a:cubicBezTo>
                <a:moveTo>
                  <a:pt x="21184006" y="6703508"/>
                </a:moveTo>
                <a:lnTo>
                  <a:pt x="20666240" y="6669558"/>
                </a:lnTo>
                <a:moveTo>
                  <a:pt x="19487700" y="8602388"/>
                </a:moveTo>
                <a:cubicBezTo>
                  <a:pt x="19601290" y="8504435"/>
                  <a:pt x="19769788" y="8374308"/>
                  <a:pt x="19877244" y="8295720"/>
                </a:cubicBezTo>
                <a:moveTo>
                  <a:pt x="20922686" y="7397331"/>
                </a:moveTo>
                <a:cubicBezTo>
                  <a:pt x="20780304" y="7593613"/>
                  <a:pt x="20608818" y="7770578"/>
                  <a:pt x="20402560" y="7924564"/>
                </a:cubicBezTo>
                <a:cubicBezTo>
                  <a:pt x="20069340" y="8014705"/>
                  <a:pt x="19734546" y="8098637"/>
                  <a:pt x="19330530" y="8180368"/>
                </a:cubicBezTo>
                <a:moveTo>
                  <a:pt x="19867960" y="1262715"/>
                </a:moveTo>
                <a:lnTo>
                  <a:pt x="19836024" y="1747609"/>
                </a:lnTo>
                <a:lnTo>
                  <a:pt x="18551914" y="1663441"/>
                </a:lnTo>
                <a:moveTo>
                  <a:pt x="18583852" y="1178533"/>
                </a:moveTo>
                <a:lnTo>
                  <a:pt x="18551914" y="1663425"/>
                </a:lnTo>
                <a:moveTo>
                  <a:pt x="18551914" y="1663425"/>
                </a:moveTo>
                <a:lnTo>
                  <a:pt x="18520136" y="2147874"/>
                </a:lnTo>
                <a:moveTo>
                  <a:pt x="18551914" y="1663425"/>
                </a:moveTo>
                <a:lnTo>
                  <a:pt x="17267806" y="1579257"/>
                </a:lnTo>
                <a:moveTo>
                  <a:pt x="18586528" y="4366498"/>
                </a:moveTo>
                <a:cubicBezTo>
                  <a:pt x="18501886" y="4301647"/>
                  <a:pt x="18395532" y="4183639"/>
                  <a:pt x="18402610" y="4076822"/>
                </a:cubicBezTo>
                <a:moveTo>
                  <a:pt x="18586528" y="4366498"/>
                </a:moveTo>
                <a:cubicBezTo>
                  <a:pt x="18696814" y="4464058"/>
                  <a:pt x="18814652" y="4528233"/>
                  <a:pt x="18962698" y="4627804"/>
                </a:cubicBezTo>
                <a:moveTo>
                  <a:pt x="18586528" y="4366498"/>
                </a:moveTo>
                <a:cubicBezTo>
                  <a:pt x="18174328" y="4266063"/>
                  <a:pt x="17576012" y="4182618"/>
                  <a:pt x="17200786" y="4158019"/>
                </a:cubicBezTo>
                <a:moveTo>
                  <a:pt x="18488356" y="2632764"/>
                </a:moveTo>
                <a:lnTo>
                  <a:pt x="18456418" y="3117653"/>
                </a:lnTo>
                <a:lnTo>
                  <a:pt x="17172310" y="3033485"/>
                </a:lnTo>
                <a:moveTo>
                  <a:pt x="18488356" y="2632764"/>
                </a:moveTo>
                <a:lnTo>
                  <a:pt x="18520136" y="2147874"/>
                </a:lnTo>
                <a:moveTo>
                  <a:pt x="18488356" y="2632764"/>
                </a:moveTo>
                <a:lnTo>
                  <a:pt x="17204090" y="2548596"/>
                </a:lnTo>
                <a:moveTo>
                  <a:pt x="18424638" y="3602118"/>
                </a:moveTo>
                <a:cubicBezTo>
                  <a:pt x="18414252" y="3760002"/>
                  <a:pt x="18400566" y="3919096"/>
                  <a:pt x="18402454" y="4077310"/>
                </a:cubicBezTo>
                <a:cubicBezTo>
                  <a:pt x="18142862" y="4060303"/>
                  <a:pt x="17820972" y="3995420"/>
                  <a:pt x="17125426" y="3949824"/>
                </a:cubicBezTo>
                <a:moveTo>
                  <a:pt x="18424638" y="3602118"/>
                </a:moveTo>
                <a:lnTo>
                  <a:pt x="18456418" y="3117684"/>
                </a:lnTo>
                <a:moveTo>
                  <a:pt x="18424638" y="3602118"/>
                </a:moveTo>
                <a:lnTo>
                  <a:pt x="17140372" y="3517934"/>
                </a:lnTo>
                <a:moveTo>
                  <a:pt x="18520136" y="2147874"/>
                </a:moveTo>
                <a:lnTo>
                  <a:pt x="17236028" y="2063691"/>
                </a:lnTo>
                <a:moveTo>
                  <a:pt x="18962698" y="4627804"/>
                </a:moveTo>
                <a:cubicBezTo>
                  <a:pt x="18452484" y="4476271"/>
                  <a:pt x="17899478" y="4393438"/>
                  <a:pt x="17358900" y="4323180"/>
                </a:cubicBezTo>
                <a:moveTo>
                  <a:pt x="18962698" y="4627804"/>
                </a:moveTo>
                <a:cubicBezTo>
                  <a:pt x="19316844" y="4721607"/>
                  <a:pt x="19735176" y="4843136"/>
                  <a:pt x="20096558" y="4954825"/>
                </a:cubicBezTo>
                <a:moveTo>
                  <a:pt x="20273552" y="5643966"/>
                </a:moveTo>
                <a:cubicBezTo>
                  <a:pt x="20016636" y="5426213"/>
                  <a:pt x="19872838" y="5181521"/>
                  <a:pt x="19539618" y="4997813"/>
                </a:cubicBezTo>
                <a:moveTo>
                  <a:pt x="20273552" y="5643966"/>
                </a:moveTo>
                <a:cubicBezTo>
                  <a:pt x="20516466" y="5929492"/>
                  <a:pt x="20651138" y="6314747"/>
                  <a:pt x="20666240" y="6669558"/>
                </a:cubicBezTo>
                <a:moveTo>
                  <a:pt x="20273552" y="5643966"/>
                </a:moveTo>
                <a:cubicBezTo>
                  <a:pt x="19906822" y="5476415"/>
                  <a:pt x="18967574" y="5169246"/>
                  <a:pt x="18261016" y="5022238"/>
                </a:cubicBezTo>
                <a:moveTo>
                  <a:pt x="18710344" y="8471883"/>
                </a:moveTo>
                <a:cubicBezTo>
                  <a:pt x="18556478" y="8541324"/>
                  <a:pt x="18429358" y="8603095"/>
                  <a:pt x="18303180" y="8681872"/>
                </a:cubicBezTo>
                <a:cubicBezTo>
                  <a:pt x="18818744" y="8637092"/>
                  <a:pt x="19114518" y="8613672"/>
                  <a:pt x="19487858" y="8602371"/>
                </a:cubicBezTo>
                <a:moveTo>
                  <a:pt x="20666084" y="6669542"/>
                </a:moveTo>
                <a:cubicBezTo>
                  <a:pt x="20601894" y="7064322"/>
                  <a:pt x="20421124" y="7381850"/>
                  <a:pt x="20142814" y="7635092"/>
                </a:cubicBezTo>
                <a:cubicBezTo>
                  <a:pt x="19912798" y="7819036"/>
                  <a:pt x="19631970" y="8035893"/>
                  <a:pt x="19330530" y="8179866"/>
                </a:cubicBezTo>
                <a:moveTo>
                  <a:pt x="18710188" y="8471868"/>
                </a:moveTo>
                <a:cubicBezTo>
                  <a:pt x="18917546" y="8365491"/>
                  <a:pt x="19136072" y="8285692"/>
                  <a:pt x="19330530" y="8179881"/>
                </a:cubicBezTo>
                <a:cubicBezTo>
                  <a:pt x="18705310" y="8351566"/>
                  <a:pt x="18042646" y="8354253"/>
                  <a:pt x="17402166" y="8385201"/>
                </a:cubicBezTo>
                <a:moveTo>
                  <a:pt x="18082764" y="8945975"/>
                </a:moveTo>
                <a:cubicBezTo>
                  <a:pt x="18090788" y="8781819"/>
                  <a:pt x="18303180" y="8681400"/>
                  <a:pt x="18303180" y="8681400"/>
                </a:cubicBezTo>
                <a:moveTo>
                  <a:pt x="18082764" y="8945975"/>
                </a:moveTo>
                <a:cubicBezTo>
                  <a:pt x="18062312" y="9102727"/>
                  <a:pt x="18053030" y="9261161"/>
                  <a:pt x="18042646" y="9418573"/>
                </a:cubicBezTo>
                <a:moveTo>
                  <a:pt x="18082764" y="8945975"/>
                </a:moveTo>
                <a:lnTo>
                  <a:pt x="16799444" y="8904669"/>
                </a:lnTo>
                <a:moveTo>
                  <a:pt x="17978928" y="10387896"/>
                </a:moveTo>
                <a:lnTo>
                  <a:pt x="18010866" y="9902991"/>
                </a:lnTo>
                <a:moveTo>
                  <a:pt x="17978928" y="10387896"/>
                </a:moveTo>
                <a:lnTo>
                  <a:pt x="16694821" y="10303712"/>
                </a:lnTo>
                <a:moveTo>
                  <a:pt x="18010866" y="9902991"/>
                </a:moveTo>
                <a:lnTo>
                  <a:pt x="18042646" y="9418558"/>
                </a:lnTo>
                <a:lnTo>
                  <a:pt x="16758537" y="9334389"/>
                </a:lnTo>
                <a:moveTo>
                  <a:pt x="18010866" y="9902991"/>
                </a:moveTo>
                <a:lnTo>
                  <a:pt x="16726601" y="9818807"/>
                </a:lnTo>
                <a:moveTo>
                  <a:pt x="20666240" y="6669558"/>
                </a:moveTo>
                <a:lnTo>
                  <a:pt x="18998410" y="6560226"/>
                </a:lnTo>
                <a:cubicBezTo>
                  <a:pt x="19071410" y="6022981"/>
                  <a:pt x="18680766" y="5479810"/>
                  <a:pt x="18261646" y="5022270"/>
                </a:cubicBezTo>
                <a:cubicBezTo>
                  <a:pt x="17022690" y="4759439"/>
                  <a:pt x="15696104" y="4672474"/>
                  <a:pt x="14385738" y="4808195"/>
                </a:cubicBezTo>
                <a:cubicBezTo>
                  <a:pt x="13764185" y="4875200"/>
                  <a:pt x="13115098" y="5020855"/>
                  <a:pt x="12486354" y="5165033"/>
                </a:cubicBezTo>
                <a:moveTo>
                  <a:pt x="18962698" y="4628276"/>
                </a:moveTo>
                <a:cubicBezTo>
                  <a:pt x="19153850" y="4751848"/>
                  <a:pt x="19357590" y="4863537"/>
                  <a:pt x="19539460" y="4998269"/>
                </a:cubicBezTo>
                <a:cubicBezTo>
                  <a:pt x="18914556" y="4832621"/>
                  <a:pt x="18305540" y="4612024"/>
                  <a:pt x="17654520" y="4542992"/>
                </a:cubicBezTo>
                <a:moveTo>
                  <a:pt x="16758537" y="9334389"/>
                </a:moveTo>
                <a:cubicBezTo>
                  <a:pt x="16767978" y="9190557"/>
                  <a:pt x="16773642" y="9046490"/>
                  <a:pt x="16800072" y="8904700"/>
                </a:cubicBezTo>
                <a:moveTo>
                  <a:pt x="16758537" y="9334389"/>
                </a:moveTo>
                <a:lnTo>
                  <a:pt x="16726601" y="9818807"/>
                </a:lnTo>
                <a:moveTo>
                  <a:pt x="16758537" y="9334389"/>
                </a:moveTo>
                <a:lnTo>
                  <a:pt x="15474273" y="9250206"/>
                </a:lnTo>
                <a:moveTo>
                  <a:pt x="16726601" y="9818807"/>
                </a:moveTo>
                <a:lnTo>
                  <a:pt x="16694821" y="10303712"/>
                </a:lnTo>
                <a:lnTo>
                  <a:pt x="15410602" y="10219528"/>
                </a:lnTo>
                <a:moveTo>
                  <a:pt x="17267806" y="1579257"/>
                </a:moveTo>
                <a:lnTo>
                  <a:pt x="17236028" y="2063691"/>
                </a:lnTo>
                <a:moveTo>
                  <a:pt x="17267806" y="1579257"/>
                </a:moveTo>
                <a:lnTo>
                  <a:pt x="17299588" y="1094351"/>
                </a:lnTo>
                <a:moveTo>
                  <a:pt x="17267806" y="1579257"/>
                </a:moveTo>
                <a:lnTo>
                  <a:pt x="15983542" y="1495075"/>
                </a:lnTo>
                <a:moveTo>
                  <a:pt x="17236028" y="2063691"/>
                </a:moveTo>
                <a:lnTo>
                  <a:pt x="17204090" y="2548596"/>
                </a:lnTo>
                <a:moveTo>
                  <a:pt x="17236028" y="2063691"/>
                </a:moveTo>
                <a:lnTo>
                  <a:pt x="15951762" y="1979523"/>
                </a:lnTo>
                <a:moveTo>
                  <a:pt x="16799444" y="8904669"/>
                </a:moveTo>
                <a:cubicBezTo>
                  <a:pt x="16806208" y="8803479"/>
                  <a:pt x="16902020" y="8707648"/>
                  <a:pt x="16902020" y="8707648"/>
                </a:cubicBezTo>
                <a:cubicBezTo>
                  <a:pt x="17401064" y="8736600"/>
                  <a:pt x="17938966" y="8716811"/>
                  <a:pt x="18303180" y="8681872"/>
                </a:cubicBezTo>
                <a:moveTo>
                  <a:pt x="16799444" y="8904669"/>
                </a:moveTo>
                <a:lnTo>
                  <a:pt x="15487866" y="8816367"/>
                </a:lnTo>
                <a:moveTo>
                  <a:pt x="17204090" y="2548596"/>
                </a:moveTo>
                <a:lnTo>
                  <a:pt x="15919982" y="2464396"/>
                </a:lnTo>
                <a:moveTo>
                  <a:pt x="17172310" y="3033501"/>
                </a:moveTo>
                <a:lnTo>
                  <a:pt x="17140372" y="3517934"/>
                </a:lnTo>
                <a:moveTo>
                  <a:pt x="17140372" y="3517934"/>
                </a:moveTo>
                <a:lnTo>
                  <a:pt x="15856264" y="3433766"/>
                </a:lnTo>
                <a:moveTo>
                  <a:pt x="16726601" y="9818807"/>
                </a:moveTo>
                <a:lnTo>
                  <a:pt x="15442492" y="9734623"/>
                </a:lnTo>
                <a:moveTo>
                  <a:pt x="17204090" y="2548580"/>
                </a:moveTo>
                <a:lnTo>
                  <a:pt x="17172310" y="3033485"/>
                </a:lnTo>
                <a:lnTo>
                  <a:pt x="15888202" y="2949301"/>
                </a:lnTo>
                <a:moveTo>
                  <a:pt x="17402166" y="8385673"/>
                </a:moveTo>
                <a:cubicBezTo>
                  <a:pt x="17653260" y="8263326"/>
                  <a:pt x="17771570" y="8190160"/>
                  <a:pt x="18066716" y="7989305"/>
                </a:cubicBezTo>
                <a:cubicBezTo>
                  <a:pt x="18542318" y="7588065"/>
                  <a:pt x="18944448" y="7143900"/>
                  <a:pt x="18998254" y="6560697"/>
                </a:cubicBezTo>
                <a:moveTo>
                  <a:pt x="16901864" y="8707648"/>
                </a:moveTo>
                <a:cubicBezTo>
                  <a:pt x="16967942" y="8634813"/>
                  <a:pt x="17080274" y="8564539"/>
                  <a:pt x="17080274" y="8564539"/>
                </a:cubicBezTo>
                <a:cubicBezTo>
                  <a:pt x="17222026" y="8475483"/>
                  <a:pt x="17402166" y="8385201"/>
                  <a:pt x="17402166" y="8385201"/>
                </a:cubicBezTo>
                <a:moveTo>
                  <a:pt x="17200630" y="4158019"/>
                </a:moveTo>
                <a:cubicBezTo>
                  <a:pt x="17171838" y="4110489"/>
                  <a:pt x="17138798" y="4037748"/>
                  <a:pt x="17124954" y="3949321"/>
                </a:cubicBezTo>
                <a:moveTo>
                  <a:pt x="17140530" y="3517934"/>
                </a:moveTo>
                <a:cubicBezTo>
                  <a:pt x="17131562" y="3614268"/>
                  <a:pt x="17115514" y="3840963"/>
                  <a:pt x="17125426" y="3949352"/>
                </a:cubicBezTo>
                <a:moveTo>
                  <a:pt x="17201730" y="4158098"/>
                </a:moveTo>
                <a:cubicBezTo>
                  <a:pt x="17261516" y="4239657"/>
                  <a:pt x="17302262" y="4282802"/>
                  <a:pt x="17358742" y="4323196"/>
                </a:cubicBezTo>
                <a:cubicBezTo>
                  <a:pt x="16736670" y="4270652"/>
                  <a:pt x="16113494" y="4230729"/>
                  <a:pt x="15489707" y="4211020"/>
                </a:cubicBezTo>
                <a:moveTo>
                  <a:pt x="17654676" y="4542552"/>
                </a:moveTo>
                <a:cubicBezTo>
                  <a:pt x="17526770" y="4444772"/>
                  <a:pt x="17463050" y="4407663"/>
                  <a:pt x="17359372" y="4322756"/>
                </a:cubicBezTo>
                <a:moveTo>
                  <a:pt x="18261488" y="5022254"/>
                </a:moveTo>
                <a:cubicBezTo>
                  <a:pt x="18060580" y="4859467"/>
                  <a:pt x="17900422" y="4703092"/>
                  <a:pt x="17654520" y="4542536"/>
                </a:cubicBezTo>
                <a:moveTo>
                  <a:pt x="10846386" y="1158336"/>
                </a:moveTo>
                <a:lnTo>
                  <a:pt x="10814575" y="1642772"/>
                </a:lnTo>
                <a:moveTo>
                  <a:pt x="10846386" y="1158336"/>
                </a:moveTo>
                <a:lnTo>
                  <a:pt x="10878229" y="673426"/>
                </a:lnTo>
                <a:moveTo>
                  <a:pt x="10846386" y="1158336"/>
                </a:moveTo>
                <a:lnTo>
                  <a:pt x="9562215" y="1074149"/>
                </a:lnTo>
                <a:moveTo>
                  <a:pt x="10846386" y="1158336"/>
                </a:moveTo>
                <a:lnTo>
                  <a:pt x="12130541" y="1242500"/>
                </a:lnTo>
                <a:moveTo>
                  <a:pt x="10814575" y="1642772"/>
                </a:moveTo>
                <a:lnTo>
                  <a:pt x="10782701" y="2127677"/>
                </a:lnTo>
                <a:moveTo>
                  <a:pt x="10814575" y="1642772"/>
                </a:moveTo>
                <a:lnTo>
                  <a:pt x="12098730" y="1726956"/>
                </a:lnTo>
                <a:moveTo>
                  <a:pt x="10814575" y="1642772"/>
                </a:moveTo>
                <a:lnTo>
                  <a:pt x="9530388" y="1558589"/>
                </a:lnTo>
                <a:moveTo>
                  <a:pt x="10305289" y="9397889"/>
                </a:moveTo>
                <a:lnTo>
                  <a:pt x="10273446" y="9882778"/>
                </a:lnTo>
                <a:lnTo>
                  <a:pt x="8989260" y="9798610"/>
                </a:lnTo>
                <a:moveTo>
                  <a:pt x="10555692" y="5519827"/>
                </a:moveTo>
                <a:cubicBezTo>
                  <a:pt x="10544160" y="5695519"/>
                  <a:pt x="10517886" y="5844350"/>
                  <a:pt x="10507424" y="6003648"/>
                </a:cubicBezTo>
                <a:moveTo>
                  <a:pt x="10555614" y="5519341"/>
                </a:moveTo>
                <a:cubicBezTo>
                  <a:pt x="10555614" y="5519341"/>
                  <a:pt x="10567822" y="5399226"/>
                  <a:pt x="10575783" y="5277870"/>
                </a:cubicBezTo>
                <a:lnTo>
                  <a:pt x="10591688" y="5035661"/>
                </a:lnTo>
                <a:cubicBezTo>
                  <a:pt x="10832070" y="5051426"/>
                  <a:pt x="11198942" y="5080645"/>
                  <a:pt x="11548855" y="5027347"/>
                </a:cubicBezTo>
                <a:moveTo>
                  <a:pt x="10337085" y="8913455"/>
                </a:moveTo>
                <a:lnTo>
                  <a:pt x="10305258" y="9397889"/>
                </a:lnTo>
                <a:lnTo>
                  <a:pt x="9021087" y="9313705"/>
                </a:lnTo>
                <a:moveTo>
                  <a:pt x="10337085" y="8913455"/>
                </a:moveTo>
                <a:lnTo>
                  <a:pt x="10368913" y="8428566"/>
                </a:lnTo>
                <a:moveTo>
                  <a:pt x="10337085" y="8913455"/>
                </a:moveTo>
                <a:lnTo>
                  <a:pt x="9052883" y="8829287"/>
                </a:lnTo>
                <a:moveTo>
                  <a:pt x="10464347" y="6974794"/>
                </a:moveTo>
                <a:lnTo>
                  <a:pt x="10432536" y="7459228"/>
                </a:lnTo>
                <a:lnTo>
                  <a:pt x="9148365" y="7375059"/>
                </a:lnTo>
                <a:lnTo>
                  <a:pt x="9116522" y="7859965"/>
                </a:lnTo>
                <a:moveTo>
                  <a:pt x="10782731" y="2127662"/>
                </a:moveTo>
                <a:lnTo>
                  <a:pt x="10750888" y="2612551"/>
                </a:lnTo>
                <a:moveTo>
                  <a:pt x="10750888" y="2612551"/>
                </a:moveTo>
                <a:lnTo>
                  <a:pt x="12035043" y="2696735"/>
                </a:lnTo>
                <a:moveTo>
                  <a:pt x="10750888" y="2612551"/>
                </a:moveTo>
                <a:lnTo>
                  <a:pt x="9466717" y="2528383"/>
                </a:lnTo>
                <a:moveTo>
                  <a:pt x="10687250" y="3581905"/>
                </a:moveTo>
                <a:lnTo>
                  <a:pt x="10655422" y="4066339"/>
                </a:lnTo>
                <a:moveTo>
                  <a:pt x="10687250" y="3581905"/>
                </a:moveTo>
                <a:lnTo>
                  <a:pt x="10719077" y="3096984"/>
                </a:lnTo>
                <a:moveTo>
                  <a:pt x="10687250" y="3581905"/>
                </a:moveTo>
                <a:lnTo>
                  <a:pt x="9403063" y="3497721"/>
                </a:lnTo>
                <a:moveTo>
                  <a:pt x="10655422" y="4066339"/>
                </a:moveTo>
                <a:lnTo>
                  <a:pt x="9371251" y="3982155"/>
                </a:lnTo>
                <a:moveTo>
                  <a:pt x="10655422" y="4066339"/>
                </a:moveTo>
                <a:lnTo>
                  <a:pt x="11939593" y="4150506"/>
                </a:lnTo>
                <a:moveTo>
                  <a:pt x="10368881" y="8428566"/>
                </a:moveTo>
                <a:lnTo>
                  <a:pt x="10400693" y="7944132"/>
                </a:lnTo>
                <a:lnTo>
                  <a:pt x="11684864" y="8028316"/>
                </a:lnTo>
                <a:moveTo>
                  <a:pt x="10368881" y="8428566"/>
                </a:moveTo>
                <a:lnTo>
                  <a:pt x="11653068" y="8512733"/>
                </a:lnTo>
                <a:moveTo>
                  <a:pt x="10368881" y="8428566"/>
                </a:moveTo>
                <a:lnTo>
                  <a:pt x="9084726" y="8344382"/>
                </a:lnTo>
                <a:moveTo>
                  <a:pt x="10491817" y="6490549"/>
                </a:moveTo>
                <a:cubicBezTo>
                  <a:pt x="10491817" y="6490549"/>
                  <a:pt x="10488198" y="6611245"/>
                  <a:pt x="10480222" y="6732585"/>
                </a:cubicBezTo>
                <a:lnTo>
                  <a:pt x="10464317" y="6974794"/>
                </a:lnTo>
                <a:lnTo>
                  <a:pt x="9180145" y="6890626"/>
                </a:lnTo>
                <a:moveTo>
                  <a:pt x="10507361" y="6003632"/>
                </a:moveTo>
                <a:cubicBezTo>
                  <a:pt x="10493548" y="6213997"/>
                  <a:pt x="10503444" y="6314386"/>
                  <a:pt x="10491943" y="6489606"/>
                </a:cubicBezTo>
                <a:cubicBezTo>
                  <a:pt x="10491943" y="6489606"/>
                  <a:pt x="10353966" y="6480568"/>
                  <a:pt x="10163458" y="6468073"/>
                </a:cubicBezTo>
                <a:lnTo>
                  <a:pt x="9212005" y="6405705"/>
                </a:lnTo>
                <a:moveTo>
                  <a:pt x="10507361" y="6003632"/>
                </a:moveTo>
                <a:lnTo>
                  <a:pt x="9243879" y="5920832"/>
                </a:lnTo>
                <a:moveTo>
                  <a:pt x="10507361" y="6003632"/>
                </a:moveTo>
                <a:lnTo>
                  <a:pt x="11123456" y="6044043"/>
                </a:lnTo>
                <a:moveTo>
                  <a:pt x="10782701" y="2127677"/>
                </a:moveTo>
                <a:lnTo>
                  <a:pt x="12066887" y="2211845"/>
                </a:lnTo>
                <a:moveTo>
                  <a:pt x="10782701" y="2127677"/>
                </a:moveTo>
                <a:lnTo>
                  <a:pt x="9498529" y="2043493"/>
                </a:lnTo>
                <a:moveTo>
                  <a:pt x="10750841" y="2612582"/>
                </a:moveTo>
                <a:lnTo>
                  <a:pt x="10719029" y="3097016"/>
                </a:lnTo>
                <a:lnTo>
                  <a:pt x="9434859" y="3012832"/>
                </a:lnTo>
                <a:moveTo>
                  <a:pt x="10623563" y="4551244"/>
                </a:moveTo>
                <a:lnTo>
                  <a:pt x="10591752" y="5035661"/>
                </a:lnTo>
                <a:lnTo>
                  <a:pt x="9307550" y="4951493"/>
                </a:lnTo>
                <a:lnTo>
                  <a:pt x="9275706" y="5436398"/>
                </a:lnTo>
                <a:moveTo>
                  <a:pt x="10623563" y="4551244"/>
                </a:moveTo>
                <a:lnTo>
                  <a:pt x="10655390" y="4066339"/>
                </a:lnTo>
                <a:moveTo>
                  <a:pt x="10623563" y="4551244"/>
                </a:moveTo>
                <a:lnTo>
                  <a:pt x="9339392" y="4467060"/>
                </a:lnTo>
                <a:moveTo>
                  <a:pt x="10432504" y="7459228"/>
                </a:moveTo>
                <a:lnTo>
                  <a:pt x="10400662" y="7944132"/>
                </a:lnTo>
                <a:lnTo>
                  <a:pt x="9116475" y="7859949"/>
                </a:lnTo>
                <a:moveTo>
                  <a:pt x="5662142" y="1780254"/>
                </a:moveTo>
                <a:cubicBezTo>
                  <a:pt x="5661451" y="2001826"/>
                  <a:pt x="5657045" y="2068815"/>
                  <a:pt x="5658194" y="2262267"/>
                </a:cubicBezTo>
                <a:moveTo>
                  <a:pt x="5662142" y="1780254"/>
                </a:moveTo>
                <a:cubicBezTo>
                  <a:pt x="5366902" y="1715262"/>
                  <a:pt x="4894730" y="1114507"/>
                  <a:pt x="4402830" y="1082261"/>
                </a:cubicBezTo>
                <a:moveTo>
                  <a:pt x="5662142" y="1780254"/>
                </a:moveTo>
                <a:cubicBezTo>
                  <a:pt x="5753786" y="1805088"/>
                  <a:pt x="6336921" y="1836241"/>
                  <a:pt x="6479129" y="1845561"/>
                </a:cubicBezTo>
                <a:lnTo>
                  <a:pt x="6930187" y="1875142"/>
                </a:lnTo>
                <a:moveTo>
                  <a:pt x="5658194" y="2262267"/>
                </a:moveTo>
                <a:cubicBezTo>
                  <a:pt x="5209165" y="2055926"/>
                  <a:pt x="4912304" y="1707105"/>
                  <a:pt x="4366723" y="1631817"/>
                </a:cubicBezTo>
                <a:moveTo>
                  <a:pt x="5658194" y="2262267"/>
                </a:moveTo>
                <a:cubicBezTo>
                  <a:pt x="5740618" y="2281333"/>
                  <a:pt x="5827447" y="2289821"/>
                  <a:pt x="5911822" y="2295353"/>
                </a:cubicBezTo>
                <a:lnTo>
                  <a:pt x="6898297" y="2360015"/>
                </a:lnTo>
                <a:lnTo>
                  <a:pt x="6930156" y="1875126"/>
                </a:lnTo>
                <a:moveTo>
                  <a:pt x="5455005" y="4698958"/>
                </a:moveTo>
                <a:lnTo>
                  <a:pt x="5486817" y="4214524"/>
                </a:lnTo>
                <a:lnTo>
                  <a:pt x="6771003" y="4298708"/>
                </a:lnTo>
                <a:moveTo>
                  <a:pt x="5455005" y="4698958"/>
                </a:moveTo>
                <a:lnTo>
                  <a:pt x="6739176" y="4783142"/>
                </a:lnTo>
                <a:moveTo>
                  <a:pt x="5455005" y="4698958"/>
                </a:moveTo>
                <a:lnTo>
                  <a:pt x="5254428" y="4685802"/>
                </a:lnTo>
                <a:cubicBezTo>
                  <a:pt x="4865467" y="4660308"/>
                  <a:pt x="4587831" y="4887224"/>
                  <a:pt x="4154818" y="4858838"/>
                </a:cubicBezTo>
                <a:moveTo>
                  <a:pt x="5455005" y="4698958"/>
                </a:moveTo>
                <a:lnTo>
                  <a:pt x="5391335" y="5668281"/>
                </a:lnTo>
                <a:lnTo>
                  <a:pt x="4107179" y="5584097"/>
                </a:lnTo>
                <a:moveTo>
                  <a:pt x="5200355" y="8576736"/>
                </a:moveTo>
                <a:lnTo>
                  <a:pt x="5168543" y="9061169"/>
                </a:lnTo>
                <a:lnTo>
                  <a:pt x="3884356" y="8976986"/>
                </a:lnTo>
                <a:moveTo>
                  <a:pt x="5200355" y="8576736"/>
                </a:moveTo>
                <a:lnTo>
                  <a:pt x="5232197" y="8091847"/>
                </a:lnTo>
                <a:moveTo>
                  <a:pt x="5200355" y="8576736"/>
                </a:moveTo>
                <a:lnTo>
                  <a:pt x="3916184" y="8492568"/>
                </a:lnTo>
                <a:moveTo>
                  <a:pt x="5658225" y="2262283"/>
                </a:moveTo>
                <a:cubicBezTo>
                  <a:pt x="5658194" y="2449087"/>
                  <a:pt x="5652908" y="2602602"/>
                  <a:pt x="5637521" y="2763912"/>
                </a:cubicBezTo>
                <a:lnTo>
                  <a:pt x="6866517" y="2844465"/>
                </a:lnTo>
                <a:moveTo>
                  <a:pt x="5592415" y="3263937"/>
                </a:moveTo>
                <a:cubicBezTo>
                  <a:pt x="5613214" y="3060614"/>
                  <a:pt x="5631338" y="2930534"/>
                  <a:pt x="5637489" y="2763896"/>
                </a:cubicBezTo>
                <a:lnTo>
                  <a:pt x="4298128" y="2676113"/>
                </a:lnTo>
                <a:moveTo>
                  <a:pt x="5592415" y="3263937"/>
                </a:moveTo>
                <a:cubicBezTo>
                  <a:pt x="5579797" y="3456022"/>
                  <a:pt x="5550314" y="3580648"/>
                  <a:pt x="5533291" y="3742335"/>
                </a:cubicBezTo>
                <a:moveTo>
                  <a:pt x="5592415" y="3263937"/>
                </a:moveTo>
                <a:cubicBezTo>
                  <a:pt x="5662882" y="3261957"/>
                  <a:pt x="5679433" y="3253171"/>
                  <a:pt x="5848183" y="3264220"/>
                </a:cubicBezTo>
                <a:lnTo>
                  <a:pt x="6834674" y="3328898"/>
                </a:lnTo>
                <a:moveTo>
                  <a:pt x="5709640" y="821626"/>
                </a:moveTo>
                <a:lnTo>
                  <a:pt x="5677828" y="1306056"/>
                </a:lnTo>
                <a:lnTo>
                  <a:pt x="5622638" y="1302440"/>
                </a:lnTo>
                <a:cubicBezTo>
                  <a:pt x="5587616" y="1300143"/>
                  <a:pt x="5549244" y="1283984"/>
                  <a:pt x="5501527" y="1263917"/>
                </a:cubicBezTo>
                <a:cubicBezTo>
                  <a:pt x="5167678" y="1064647"/>
                  <a:pt x="4864665" y="809525"/>
                  <a:pt x="4424446" y="752908"/>
                </a:cubicBezTo>
                <a:moveTo>
                  <a:pt x="5709640" y="821626"/>
                </a:moveTo>
                <a:lnTo>
                  <a:pt x="5741483" y="336712"/>
                </a:lnTo>
                <a:moveTo>
                  <a:pt x="5709640" y="821626"/>
                </a:moveTo>
                <a:lnTo>
                  <a:pt x="5509063" y="808462"/>
                </a:lnTo>
                <a:cubicBezTo>
                  <a:pt x="5146092" y="784671"/>
                  <a:pt x="4841081" y="519528"/>
                  <a:pt x="4441500" y="493335"/>
                </a:cubicBezTo>
                <a:moveTo>
                  <a:pt x="5136715" y="9546074"/>
                </a:moveTo>
                <a:lnTo>
                  <a:pt x="5168575" y="9061169"/>
                </a:lnTo>
                <a:moveTo>
                  <a:pt x="5136715" y="9546074"/>
                </a:moveTo>
                <a:lnTo>
                  <a:pt x="6420871" y="9630242"/>
                </a:lnTo>
                <a:lnTo>
                  <a:pt x="6452730" y="9145353"/>
                </a:lnTo>
                <a:lnTo>
                  <a:pt x="7736885" y="9229521"/>
                </a:lnTo>
                <a:moveTo>
                  <a:pt x="5136715" y="9546074"/>
                </a:moveTo>
                <a:lnTo>
                  <a:pt x="3852544" y="9461890"/>
                </a:lnTo>
                <a:moveTo>
                  <a:pt x="5486801" y="4214981"/>
                </a:moveTo>
                <a:lnTo>
                  <a:pt x="5491773" y="4139080"/>
                </a:lnTo>
                <a:cubicBezTo>
                  <a:pt x="5493283" y="4116132"/>
                  <a:pt x="5495548" y="4089931"/>
                  <a:pt x="5497892" y="4062315"/>
                </a:cubicBezTo>
                <a:cubicBezTo>
                  <a:pt x="5510605" y="3957761"/>
                  <a:pt x="5519840" y="3817198"/>
                  <a:pt x="5533276" y="3742335"/>
                </a:cubicBezTo>
                <a:cubicBezTo>
                  <a:pt x="5084168" y="3869569"/>
                  <a:pt x="4743051" y="4283855"/>
                  <a:pt x="4193442" y="4269945"/>
                </a:cubicBezTo>
                <a:moveTo>
                  <a:pt x="5327633" y="6638091"/>
                </a:moveTo>
                <a:lnTo>
                  <a:pt x="5359476" y="6153186"/>
                </a:lnTo>
                <a:lnTo>
                  <a:pt x="6643678" y="6237369"/>
                </a:lnTo>
                <a:moveTo>
                  <a:pt x="5327633" y="6638091"/>
                </a:moveTo>
                <a:lnTo>
                  <a:pt x="5295821" y="7122508"/>
                </a:lnTo>
                <a:moveTo>
                  <a:pt x="5327633" y="6638091"/>
                </a:moveTo>
                <a:lnTo>
                  <a:pt x="6611819" y="6722259"/>
                </a:lnTo>
                <a:moveTo>
                  <a:pt x="5327633" y="6638091"/>
                </a:moveTo>
                <a:lnTo>
                  <a:pt x="4043446" y="6553891"/>
                </a:lnTo>
                <a:moveTo>
                  <a:pt x="5295821" y="7122508"/>
                </a:moveTo>
                <a:lnTo>
                  <a:pt x="4011634" y="7038325"/>
                </a:lnTo>
                <a:moveTo>
                  <a:pt x="5295821" y="7122508"/>
                </a:moveTo>
                <a:lnTo>
                  <a:pt x="6579992" y="7206692"/>
                </a:lnTo>
                <a:moveTo>
                  <a:pt x="5391303" y="5668281"/>
                </a:moveTo>
                <a:lnTo>
                  <a:pt x="5359460" y="6153186"/>
                </a:lnTo>
                <a:lnTo>
                  <a:pt x="4075304" y="6069002"/>
                </a:lnTo>
                <a:moveTo>
                  <a:pt x="5676774" y="1305997"/>
                </a:moveTo>
                <a:cubicBezTo>
                  <a:pt x="5669647" y="1463154"/>
                  <a:pt x="5653285" y="1622999"/>
                  <a:pt x="5661592" y="1780223"/>
                </a:cubicBezTo>
                <a:moveTo>
                  <a:pt x="5295774" y="7122508"/>
                </a:moveTo>
                <a:lnTo>
                  <a:pt x="5263931" y="7607414"/>
                </a:lnTo>
                <a:lnTo>
                  <a:pt x="3979775" y="7523230"/>
                </a:lnTo>
                <a:moveTo>
                  <a:pt x="1666131" y="3477068"/>
                </a:moveTo>
                <a:lnTo>
                  <a:pt x="1697943" y="2992651"/>
                </a:lnTo>
                <a:moveTo>
                  <a:pt x="1666131" y="3477068"/>
                </a:moveTo>
                <a:lnTo>
                  <a:pt x="1634272" y="3961989"/>
                </a:lnTo>
                <a:moveTo>
                  <a:pt x="1666131" y="3477068"/>
                </a:moveTo>
                <a:lnTo>
                  <a:pt x="381954" y="3392900"/>
                </a:lnTo>
                <a:moveTo>
                  <a:pt x="1666131" y="3477068"/>
                </a:moveTo>
                <a:lnTo>
                  <a:pt x="2652607" y="3541731"/>
                </a:lnTo>
                <a:cubicBezTo>
                  <a:pt x="2687093" y="3543994"/>
                  <a:pt x="2872724" y="3549574"/>
                  <a:pt x="2934679" y="3571987"/>
                </a:cubicBezTo>
                <a:moveTo>
                  <a:pt x="1697943" y="2992651"/>
                </a:moveTo>
                <a:lnTo>
                  <a:pt x="1729801" y="2507730"/>
                </a:lnTo>
                <a:moveTo>
                  <a:pt x="1697943" y="2992651"/>
                </a:moveTo>
                <a:lnTo>
                  <a:pt x="403160" y="2907760"/>
                </a:lnTo>
                <a:moveTo>
                  <a:pt x="1602492" y="4446422"/>
                </a:moveTo>
                <a:lnTo>
                  <a:pt x="1634304" y="3961989"/>
                </a:lnTo>
                <a:moveTo>
                  <a:pt x="1602492" y="4446422"/>
                </a:moveTo>
                <a:lnTo>
                  <a:pt x="2886663" y="4530606"/>
                </a:lnTo>
                <a:moveTo>
                  <a:pt x="1602492" y="4446422"/>
                </a:moveTo>
                <a:lnTo>
                  <a:pt x="318315" y="4362239"/>
                </a:lnTo>
                <a:moveTo>
                  <a:pt x="1347818" y="8324201"/>
                </a:moveTo>
                <a:lnTo>
                  <a:pt x="1379664" y="7839312"/>
                </a:lnTo>
                <a:moveTo>
                  <a:pt x="1347818" y="8324201"/>
                </a:moveTo>
                <a:lnTo>
                  <a:pt x="2631997" y="8408384"/>
                </a:lnTo>
                <a:lnTo>
                  <a:pt x="2663840" y="7923495"/>
                </a:lnTo>
                <a:moveTo>
                  <a:pt x="1347818" y="8324201"/>
                </a:moveTo>
                <a:lnTo>
                  <a:pt x="63640" y="8240033"/>
                </a:lnTo>
                <a:moveTo>
                  <a:pt x="1411411" y="7354878"/>
                </a:moveTo>
                <a:lnTo>
                  <a:pt x="1443258" y="6869973"/>
                </a:lnTo>
                <a:lnTo>
                  <a:pt x="2727447" y="6954157"/>
                </a:lnTo>
                <a:moveTo>
                  <a:pt x="1411411" y="7354878"/>
                </a:moveTo>
                <a:lnTo>
                  <a:pt x="1379615" y="7839312"/>
                </a:lnTo>
                <a:moveTo>
                  <a:pt x="1411411" y="7354878"/>
                </a:moveTo>
                <a:lnTo>
                  <a:pt x="127234" y="7270695"/>
                </a:lnTo>
                <a:moveTo>
                  <a:pt x="1793456" y="1538423"/>
                </a:moveTo>
                <a:lnTo>
                  <a:pt x="1825315" y="1053519"/>
                </a:lnTo>
                <a:moveTo>
                  <a:pt x="1793456" y="1538423"/>
                </a:moveTo>
                <a:lnTo>
                  <a:pt x="509285" y="1454241"/>
                </a:lnTo>
                <a:moveTo>
                  <a:pt x="1793456" y="1538423"/>
                </a:moveTo>
                <a:lnTo>
                  <a:pt x="2244530" y="1567988"/>
                </a:lnTo>
                <a:cubicBezTo>
                  <a:pt x="2787908" y="1603604"/>
                  <a:pt x="2932571" y="1632399"/>
                  <a:pt x="3063877" y="1613223"/>
                </a:cubicBezTo>
                <a:moveTo>
                  <a:pt x="1825315" y="1053519"/>
                </a:moveTo>
                <a:lnTo>
                  <a:pt x="1857095" y="569070"/>
                </a:lnTo>
                <a:moveTo>
                  <a:pt x="1825315" y="1053519"/>
                </a:moveTo>
                <a:lnTo>
                  <a:pt x="541117" y="969340"/>
                </a:lnTo>
                <a:moveTo>
                  <a:pt x="1315958" y="8808634"/>
                </a:moveTo>
                <a:lnTo>
                  <a:pt x="1284111" y="9293539"/>
                </a:lnTo>
                <a:lnTo>
                  <a:pt x="2568295" y="9377707"/>
                </a:lnTo>
                <a:moveTo>
                  <a:pt x="1538806" y="5415746"/>
                </a:moveTo>
                <a:lnTo>
                  <a:pt x="1570617" y="4931312"/>
                </a:lnTo>
                <a:moveTo>
                  <a:pt x="1538806" y="5415746"/>
                </a:moveTo>
                <a:lnTo>
                  <a:pt x="1506961" y="5900650"/>
                </a:lnTo>
                <a:moveTo>
                  <a:pt x="1538806" y="5415746"/>
                </a:moveTo>
                <a:lnTo>
                  <a:pt x="254622" y="5331577"/>
                </a:lnTo>
                <a:moveTo>
                  <a:pt x="1570617" y="4931312"/>
                </a:moveTo>
                <a:lnTo>
                  <a:pt x="1602461" y="4446407"/>
                </a:lnTo>
                <a:moveTo>
                  <a:pt x="1570617" y="4931312"/>
                </a:moveTo>
                <a:lnTo>
                  <a:pt x="286431" y="4847128"/>
                </a:lnTo>
                <a:moveTo>
                  <a:pt x="1729786" y="2507761"/>
                </a:moveTo>
                <a:lnTo>
                  <a:pt x="1761597" y="2023328"/>
                </a:lnTo>
                <a:cubicBezTo>
                  <a:pt x="1979166" y="2037584"/>
                  <a:pt x="2196718" y="2051840"/>
                  <a:pt x="2414287" y="2066111"/>
                </a:cubicBezTo>
                <a:cubicBezTo>
                  <a:pt x="2523063" y="2073247"/>
                  <a:pt x="2631855" y="2080367"/>
                  <a:pt x="2740663" y="2087031"/>
                </a:cubicBezTo>
                <a:cubicBezTo>
                  <a:pt x="2822914" y="2092423"/>
                  <a:pt x="2923603" y="2109382"/>
                  <a:pt x="3004360" y="2088776"/>
                </a:cubicBezTo>
                <a:moveTo>
                  <a:pt x="1729786" y="2507761"/>
                </a:moveTo>
                <a:lnTo>
                  <a:pt x="2958782" y="2588330"/>
                </a:lnTo>
                <a:moveTo>
                  <a:pt x="1729786" y="2507761"/>
                </a:moveTo>
                <a:lnTo>
                  <a:pt x="434989" y="2422886"/>
                </a:lnTo>
                <a:moveTo>
                  <a:pt x="1475135" y="6385540"/>
                </a:moveTo>
                <a:lnTo>
                  <a:pt x="1443319" y="6869973"/>
                </a:lnTo>
                <a:lnTo>
                  <a:pt x="159142" y="6785789"/>
                </a:lnTo>
                <a:moveTo>
                  <a:pt x="1475135" y="6385540"/>
                </a:moveTo>
                <a:lnTo>
                  <a:pt x="1506961" y="5900650"/>
                </a:lnTo>
                <a:moveTo>
                  <a:pt x="1475135" y="6385540"/>
                </a:moveTo>
                <a:lnTo>
                  <a:pt x="190938" y="6301372"/>
                </a:lnTo>
                <a:moveTo>
                  <a:pt x="1857095" y="569070"/>
                </a:moveTo>
                <a:lnTo>
                  <a:pt x="1888954" y="84169"/>
                </a:lnTo>
                <a:moveTo>
                  <a:pt x="1857095" y="569070"/>
                </a:moveTo>
                <a:lnTo>
                  <a:pt x="3141266" y="653251"/>
                </a:lnTo>
                <a:lnTo>
                  <a:pt x="3173109" y="168350"/>
                </a:lnTo>
                <a:moveTo>
                  <a:pt x="1857095" y="569070"/>
                </a:moveTo>
                <a:lnTo>
                  <a:pt x="572924" y="484891"/>
                </a:lnTo>
                <a:moveTo>
                  <a:pt x="1379615" y="7839312"/>
                </a:moveTo>
                <a:lnTo>
                  <a:pt x="95437" y="7755128"/>
                </a:lnTo>
                <a:moveTo>
                  <a:pt x="1379615" y="7839312"/>
                </a:moveTo>
                <a:lnTo>
                  <a:pt x="2663793" y="7923495"/>
                </a:lnTo>
                <a:moveTo>
                  <a:pt x="1634272" y="3961989"/>
                </a:moveTo>
                <a:lnTo>
                  <a:pt x="2918475" y="4046173"/>
                </a:lnTo>
                <a:moveTo>
                  <a:pt x="1634272" y="3961989"/>
                </a:moveTo>
                <a:lnTo>
                  <a:pt x="350101" y="3877805"/>
                </a:lnTo>
                <a:moveTo>
                  <a:pt x="1506961" y="5900650"/>
                </a:moveTo>
                <a:lnTo>
                  <a:pt x="222779" y="5816467"/>
                </a:lnTo>
                <a:moveTo>
                  <a:pt x="1506961" y="5900650"/>
                </a:moveTo>
                <a:lnTo>
                  <a:pt x="2791118" y="5984834"/>
                </a:lnTo>
                <a:moveTo>
                  <a:pt x="1793441" y="1538407"/>
                </a:moveTo>
                <a:lnTo>
                  <a:pt x="1761597" y="2023296"/>
                </a:lnTo>
                <a:lnTo>
                  <a:pt x="477423" y="1939128"/>
                </a:lnTo>
                <a:moveTo>
                  <a:pt x="1347747" y="8324185"/>
                </a:moveTo>
                <a:lnTo>
                  <a:pt x="1315932" y="8808618"/>
                </a:lnTo>
                <a:lnTo>
                  <a:pt x="31754" y="8724434"/>
                </a:lnTo>
                <a:moveTo>
                  <a:pt x="2918475" y="4046173"/>
                </a:moveTo>
                <a:lnTo>
                  <a:pt x="2886663" y="4530606"/>
                </a:lnTo>
                <a:moveTo>
                  <a:pt x="2918475" y="4046173"/>
                </a:moveTo>
                <a:lnTo>
                  <a:pt x="2923446" y="3970272"/>
                </a:lnTo>
                <a:cubicBezTo>
                  <a:pt x="2936268" y="3774918"/>
                  <a:pt x="2932414" y="3696062"/>
                  <a:pt x="2934176" y="3571956"/>
                </a:cubicBezTo>
                <a:moveTo>
                  <a:pt x="2886663" y="4530606"/>
                </a:moveTo>
                <a:lnTo>
                  <a:pt x="3087240" y="4543731"/>
                </a:lnTo>
                <a:cubicBezTo>
                  <a:pt x="3444909" y="4575182"/>
                  <a:pt x="3702171" y="4829179"/>
                  <a:pt x="4154818" y="4858838"/>
                </a:cubicBezTo>
                <a:moveTo>
                  <a:pt x="2958782" y="2588330"/>
                </a:moveTo>
                <a:cubicBezTo>
                  <a:pt x="2969276" y="2428560"/>
                  <a:pt x="2978479" y="2288484"/>
                  <a:pt x="3003841" y="2088289"/>
                </a:cubicBezTo>
                <a:cubicBezTo>
                  <a:pt x="3030382" y="1960174"/>
                  <a:pt x="3042701" y="1772757"/>
                  <a:pt x="3062980" y="1609875"/>
                </a:cubicBezTo>
                <a:moveTo>
                  <a:pt x="2958782" y="2588330"/>
                </a:moveTo>
                <a:cubicBezTo>
                  <a:pt x="2949578" y="2728406"/>
                  <a:pt x="2947659" y="2895295"/>
                  <a:pt x="2938062" y="3089943"/>
                </a:cubicBezTo>
                <a:cubicBezTo>
                  <a:pt x="3368746" y="3299789"/>
                  <a:pt x="3715591" y="3698954"/>
                  <a:pt x="4229533" y="3720409"/>
                </a:cubicBezTo>
                <a:lnTo>
                  <a:pt x="4298128" y="2676113"/>
                </a:lnTo>
                <a:moveTo>
                  <a:pt x="2958782" y="2588330"/>
                </a:moveTo>
                <a:lnTo>
                  <a:pt x="4298128" y="2676113"/>
                </a:lnTo>
                <a:moveTo>
                  <a:pt x="3141329" y="653273"/>
                </a:moveTo>
                <a:lnTo>
                  <a:pt x="3109502" y="1137705"/>
                </a:lnTo>
                <a:moveTo>
                  <a:pt x="3109502" y="1137705"/>
                </a:moveTo>
                <a:cubicBezTo>
                  <a:pt x="3109502" y="1137705"/>
                  <a:pt x="3091236" y="1415528"/>
                  <a:pt x="3063043" y="1609891"/>
                </a:cubicBezTo>
                <a:cubicBezTo>
                  <a:pt x="3310976" y="1583784"/>
                  <a:pt x="3894456" y="1048938"/>
                  <a:pt x="4402830" y="1082261"/>
                </a:cubicBezTo>
                <a:moveTo>
                  <a:pt x="3109502" y="1137705"/>
                </a:moveTo>
                <a:lnTo>
                  <a:pt x="1825331" y="1053526"/>
                </a:lnTo>
                <a:moveTo>
                  <a:pt x="2938125" y="3089943"/>
                </a:moveTo>
                <a:cubicBezTo>
                  <a:pt x="2947360" y="3225115"/>
                  <a:pt x="2935057" y="3412516"/>
                  <a:pt x="2934176" y="3571956"/>
                </a:cubicBezTo>
                <a:moveTo>
                  <a:pt x="2934176" y="3571956"/>
                </a:moveTo>
                <a:cubicBezTo>
                  <a:pt x="3410281" y="3796089"/>
                  <a:pt x="3681781" y="4214289"/>
                  <a:pt x="4193489" y="4269945"/>
                </a:cubicBezTo>
                <a:lnTo>
                  <a:pt x="4229580" y="3720393"/>
                </a:lnTo>
                <a:moveTo>
                  <a:pt x="2854836" y="5015496"/>
                </a:moveTo>
                <a:lnTo>
                  <a:pt x="2823024" y="5499929"/>
                </a:lnTo>
                <a:moveTo>
                  <a:pt x="2854836" y="5015496"/>
                </a:moveTo>
                <a:lnTo>
                  <a:pt x="2886695" y="4530606"/>
                </a:lnTo>
                <a:moveTo>
                  <a:pt x="2854836" y="5015496"/>
                </a:moveTo>
                <a:lnTo>
                  <a:pt x="1570665" y="4931328"/>
                </a:lnTo>
                <a:moveTo>
                  <a:pt x="2823024" y="5499929"/>
                </a:moveTo>
                <a:lnTo>
                  <a:pt x="4107179" y="5584097"/>
                </a:lnTo>
                <a:moveTo>
                  <a:pt x="2823024" y="5499929"/>
                </a:moveTo>
                <a:lnTo>
                  <a:pt x="1538853" y="5415746"/>
                </a:lnTo>
                <a:moveTo>
                  <a:pt x="2663793" y="7923495"/>
                </a:moveTo>
                <a:lnTo>
                  <a:pt x="2695604" y="7439062"/>
                </a:lnTo>
                <a:lnTo>
                  <a:pt x="3979775" y="7523230"/>
                </a:lnTo>
                <a:moveTo>
                  <a:pt x="2663793" y="7923495"/>
                </a:moveTo>
                <a:lnTo>
                  <a:pt x="3947948" y="8007663"/>
                </a:lnTo>
                <a:lnTo>
                  <a:pt x="3979775" y="7523230"/>
                </a:lnTo>
                <a:moveTo>
                  <a:pt x="2568295" y="9377707"/>
                </a:moveTo>
                <a:lnTo>
                  <a:pt x="2600138" y="8892802"/>
                </a:lnTo>
                <a:lnTo>
                  <a:pt x="3884340" y="8976986"/>
                </a:lnTo>
                <a:lnTo>
                  <a:pt x="3916152" y="8492552"/>
                </a:lnTo>
                <a:moveTo>
                  <a:pt x="2568295" y="9377707"/>
                </a:moveTo>
                <a:lnTo>
                  <a:pt x="3852450" y="9461875"/>
                </a:lnTo>
                <a:lnTo>
                  <a:pt x="3884293" y="8976986"/>
                </a:lnTo>
                <a:moveTo>
                  <a:pt x="2822961" y="5499929"/>
                </a:moveTo>
                <a:lnTo>
                  <a:pt x="2791118" y="5984834"/>
                </a:lnTo>
                <a:moveTo>
                  <a:pt x="2791118" y="5984834"/>
                </a:moveTo>
                <a:lnTo>
                  <a:pt x="2759275" y="6469723"/>
                </a:lnTo>
                <a:moveTo>
                  <a:pt x="2791118" y="5984834"/>
                </a:moveTo>
                <a:lnTo>
                  <a:pt x="4075304" y="6069002"/>
                </a:lnTo>
                <a:moveTo>
                  <a:pt x="2759275" y="6469723"/>
                </a:moveTo>
                <a:lnTo>
                  <a:pt x="2727447" y="6954157"/>
                </a:lnTo>
                <a:moveTo>
                  <a:pt x="2759275" y="6469723"/>
                </a:moveTo>
                <a:lnTo>
                  <a:pt x="1475099" y="6385555"/>
                </a:lnTo>
                <a:moveTo>
                  <a:pt x="2759275" y="6469723"/>
                </a:moveTo>
                <a:lnTo>
                  <a:pt x="4043446" y="6553891"/>
                </a:lnTo>
                <a:moveTo>
                  <a:pt x="2727479" y="6954157"/>
                </a:moveTo>
                <a:lnTo>
                  <a:pt x="2695636" y="7439062"/>
                </a:lnTo>
                <a:lnTo>
                  <a:pt x="1411460" y="7354878"/>
                </a:lnTo>
                <a:moveTo>
                  <a:pt x="2727447" y="6954157"/>
                </a:moveTo>
                <a:lnTo>
                  <a:pt x="4011634" y="7038325"/>
                </a:lnTo>
                <a:moveTo>
                  <a:pt x="4298128" y="2676113"/>
                </a:moveTo>
                <a:lnTo>
                  <a:pt x="4366723" y="1631817"/>
                </a:lnTo>
                <a:moveTo>
                  <a:pt x="4043446" y="6553891"/>
                </a:moveTo>
                <a:lnTo>
                  <a:pt x="4011634" y="7038325"/>
                </a:lnTo>
                <a:moveTo>
                  <a:pt x="4043446" y="6553891"/>
                </a:moveTo>
                <a:lnTo>
                  <a:pt x="4075304" y="6069002"/>
                </a:lnTo>
                <a:moveTo>
                  <a:pt x="4011634" y="7038325"/>
                </a:moveTo>
                <a:lnTo>
                  <a:pt x="3979775" y="7523230"/>
                </a:lnTo>
                <a:moveTo>
                  <a:pt x="4457312" y="252523"/>
                </a:moveTo>
                <a:lnTo>
                  <a:pt x="4441500" y="493335"/>
                </a:lnTo>
                <a:moveTo>
                  <a:pt x="4441500" y="493335"/>
                </a:moveTo>
                <a:cubicBezTo>
                  <a:pt x="3970288" y="462446"/>
                  <a:pt x="3762176" y="693947"/>
                  <a:pt x="3341890" y="666397"/>
                </a:cubicBezTo>
                <a:lnTo>
                  <a:pt x="3141314" y="653248"/>
                </a:lnTo>
                <a:moveTo>
                  <a:pt x="4193505" y="4269945"/>
                </a:moveTo>
                <a:lnTo>
                  <a:pt x="4171904" y="4598837"/>
                </a:lnTo>
                <a:moveTo>
                  <a:pt x="4402830" y="1082261"/>
                </a:moveTo>
                <a:lnTo>
                  <a:pt x="4424415" y="753372"/>
                </a:lnTo>
                <a:cubicBezTo>
                  <a:pt x="4004680" y="725857"/>
                  <a:pt x="3684204" y="972102"/>
                  <a:pt x="3289752" y="1119395"/>
                </a:cubicBezTo>
                <a:cubicBezTo>
                  <a:pt x="3220355" y="1145431"/>
                  <a:pt x="3109439" y="1138162"/>
                  <a:pt x="3109439" y="1138162"/>
                </a:cubicBezTo>
                <a:moveTo>
                  <a:pt x="4366723" y="1631817"/>
                </a:moveTo>
                <a:cubicBezTo>
                  <a:pt x="3854086" y="1590684"/>
                  <a:pt x="3461082" y="1894286"/>
                  <a:pt x="3003872" y="2088273"/>
                </a:cubicBezTo>
                <a:moveTo>
                  <a:pt x="4402766" y="1082272"/>
                </a:moveTo>
                <a:lnTo>
                  <a:pt x="4366676" y="1631817"/>
                </a:lnTo>
                <a:moveTo>
                  <a:pt x="4107148" y="5584097"/>
                </a:moveTo>
                <a:lnTo>
                  <a:pt x="4075304" y="6069002"/>
                </a:lnTo>
                <a:moveTo>
                  <a:pt x="4136254" y="5141363"/>
                </a:moveTo>
                <a:lnTo>
                  <a:pt x="4107179" y="5584097"/>
                </a:lnTo>
                <a:moveTo>
                  <a:pt x="4136254" y="5141363"/>
                </a:moveTo>
                <a:lnTo>
                  <a:pt x="4154818" y="4858838"/>
                </a:lnTo>
                <a:moveTo>
                  <a:pt x="4136254" y="5141363"/>
                </a:moveTo>
                <a:cubicBezTo>
                  <a:pt x="4432360" y="5160774"/>
                  <a:pt x="4743963" y="5139303"/>
                  <a:pt x="4901023" y="5149598"/>
                </a:cubicBezTo>
                <a:lnTo>
                  <a:pt x="5423193" y="5183816"/>
                </a:lnTo>
                <a:moveTo>
                  <a:pt x="4136254" y="5141363"/>
                </a:moveTo>
                <a:cubicBezTo>
                  <a:pt x="3793987" y="5118934"/>
                  <a:pt x="3618063" y="5071136"/>
                  <a:pt x="3509586" y="5059317"/>
                </a:cubicBezTo>
                <a:cubicBezTo>
                  <a:pt x="3292143" y="5035174"/>
                  <a:pt x="3072923" y="5029751"/>
                  <a:pt x="2854836" y="5015464"/>
                </a:cubicBezTo>
                <a:moveTo>
                  <a:pt x="3948026" y="8007663"/>
                </a:moveTo>
                <a:lnTo>
                  <a:pt x="3916184" y="8492568"/>
                </a:lnTo>
                <a:moveTo>
                  <a:pt x="3916184" y="8492568"/>
                </a:moveTo>
                <a:lnTo>
                  <a:pt x="2632012" y="8408369"/>
                </a:lnTo>
                <a:lnTo>
                  <a:pt x="2600201" y="8892802"/>
                </a:lnTo>
                <a:lnTo>
                  <a:pt x="1316024" y="8808634"/>
                </a:lnTo>
                <a:moveTo>
                  <a:pt x="4154818" y="4858838"/>
                </a:moveTo>
                <a:lnTo>
                  <a:pt x="4171888" y="4598837"/>
                </a:lnTo>
                <a:moveTo>
                  <a:pt x="4441469" y="493350"/>
                </a:moveTo>
                <a:lnTo>
                  <a:pt x="4424383" y="753369"/>
                </a:lnTo>
                <a:moveTo>
                  <a:pt x="4171888" y="4598837"/>
                </a:moveTo>
                <a:cubicBezTo>
                  <a:pt x="4665409" y="4655184"/>
                  <a:pt x="5160991" y="4193149"/>
                  <a:pt x="5486817" y="4214493"/>
                </a:cubicBezTo>
                <a:moveTo>
                  <a:pt x="4171888" y="4598837"/>
                </a:moveTo>
                <a:cubicBezTo>
                  <a:pt x="3763308" y="4596055"/>
                  <a:pt x="3251726" y="4067989"/>
                  <a:pt x="2918475" y="4046141"/>
                </a:cubicBezTo>
                <a:moveTo>
                  <a:pt x="6516337" y="8176030"/>
                </a:moveTo>
                <a:lnTo>
                  <a:pt x="6484494" y="8660920"/>
                </a:lnTo>
                <a:lnTo>
                  <a:pt x="5200323" y="8576751"/>
                </a:lnTo>
                <a:moveTo>
                  <a:pt x="6516337" y="8176030"/>
                </a:moveTo>
                <a:lnTo>
                  <a:pt x="6548180" y="7691597"/>
                </a:lnTo>
                <a:lnTo>
                  <a:pt x="7832335" y="7775781"/>
                </a:lnTo>
                <a:moveTo>
                  <a:pt x="6516337" y="8176030"/>
                </a:moveTo>
                <a:lnTo>
                  <a:pt x="5232182" y="8091847"/>
                </a:lnTo>
                <a:moveTo>
                  <a:pt x="6516337" y="8176030"/>
                </a:moveTo>
                <a:lnTo>
                  <a:pt x="7800540" y="8260199"/>
                </a:lnTo>
                <a:moveTo>
                  <a:pt x="6484447" y="8660904"/>
                </a:moveTo>
                <a:lnTo>
                  <a:pt x="6452635" y="9145338"/>
                </a:lnTo>
                <a:lnTo>
                  <a:pt x="5168449" y="9061154"/>
                </a:lnTo>
                <a:moveTo>
                  <a:pt x="6707364" y="5268031"/>
                </a:moveTo>
                <a:lnTo>
                  <a:pt x="6675537" y="5752465"/>
                </a:lnTo>
                <a:moveTo>
                  <a:pt x="6675537" y="5752465"/>
                </a:moveTo>
                <a:lnTo>
                  <a:pt x="6643678" y="6237369"/>
                </a:lnTo>
                <a:moveTo>
                  <a:pt x="6675537" y="5752465"/>
                </a:moveTo>
                <a:lnTo>
                  <a:pt x="7959724" y="5836648"/>
                </a:lnTo>
                <a:moveTo>
                  <a:pt x="6675537" y="5752465"/>
                </a:moveTo>
                <a:lnTo>
                  <a:pt x="5391366" y="5668297"/>
                </a:lnTo>
                <a:moveTo>
                  <a:pt x="6739145" y="4783126"/>
                </a:moveTo>
                <a:lnTo>
                  <a:pt x="6707301" y="5268031"/>
                </a:lnTo>
                <a:lnTo>
                  <a:pt x="5423115" y="5183847"/>
                </a:lnTo>
                <a:moveTo>
                  <a:pt x="6771003" y="4298708"/>
                </a:moveTo>
                <a:lnTo>
                  <a:pt x="6802846" y="3813819"/>
                </a:lnTo>
                <a:lnTo>
                  <a:pt x="8087017" y="3897971"/>
                </a:lnTo>
                <a:lnTo>
                  <a:pt x="8118845" y="3413538"/>
                </a:lnTo>
                <a:moveTo>
                  <a:pt x="6771003" y="4298708"/>
                </a:moveTo>
                <a:lnTo>
                  <a:pt x="6739176" y="4783142"/>
                </a:lnTo>
                <a:moveTo>
                  <a:pt x="6962031" y="1390234"/>
                </a:moveTo>
                <a:lnTo>
                  <a:pt x="6930187" y="1875142"/>
                </a:lnTo>
                <a:moveTo>
                  <a:pt x="6962031" y="1390234"/>
                </a:moveTo>
                <a:lnTo>
                  <a:pt x="6993842" y="905794"/>
                </a:lnTo>
                <a:moveTo>
                  <a:pt x="6962031" y="1390234"/>
                </a:moveTo>
                <a:lnTo>
                  <a:pt x="5677875" y="1306052"/>
                </a:lnTo>
                <a:moveTo>
                  <a:pt x="6962031" y="1390234"/>
                </a:moveTo>
                <a:lnTo>
                  <a:pt x="8246217" y="1474414"/>
                </a:lnTo>
                <a:moveTo>
                  <a:pt x="6930187" y="1875142"/>
                </a:moveTo>
                <a:lnTo>
                  <a:pt x="8214374" y="1959310"/>
                </a:lnTo>
                <a:lnTo>
                  <a:pt x="8246217" y="1474414"/>
                </a:lnTo>
                <a:moveTo>
                  <a:pt x="7025685" y="420894"/>
                </a:moveTo>
                <a:lnTo>
                  <a:pt x="6993842" y="905794"/>
                </a:lnTo>
                <a:moveTo>
                  <a:pt x="6993842" y="905794"/>
                </a:moveTo>
                <a:lnTo>
                  <a:pt x="5709671" y="821615"/>
                </a:lnTo>
                <a:moveTo>
                  <a:pt x="6993842" y="905794"/>
                </a:moveTo>
                <a:lnTo>
                  <a:pt x="8278013" y="989967"/>
                </a:lnTo>
                <a:lnTo>
                  <a:pt x="8309856" y="505066"/>
                </a:lnTo>
                <a:moveTo>
                  <a:pt x="6739176" y="4783142"/>
                </a:moveTo>
                <a:lnTo>
                  <a:pt x="8023347" y="4867310"/>
                </a:lnTo>
                <a:moveTo>
                  <a:pt x="6611819" y="6722259"/>
                </a:moveTo>
                <a:lnTo>
                  <a:pt x="6579992" y="7206692"/>
                </a:lnTo>
                <a:moveTo>
                  <a:pt x="6611819" y="6722259"/>
                </a:moveTo>
                <a:lnTo>
                  <a:pt x="6643647" y="6237369"/>
                </a:lnTo>
                <a:moveTo>
                  <a:pt x="6611819" y="6722259"/>
                </a:moveTo>
                <a:lnTo>
                  <a:pt x="7895990" y="6806442"/>
                </a:lnTo>
                <a:moveTo>
                  <a:pt x="6579992" y="7206692"/>
                </a:moveTo>
                <a:lnTo>
                  <a:pt x="6548133" y="7691613"/>
                </a:lnTo>
                <a:lnTo>
                  <a:pt x="5263978" y="7607414"/>
                </a:lnTo>
                <a:lnTo>
                  <a:pt x="5232150" y="8091847"/>
                </a:lnTo>
                <a:lnTo>
                  <a:pt x="3947979" y="8007663"/>
                </a:lnTo>
                <a:moveTo>
                  <a:pt x="6643678" y="6237369"/>
                </a:moveTo>
                <a:lnTo>
                  <a:pt x="7927849" y="6321553"/>
                </a:lnTo>
                <a:moveTo>
                  <a:pt x="6898344" y="2360031"/>
                </a:moveTo>
                <a:lnTo>
                  <a:pt x="6866517" y="2844465"/>
                </a:lnTo>
                <a:moveTo>
                  <a:pt x="6866517" y="2844465"/>
                </a:moveTo>
                <a:lnTo>
                  <a:pt x="8150688" y="2928648"/>
                </a:lnTo>
                <a:moveTo>
                  <a:pt x="6866517" y="2844465"/>
                </a:moveTo>
                <a:lnTo>
                  <a:pt x="6802862" y="3813787"/>
                </a:lnTo>
                <a:moveTo>
                  <a:pt x="7832335" y="7775781"/>
                </a:moveTo>
                <a:lnTo>
                  <a:pt x="7864178" y="7290876"/>
                </a:lnTo>
                <a:moveTo>
                  <a:pt x="7832335" y="7775781"/>
                </a:moveTo>
                <a:lnTo>
                  <a:pt x="7800540" y="8260199"/>
                </a:lnTo>
                <a:moveTo>
                  <a:pt x="7832335" y="7775781"/>
                </a:moveTo>
                <a:lnTo>
                  <a:pt x="9116522" y="7859965"/>
                </a:lnTo>
                <a:moveTo>
                  <a:pt x="7864178" y="7290876"/>
                </a:moveTo>
                <a:lnTo>
                  <a:pt x="7895990" y="6806442"/>
                </a:lnTo>
                <a:moveTo>
                  <a:pt x="7864178" y="7290876"/>
                </a:moveTo>
                <a:lnTo>
                  <a:pt x="6580023" y="7206692"/>
                </a:lnTo>
                <a:moveTo>
                  <a:pt x="7864178" y="7290876"/>
                </a:moveTo>
                <a:lnTo>
                  <a:pt x="9148365" y="7375028"/>
                </a:lnTo>
                <a:lnTo>
                  <a:pt x="9180177" y="6890626"/>
                </a:lnTo>
                <a:moveTo>
                  <a:pt x="8023347" y="4867310"/>
                </a:moveTo>
                <a:lnTo>
                  <a:pt x="7991504" y="5352199"/>
                </a:lnTo>
                <a:lnTo>
                  <a:pt x="6707317" y="5268031"/>
                </a:lnTo>
                <a:moveTo>
                  <a:pt x="8023347" y="4867310"/>
                </a:moveTo>
                <a:lnTo>
                  <a:pt x="8055159" y="4382892"/>
                </a:lnTo>
                <a:moveTo>
                  <a:pt x="8023347" y="4867310"/>
                </a:moveTo>
                <a:lnTo>
                  <a:pt x="9307518" y="4951493"/>
                </a:lnTo>
                <a:lnTo>
                  <a:pt x="9339345" y="4467060"/>
                </a:lnTo>
                <a:moveTo>
                  <a:pt x="8150735" y="2928633"/>
                </a:moveTo>
                <a:lnTo>
                  <a:pt x="8118892" y="3413522"/>
                </a:lnTo>
                <a:moveTo>
                  <a:pt x="8118892" y="3413522"/>
                </a:moveTo>
                <a:lnTo>
                  <a:pt x="6834705" y="3329354"/>
                </a:lnTo>
                <a:moveTo>
                  <a:pt x="8118892" y="3413522"/>
                </a:moveTo>
                <a:lnTo>
                  <a:pt x="9403063" y="3497721"/>
                </a:lnTo>
                <a:moveTo>
                  <a:pt x="7927849" y="6321553"/>
                </a:moveTo>
                <a:lnTo>
                  <a:pt x="7895990" y="6806442"/>
                </a:lnTo>
                <a:moveTo>
                  <a:pt x="7927849" y="6321553"/>
                </a:moveTo>
                <a:lnTo>
                  <a:pt x="7959692" y="5836632"/>
                </a:lnTo>
                <a:moveTo>
                  <a:pt x="7895990" y="6806442"/>
                </a:moveTo>
                <a:lnTo>
                  <a:pt x="9180177" y="6890626"/>
                </a:lnTo>
                <a:moveTo>
                  <a:pt x="7736885" y="9229521"/>
                </a:moveTo>
                <a:lnTo>
                  <a:pt x="7705010" y="9714426"/>
                </a:lnTo>
                <a:moveTo>
                  <a:pt x="7736885" y="9229521"/>
                </a:moveTo>
                <a:lnTo>
                  <a:pt x="9021040" y="9313690"/>
                </a:lnTo>
                <a:moveTo>
                  <a:pt x="7736885" y="9229521"/>
                </a:moveTo>
                <a:lnTo>
                  <a:pt x="7800540" y="8260199"/>
                </a:lnTo>
                <a:moveTo>
                  <a:pt x="8087049" y="3897987"/>
                </a:moveTo>
                <a:lnTo>
                  <a:pt x="8055206" y="4382892"/>
                </a:lnTo>
                <a:moveTo>
                  <a:pt x="8055206" y="4382892"/>
                </a:moveTo>
                <a:lnTo>
                  <a:pt x="6771019" y="4298708"/>
                </a:lnTo>
                <a:moveTo>
                  <a:pt x="8055206" y="4382892"/>
                </a:moveTo>
                <a:lnTo>
                  <a:pt x="9339392" y="4467060"/>
                </a:lnTo>
                <a:moveTo>
                  <a:pt x="7959724" y="5836648"/>
                </a:moveTo>
                <a:lnTo>
                  <a:pt x="7991535" y="5352214"/>
                </a:lnTo>
                <a:lnTo>
                  <a:pt x="9275706" y="5436398"/>
                </a:lnTo>
                <a:moveTo>
                  <a:pt x="7959724" y="5836648"/>
                </a:moveTo>
                <a:lnTo>
                  <a:pt x="9243879" y="5920832"/>
                </a:lnTo>
                <a:moveTo>
                  <a:pt x="7705010" y="9714426"/>
                </a:moveTo>
                <a:lnTo>
                  <a:pt x="6420839" y="9630242"/>
                </a:lnTo>
                <a:moveTo>
                  <a:pt x="7705010" y="9714426"/>
                </a:moveTo>
                <a:lnTo>
                  <a:pt x="8989196" y="9798594"/>
                </a:lnTo>
                <a:lnTo>
                  <a:pt x="9021040" y="9313690"/>
                </a:lnTo>
                <a:moveTo>
                  <a:pt x="8246217" y="1474414"/>
                </a:moveTo>
                <a:lnTo>
                  <a:pt x="8278029" y="989981"/>
                </a:lnTo>
                <a:lnTo>
                  <a:pt x="9562184" y="1074155"/>
                </a:lnTo>
                <a:moveTo>
                  <a:pt x="7800540" y="8260199"/>
                </a:moveTo>
                <a:lnTo>
                  <a:pt x="9084726" y="8344382"/>
                </a:lnTo>
                <a:moveTo>
                  <a:pt x="8182500" y="2444199"/>
                </a:moveTo>
                <a:lnTo>
                  <a:pt x="8214343" y="1959294"/>
                </a:lnTo>
                <a:lnTo>
                  <a:pt x="9498529" y="2043493"/>
                </a:lnTo>
                <a:moveTo>
                  <a:pt x="8182500" y="2444199"/>
                </a:moveTo>
                <a:lnTo>
                  <a:pt x="8150688" y="2928648"/>
                </a:lnTo>
                <a:moveTo>
                  <a:pt x="8182500" y="2444199"/>
                </a:moveTo>
                <a:lnTo>
                  <a:pt x="9466686" y="2528399"/>
                </a:lnTo>
                <a:moveTo>
                  <a:pt x="8182500" y="2444199"/>
                </a:moveTo>
                <a:lnTo>
                  <a:pt x="6898329" y="2360015"/>
                </a:lnTo>
                <a:moveTo>
                  <a:pt x="8150688" y="2928648"/>
                </a:moveTo>
                <a:lnTo>
                  <a:pt x="9434859" y="3012832"/>
                </a:lnTo>
                <a:moveTo>
                  <a:pt x="9275706" y="5436398"/>
                </a:moveTo>
                <a:lnTo>
                  <a:pt x="9243879" y="5920832"/>
                </a:lnTo>
                <a:moveTo>
                  <a:pt x="9243879" y="5920832"/>
                </a:moveTo>
                <a:lnTo>
                  <a:pt x="9212035" y="6405721"/>
                </a:lnTo>
                <a:moveTo>
                  <a:pt x="9212035" y="6405721"/>
                </a:moveTo>
                <a:lnTo>
                  <a:pt x="9180177" y="6890626"/>
                </a:lnTo>
                <a:moveTo>
                  <a:pt x="9212035" y="6405721"/>
                </a:moveTo>
                <a:lnTo>
                  <a:pt x="7927865" y="6321538"/>
                </a:lnTo>
                <a:moveTo>
                  <a:pt x="9371235" y="3982171"/>
                </a:moveTo>
                <a:lnTo>
                  <a:pt x="9339392" y="4467060"/>
                </a:lnTo>
                <a:moveTo>
                  <a:pt x="9562184" y="1074155"/>
                </a:moveTo>
                <a:lnTo>
                  <a:pt x="9530372" y="1558589"/>
                </a:lnTo>
                <a:moveTo>
                  <a:pt x="9562184" y="1074155"/>
                </a:moveTo>
                <a:lnTo>
                  <a:pt x="9594027" y="589247"/>
                </a:lnTo>
                <a:moveTo>
                  <a:pt x="9530372" y="1558589"/>
                </a:moveTo>
                <a:lnTo>
                  <a:pt x="9498529" y="2043493"/>
                </a:lnTo>
                <a:moveTo>
                  <a:pt x="9530372" y="1558589"/>
                </a:moveTo>
                <a:lnTo>
                  <a:pt x="8246186" y="1474408"/>
                </a:lnTo>
                <a:moveTo>
                  <a:pt x="9116522" y="7859965"/>
                </a:moveTo>
                <a:lnTo>
                  <a:pt x="9084726" y="8344382"/>
                </a:lnTo>
                <a:moveTo>
                  <a:pt x="9403063" y="3497721"/>
                </a:moveTo>
                <a:lnTo>
                  <a:pt x="9371251" y="3982155"/>
                </a:lnTo>
                <a:moveTo>
                  <a:pt x="9403063" y="3497721"/>
                </a:moveTo>
                <a:lnTo>
                  <a:pt x="9434921" y="3012801"/>
                </a:lnTo>
                <a:moveTo>
                  <a:pt x="9371251" y="3982155"/>
                </a:moveTo>
                <a:lnTo>
                  <a:pt x="8087081" y="3897971"/>
                </a:lnTo>
                <a:moveTo>
                  <a:pt x="9498529" y="2043493"/>
                </a:moveTo>
                <a:lnTo>
                  <a:pt x="9466686" y="2528399"/>
                </a:lnTo>
                <a:moveTo>
                  <a:pt x="9466686" y="2528399"/>
                </a:moveTo>
                <a:lnTo>
                  <a:pt x="9434859" y="3012832"/>
                </a:lnTo>
                <a:moveTo>
                  <a:pt x="9021040" y="9313690"/>
                </a:moveTo>
                <a:lnTo>
                  <a:pt x="9052851" y="8829272"/>
                </a:lnTo>
                <a:moveTo>
                  <a:pt x="9084726" y="8344382"/>
                </a:moveTo>
                <a:lnTo>
                  <a:pt x="9052883" y="8829287"/>
                </a:lnTo>
                <a:moveTo>
                  <a:pt x="9052883" y="8829287"/>
                </a:moveTo>
                <a:lnTo>
                  <a:pt x="6484525" y="8660920"/>
                </a:lnTo>
                <a:moveTo>
                  <a:pt x="11589397" y="9482057"/>
                </a:moveTo>
                <a:lnTo>
                  <a:pt x="11621209" y="8997623"/>
                </a:lnTo>
                <a:moveTo>
                  <a:pt x="11589397" y="9482057"/>
                </a:moveTo>
                <a:lnTo>
                  <a:pt x="11557539" y="9966962"/>
                </a:lnTo>
                <a:lnTo>
                  <a:pt x="10273352" y="9882778"/>
                </a:lnTo>
                <a:moveTo>
                  <a:pt x="11589397" y="9482057"/>
                </a:moveTo>
                <a:lnTo>
                  <a:pt x="12873584" y="9566240"/>
                </a:lnTo>
                <a:moveTo>
                  <a:pt x="11589397" y="9482057"/>
                </a:moveTo>
                <a:lnTo>
                  <a:pt x="10305227" y="9397873"/>
                </a:lnTo>
                <a:moveTo>
                  <a:pt x="11621209" y="8997623"/>
                </a:moveTo>
                <a:lnTo>
                  <a:pt x="11653068" y="8512733"/>
                </a:lnTo>
                <a:moveTo>
                  <a:pt x="11621209" y="8997623"/>
                </a:moveTo>
                <a:lnTo>
                  <a:pt x="10337038" y="8913455"/>
                </a:lnTo>
                <a:moveTo>
                  <a:pt x="12098730" y="1726956"/>
                </a:moveTo>
                <a:lnTo>
                  <a:pt x="12066887" y="2211845"/>
                </a:lnTo>
                <a:moveTo>
                  <a:pt x="12098730" y="1726956"/>
                </a:moveTo>
                <a:lnTo>
                  <a:pt x="12130541" y="1242500"/>
                </a:lnTo>
                <a:moveTo>
                  <a:pt x="12098730" y="1726956"/>
                </a:moveTo>
                <a:lnTo>
                  <a:pt x="13382917" y="1811140"/>
                </a:lnTo>
                <a:moveTo>
                  <a:pt x="12066887" y="2211845"/>
                </a:moveTo>
                <a:lnTo>
                  <a:pt x="12035043" y="2696735"/>
                </a:lnTo>
                <a:moveTo>
                  <a:pt x="12066887" y="2211845"/>
                </a:moveTo>
                <a:lnTo>
                  <a:pt x="13351074" y="2296029"/>
                </a:lnTo>
                <a:lnTo>
                  <a:pt x="13382917" y="1811140"/>
                </a:lnTo>
                <a:moveTo>
                  <a:pt x="11684864" y="8028316"/>
                </a:moveTo>
                <a:lnTo>
                  <a:pt x="11700769" y="7786092"/>
                </a:lnTo>
                <a:cubicBezTo>
                  <a:pt x="11708731" y="7664751"/>
                  <a:pt x="11645721" y="7561345"/>
                  <a:pt x="11645721" y="7561345"/>
                </a:cubicBezTo>
                <a:moveTo>
                  <a:pt x="11684864" y="8028316"/>
                </a:moveTo>
                <a:lnTo>
                  <a:pt x="11653068" y="8512733"/>
                </a:lnTo>
                <a:moveTo>
                  <a:pt x="12162401" y="757600"/>
                </a:moveTo>
                <a:lnTo>
                  <a:pt x="12130541" y="1242500"/>
                </a:lnTo>
                <a:moveTo>
                  <a:pt x="12130541" y="1242500"/>
                </a:moveTo>
                <a:lnTo>
                  <a:pt x="13414713" y="1326681"/>
                </a:lnTo>
                <a:moveTo>
                  <a:pt x="11971389" y="3666073"/>
                </a:moveTo>
                <a:lnTo>
                  <a:pt x="11939593" y="4150506"/>
                </a:lnTo>
                <a:moveTo>
                  <a:pt x="11971389" y="3666073"/>
                </a:moveTo>
                <a:lnTo>
                  <a:pt x="10687203" y="3581889"/>
                </a:lnTo>
                <a:moveTo>
                  <a:pt x="11971389" y="3666073"/>
                </a:moveTo>
                <a:lnTo>
                  <a:pt x="12035043" y="2696750"/>
                </a:lnTo>
                <a:moveTo>
                  <a:pt x="11939562" y="4150506"/>
                </a:moveTo>
                <a:lnTo>
                  <a:pt x="11923656" y="4392731"/>
                </a:lnTo>
                <a:cubicBezTo>
                  <a:pt x="11915679" y="4514071"/>
                  <a:pt x="11839674" y="4608362"/>
                  <a:pt x="11839674" y="4608362"/>
                </a:cubicBezTo>
                <a:moveTo>
                  <a:pt x="11939593" y="4150506"/>
                </a:moveTo>
                <a:lnTo>
                  <a:pt x="12272294" y="4172322"/>
                </a:lnTo>
                <a:cubicBezTo>
                  <a:pt x="12530610" y="4182665"/>
                  <a:pt x="12814744" y="4213990"/>
                  <a:pt x="13140632" y="4177462"/>
                </a:cubicBezTo>
                <a:moveTo>
                  <a:pt x="11123456" y="6044043"/>
                </a:moveTo>
                <a:cubicBezTo>
                  <a:pt x="11111908" y="6219734"/>
                  <a:pt x="11124101" y="6399324"/>
                  <a:pt x="11191500" y="6598074"/>
                </a:cubicBezTo>
                <a:cubicBezTo>
                  <a:pt x="10929801" y="6549836"/>
                  <a:pt x="10727667" y="6511642"/>
                  <a:pt x="10491927" y="6490078"/>
                </a:cubicBezTo>
                <a:moveTo>
                  <a:pt x="11123456" y="6044043"/>
                </a:moveTo>
                <a:lnTo>
                  <a:pt x="11503937" y="6068971"/>
                </a:lnTo>
                <a:moveTo>
                  <a:pt x="11646287" y="7561361"/>
                </a:moveTo>
                <a:cubicBezTo>
                  <a:pt x="11572296" y="7413945"/>
                  <a:pt x="11506029" y="7278805"/>
                  <a:pt x="11412797" y="7108001"/>
                </a:cubicBezTo>
                <a:cubicBezTo>
                  <a:pt x="11288272" y="7064542"/>
                  <a:pt x="11223674" y="7057956"/>
                  <a:pt x="11130048" y="7039111"/>
                </a:cubicBezTo>
                <a:cubicBezTo>
                  <a:pt x="11036422" y="7020281"/>
                  <a:pt x="10940909" y="7014009"/>
                  <a:pt x="10846071" y="7005444"/>
                </a:cubicBezTo>
                <a:cubicBezTo>
                  <a:pt x="10718935" y="6993813"/>
                  <a:pt x="10591736" y="6983124"/>
                  <a:pt x="10464379" y="6974779"/>
                </a:cubicBezTo>
                <a:moveTo>
                  <a:pt x="11191531" y="6598058"/>
                </a:moveTo>
                <a:cubicBezTo>
                  <a:pt x="11264594" y="6808470"/>
                  <a:pt x="11334700" y="6974448"/>
                  <a:pt x="11412813" y="7107545"/>
                </a:cubicBezTo>
                <a:cubicBezTo>
                  <a:pt x="11640780" y="7182723"/>
                  <a:pt x="11842978" y="7251959"/>
                  <a:pt x="12088126" y="7357425"/>
                </a:cubicBezTo>
                <a:moveTo>
                  <a:pt x="12035043" y="2696735"/>
                </a:moveTo>
                <a:lnTo>
                  <a:pt x="13319230" y="2780918"/>
                </a:lnTo>
                <a:moveTo>
                  <a:pt x="11840162" y="4608393"/>
                </a:moveTo>
                <a:cubicBezTo>
                  <a:pt x="11747654" y="4742999"/>
                  <a:pt x="11684817" y="4864040"/>
                  <a:pt x="11549389" y="5027378"/>
                </a:cubicBezTo>
                <a:moveTo>
                  <a:pt x="11263368" y="5504110"/>
                </a:moveTo>
                <a:cubicBezTo>
                  <a:pt x="11162599" y="5699826"/>
                  <a:pt x="11137694" y="5827595"/>
                  <a:pt x="11123440" y="6044498"/>
                </a:cubicBezTo>
                <a:moveTo>
                  <a:pt x="11549436" y="5027394"/>
                </a:moveTo>
                <a:cubicBezTo>
                  <a:pt x="11442658" y="5168130"/>
                  <a:pt x="11370523" y="5300802"/>
                  <a:pt x="11263415" y="5503623"/>
                </a:cubicBezTo>
                <a:cubicBezTo>
                  <a:pt x="11433156" y="5475237"/>
                  <a:pt x="11595439" y="5438819"/>
                  <a:pt x="11752593" y="5391241"/>
                </a:cubicBezTo>
                <a:cubicBezTo>
                  <a:pt x="11916859" y="5154046"/>
                  <a:pt x="12064763" y="5019771"/>
                  <a:pt x="12251684" y="4867812"/>
                </a:cubicBezTo>
                <a:cubicBezTo>
                  <a:pt x="12599850" y="4751832"/>
                  <a:pt x="12974384" y="4729325"/>
                  <a:pt x="13275399" y="4617321"/>
                </a:cubicBezTo>
                <a:moveTo>
                  <a:pt x="13140664" y="4177494"/>
                </a:moveTo>
                <a:cubicBezTo>
                  <a:pt x="13039628" y="4287564"/>
                  <a:pt x="12912711" y="4402508"/>
                  <a:pt x="12761818" y="4492837"/>
                </a:cubicBezTo>
                <a:moveTo>
                  <a:pt x="11661721" y="6773813"/>
                </a:moveTo>
                <a:cubicBezTo>
                  <a:pt x="11570550" y="6612094"/>
                  <a:pt x="11483815" y="6325970"/>
                  <a:pt x="11503858" y="6069442"/>
                </a:cubicBezTo>
                <a:moveTo>
                  <a:pt x="12905427" y="9081823"/>
                </a:moveTo>
                <a:lnTo>
                  <a:pt x="12937271" y="8596917"/>
                </a:lnTo>
                <a:moveTo>
                  <a:pt x="12905427" y="9081823"/>
                </a:moveTo>
                <a:lnTo>
                  <a:pt x="14190133" y="9166037"/>
                </a:lnTo>
                <a:moveTo>
                  <a:pt x="12905427" y="9081823"/>
                </a:moveTo>
                <a:lnTo>
                  <a:pt x="11621240" y="8997639"/>
                </a:lnTo>
                <a:moveTo>
                  <a:pt x="12251620" y="4868269"/>
                </a:moveTo>
                <a:cubicBezTo>
                  <a:pt x="12427576" y="4720774"/>
                  <a:pt x="12519944" y="4653424"/>
                  <a:pt x="12762275" y="4493340"/>
                </a:cubicBezTo>
                <a:moveTo>
                  <a:pt x="11503937" y="6068971"/>
                </a:moveTo>
                <a:cubicBezTo>
                  <a:pt x="11514651" y="5857002"/>
                  <a:pt x="11607427" y="5604766"/>
                  <a:pt x="11752562" y="5391257"/>
                </a:cubicBezTo>
                <a:moveTo>
                  <a:pt x="11503937" y="6068971"/>
                </a:moveTo>
                <a:lnTo>
                  <a:pt x="11995302" y="6101176"/>
                </a:lnTo>
                <a:moveTo>
                  <a:pt x="13319215" y="2780934"/>
                </a:moveTo>
                <a:lnTo>
                  <a:pt x="13287403" y="3265368"/>
                </a:lnTo>
                <a:lnTo>
                  <a:pt x="10719045" y="3097000"/>
                </a:lnTo>
                <a:moveTo>
                  <a:pt x="12879185" y="8157877"/>
                </a:moveTo>
                <a:cubicBezTo>
                  <a:pt x="12879185" y="8157877"/>
                  <a:pt x="12961074" y="8233353"/>
                  <a:pt x="12953113" y="8354693"/>
                </a:cubicBezTo>
                <a:lnTo>
                  <a:pt x="12937192" y="8596917"/>
                </a:lnTo>
                <a:lnTo>
                  <a:pt x="11653021" y="8512733"/>
                </a:lnTo>
                <a:moveTo>
                  <a:pt x="13351074" y="2296013"/>
                </a:moveTo>
                <a:lnTo>
                  <a:pt x="13319230" y="2780918"/>
                </a:lnTo>
                <a:moveTo>
                  <a:pt x="13319230" y="2780918"/>
                </a:moveTo>
                <a:lnTo>
                  <a:pt x="14603952" y="2865118"/>
                </a:lnTo>
                <a:lnTo>
                  <a:pt x="14635795" y="2380244"/>
                </a:lnTo>
                <a:moveTo>
                  <a:pt x="13382917" y="1811140"/>
                </a:moveTo>
                <a:lnTo>
                  <a:pt x="13414713" y="1326681"/>
                </a:lnTo>
                <a:moveTo>
                  <a:pt x="13382917" y="1811140"/>
                </a:moveTo>
                <a:lnTo>
                  <a:pt x="14667607" y="1895339"/>
                </a:lnTo>
                <a:moveTo>
                  <a:pt x="13287451" y="3265336"/>
                </a:moveTo>
                <a:lnTo>
                  <a:pt x="13255607" y="3750241"/>
                </a:lnTo>
                <a:lnTo>
                  <a:pt x="11971436" y="3666057"/>
                </a:lnTo>
                <a:moveTo>
                  <a:pt x="13140585" y="4177934"/>
                </a:moveTo>
                <a:cubicBezTo>
                  <a:pt x="13140585" y="4177934"/>
                  <a:pt x="13231646" y="4113806"/>
                  <a:pt x="13239622" y="3992450"/>
                </a:cubicBezTo>
                <a:lnTo>
                  <a:pt x="13255529" y="3750241"/>
                </a:lnTo>
                <a:cubicBezTo>
                  <a:pt x="13572324" y="3771004"/>
                  <a:pt x="13888977" y="3794140"/>
                  <a:pt x="14206023" y="3811147"/>
                </a:cubicBezTo>
                <a:cubicBezTo>
                  <a:pt x="14394565" y="3821143"/>
                  <a:pt x="14533910" y="3825576"/>
                  <a:pt x="14533910" y="3825576"/>
                </a:cubicBezTo>
                <a:cubicBezTo>
                  <a:pt x="14515550" y="3983412"/>
                  <a:pt x="14406348" y="4023304"/>
                  <a:pt x="14311810" y="4099440"/>
                </a:cubicBezTo>
                <a:moveTo>
                  <a:pt x="12544864" y="7795774"/>
                </a:moveTo>
                <a:cubicBezTo>
                  <a:pt x="12713283" y="7957854"/>
                  <a:pt x="12784505" y="8017566"/>
                  <a:pt x="12879217" y="8157877"/>
                </a:cubicBezTo>
                <a:cubicBezTo>
                  <a:pt x="13224252" y="8227538"/>
                  <a:pt x="13645685" y="8302212"/>
                  <a:pt x="14029580" y="8388549"/>
                </a:cubicBezTo>
                <a:moveTo>
                  <a:pt x="12545383" y="7795805"/>
                </a:moveTo>
                <a:cubicBezTo>
                  <a:pt x="12356071" y="7635187"/>
                  <a:pt x="12267920" y="7549416"/>
                  <a:pt x="12088126" y="7357425"/>
                </a:cubicBezTo>
                <a:moveTo>
                  <a:pt x="12088126" y="7357425"/>
                </a:moveTo>
                <a:cubicBezTo>
                  <a:pt x="11960581" y="7246489"/>
                  <a:pt x="11789393" y="7005192"/>
                  <a:pt x="11661799" y="6773325"/>
                </a:cubicBezTo>
                <a:moveTo>
                  <a:pt x="12088126" y="7357425"/>
                </a:moveTo>
                <a:cubicBezTo>
                  <a:pt x="12418262" y="7515984"/>
                  <a:pt x="12786661" y="7587185"/>
                  <a:pt x="13070307" y="7739410"/>
                </a:cubicBezTo>
                <a:moveTo>
                  <a:pt x="12873584" y="9566240"/>
                </a:moveTo>
                <a:lnTo>
                  <a:pt x="12905396" y="9081806"/>
                </a:lnTo>
                <a:moveTo>
                  <a:pt x="12873584" y="9566240"/>
                </a:moveTo>
                <a:lnTo>
                  <a:pt x="14158290" y="9650455"/>
                </a:lnTo>
                <a:moveTo>
                  <a:pt x="12873631" y="9566240"/>
                </a:moveTo>
                <a:lnTo>
                  <a:pt x="12841773" y="10051145"/>
                </a:lnTo>
                <a:lnTo>
                  <a:pt x="11557601" y="9966962"/>
                </a:lnTo>
                <a:moveTo>
                  <a:pt x="13446556" y="841781"/>
                </a:moveTo>
                <a:lnTo>
                  <a:pt x="13414713" y="1326681"/>
                </a:lnTo>
                <a:moveTo>
                  <a:pt x="14190133" y="9166037"/>
                </a:moveTo>
                <a:lnTo>
                  <a:pt x="14206039" y="8923813"/>
                </a:lnTo>
                <a:cubicBezTo>
                  <a:pt x="14214000" y="8802473"/>
                  <a:pt x="14214503" y="8689589"/>
                  <a:pt x="14214503" y="8689589"/>
                </a:cubicBezTo>
                <a:moveTo>
                  <a:pt x="14190133" y="9166037"/>
                </a:moveTo>
                <a:lnTo>
                  <a:pt x="14158290" y="9650455"/>
                </a:lnTo>
                <a:moveTo>
                  <a:pt x="14190133" y="9166037"/>
                </a:moveTo>
                <a:lnTo>
                  <a:pt x="15474273" y="9250206"/>
                </a:lnTo>
                <a:moveTo>
                  <a:pt x="14603889" y="2865133"/>
                </a:moveTo>
                <a:lnTo>
                  <a:pt x="14572062" y="3349567"/>
                </a:lnTo>
                <a:moveTo>
                  <a:pt x="14572062" y="3349567"/>
                </a:moveTo>
                <a:lnTo>
                  <a:pt x="13287355" y="3265352"/>
                </a:lnTo>
                <a:moveTo>
                  <a:pt x="14572062" y="3349567"/>
                </a:moveTo>
                <a:lnTo>
                  <a:pt x="15856264" y="3433766"/>
                </a:lnTo>
                <a:moveTo>
                  <a:pt x="14731277" y="925990"/>
                </a:moveTo>
                <a:lnTo>
                  <a:pt x="14699434" y="1410890"/>
                </a:lnTo>
                <a:moveTo>
                  <a:pt x="14699434" y="1410890"/>
                </a:moveTo>
                <a:lnTo>
                  <a:pt x="14667607" y="1895339"/>
                </a:lnTo>
                <a:moveTo>
                  <a:pt x="14699434" y="1410890"/>
                </a:moveTo>
                <a:lnTo>
                  <a:pt x="15983542" y="1495075"/>
                </a:lnTo>
                <a:moveTo>
                  <a:pt x="14699434" y="1410890"/>
                </a:moveTo>
                <a:lnTo>
                  <a:pt x="13414728" y="1326676"/>
                </a:lnTo>
                <a:moveTo>
                  <a:pt x="14029580" y="8388549"/>
                </a:moveTo>
                <a:cubicBezTo>
                  <a:pt x="13853232" y="8290408"/>
                  <a:pt x="13815819" y="8235255"/>
                  <a:pt x="13647070" y="8118803"/>
                </a:cubicBezTo>
                <a:moveTo>
                  <a:pt x="14029580" y="8388549"/>
                </a:moveTo>
                <a:cubicBezTo>
                  <a:pt x="14485484" y="8498415"/>
                  <a:pt x="14918922" y="8536719"/>
                  <a:pt x="15397386" y="8603361"/>
                </a:cubicBezTo>
                <a:moveTo>
                  <a:pt x="14126447" y="10135345"/>
                </a:moveTo>
                <a:lnTo>
                  <a:pt x="14158290" y="9650455"/>
                </a:lnTo>
                <a:moveTo>
                  <a:pt x="14126447" y="10135345"/>
                </a:moveTo>
                <a:lnTo>
                  <a:pt x="15410602" y="10219528"/>
                </a:lnTo>
                <a:moveTo>
                  <a:pt x="14126447" y="10135345"/>
                </a:moveTo>
                <a:lnTo>
                  <a:pt x="12841741" y="10051145"/>
                </a:lnTo>
                <a:moveTo>
                  <a:pt x="14158290" y="9650455"/>
                </a:moveTo>
                <a:lnTo>
                  <a:pt x="15442445" y="9734623"/>
                </a:lnTo>
                <a:moveTo>
                  <a:pt x="14667607" y="1895339"/>
                </a:moveTo>
                <a:lnTo>
                  <a:pt x="15951762" y="1979523"/>
                </a:lnTo>
                <a:moveTo>
                  <a:pt x="14667638" y="1895339"/>
                </a:moveTo>
                <a:lnTo>
                  <a:pt x="14635795" y="2380244"/>
                </a:lnTo>
                <a:moveTo>
                  <a:pt x="14635795" y="2380244"/>
                </a:moveTo>
                <a:lnTo>
                  <a:pt x="13351089" y="2296029"/>
                </a:lnTo>
                <a:moveTo>
                  <a:pt x="14030052" y="8388596"/>
                </a:moveTo>
                <a:cubicBezTo>
                  <a:pt x="14113971" y="8474084"/>
                  <a:pt x="14217020" y="8527885"/>
                  <a:pt x="14214425" y="8689101"/>
                </a:cubicBezTo>
                <a:lnTo>
                  <a:pt x="12937176" y="8596886"/>
                </a:lnTo>
                <a:moveTo>
                  <a:pt x="14572109" y="3349551"/>
                </a:moveTo>
                <a:lnTo>
                  <a:pt x="14556188" y="3591776"/>
                </a:lnTo>
                <a:cubicBezTo>
                  <a:pt x="14548226" y="3713116"/>
                  <a:pt x="14533957" y="3825104"/>
                  <a:pt x="14533957" y="3825104"/>
                </a:cubicBezTo>
                <a:cubicBezTo>
                  <a:pt x="14972806" y="3853867"/>
                  <a:pt x="15465950" y="3842896"/>
                  <a:pt x="15812999" y="3865656"/>
                </a:cubicBezTo>
                <a:cubicBezTo>
                  <a:pt x="15778701" y="3966909"/>
                  <a:pt x="15751169" y="4019217"/>
                  <a:pt x="15695947" y="4065002"/>
                </a:cubicBezTo>
                <a:cubicBezTo>
                  <a:pt x="15202331" y="4075471"/>
                  <a:pt x="14777830" y="4047650"/>
                  <a:pt x="14311842" y="4099440"/>
                </a:cubicBezTo>
                <a:moveTo>
                  <a:pt x="11994799" y="6101616"/>
                </a:moveTo>
                <a:cubicBezTo>
                  <a:pt x="11996514" y="6505434"/>
                  <a:pt x="12175899" y="6898312"/>
                  <a:pt x="12359705" y="7093871"/>
                </a:cubicBezTo>
                <a:cubicBezTo>
                  <a:pt x="12590882" y="7371570"/>
                  <a:pt x="12830634" y="7583491"/>
                  <a:pt x="13070307" y="7739882"/>
                </a:cubicBezTo>
                <a:moveTo>
                  <a:pt x="12486354" y="5165033"/>
                </a:moveTo>
                <a:cubicBezTo>
                  <a:pt x="12743631" y="4996509"/>
                  <a:pt x="12974353" y="4729325"/>
                  <a:pt x="13275368" y="4617305"/>
                </a:cubicBezTo>
                <a:moveTo>
                  <a:pt x="12486354" y="5165033"/>
                </a:moveTo>
                <a:cubicBezTo>
                  <a:pt x="12200427" y="5250270"/>
                  <a:pt x="12017722" y="5305581"/>
                  <a:pt x="11752027" y="5391210"/>
                </a:cubicBezTo>
                <a:moveTo>
                  <a:pt x="13275368" y="4617305"/>
                </a:moveTo>
                <a:cubicBezTo>
                  <a:pt x="13537900" y="4498542"/>
                  <a:pt x="13688809" y="4399741"/>
                  <a:pt x="13897330" y="4316485"/>
                </a:cubicBezTo>
                <a:moveTo>
                  <a:pt x="13275368" y="4617305"/>
                </a:moveTo>
                <a:cubicBezTo>
                  <a:pt x="13894924" y="4507360"/>
                  <a:pt x="14487875" y="4405070"/>
                  <a:pt x="15121623" y="4395796"/>
                </a:cubicBezTo>
                <a:moveTo>
                  <a:pt x="11995302" y="6101176"/>
                </a:moveTo>
                <a:cubicBezTo>
                  <a:pt x="12001470" y="5747749"/>
                  <a:pt x="12143206" y="5463904"/>
                  <a:pt x="12486872" y="5165065"/>
                </a:cubicBezTo>
                <a:moveTo>
                  <a:pt x="11995302" y="6101176"/>
                </a:moveTo>
                <a:lnTo>
                  <a:pt x="13443441" y="6196111"/>
                </a:lnTo>
                <a:cubicBezTo>
                  <a:pt x="13446524" y="5654276"/>
                  <a:pt x="13907966" y="5119892"/>
                  <a:pt x="14385691" y="4808195"/>
                </a:cubicBezTo>
                <a:cubicBezTo>
                  <a:pt x="14631658" y="4649762"/>
                  <a:pt x="14853191" y="4523109"/>
                  <a:pt x="15121623" y="4395796"/>
                </a:cubicBezTo>
                <a:moveTo>
                  <a:pt x="13897330" y="4316485"/>
                </a:moveTo>
                <a:cubicBezTo>
                  <a:pt x="14036660" y="4247972"/>
                  <a:pt x="14196395" y="4169053"/>
                  <a:pt x="14311857" y="4098984"/>
                </a:cubicBezTo>
                <a:moveTo>
                  <a:pt x="13897330" y="4316485"/>
                </a:moveTo>
                <a:cubicBezTo>
                  <a:pt x="13516346" y="4372440"/>
                  <a:pt x="13124175" y="4436143"/>
                  <a:pt x="12762306" y="4492884"/>
                </a:cubicBezTo>
                <a:cubicBezTo>
                  <a:pt x="12452922" y="4553994"/>
                  <a:pt x="12164493" y="4596259"/>
                  <a:pt x="11840209" y="4608409"/>
                </a:cubicBezTo>
                <a:moveTo>
                  <a:pt x="13647557" y="8119305"/>
                </a:moveTo>
                <a:cubicBezTo>
                  <a:pt x="13451842" y="8007663"/>
                  <a:pt x="13301877" y="7856679"/>
                  <a:pt x="13070260" y="7739866"/>
                </a:cubicBezTo>
                <a:moveTo>
                  <a:pt x="15121623" y="4395796"/>
                </a:moveTo>
                <a:cubicBezTo>
                  <a:pt x="15226041" y="4347590"/>
                  <a:pt x="15383117" y="4260483"/>
                  <a:pt x="15490320" y="4210579"/>
                </a:cubicBezTo>
                <a:moveTo>
                  <a:pt x="15121623" y="4395796"/>
                </a:moveTo>
                <a:cubicBezTo>
                  <a:pt x="15831092" y="4353814"/>
                  <a:pt x="16956456" y="4396063"/>
                  <a:pt x="17654676" y="4542536"/>
                </a:cubicBezTo>
                <a:moveTo>
                  <a:pt x="15489786" y="4210564"/>
                </a:moveTo>
                <a:cubicBezTo>
                  <a:pt x="15577951" y="4166460"/>
                  <a:pt x="15633000" y="4123488"/>
                  <a:pt x="15695475" y="4065002"/>
                </a:cubicBezTo>
                <a:moveTo>
                  <a:pt x="14871157" y="8200471"/>
                </a:moveTo>
                <a:cubicBezTo>
                  <a:pt x="15024268" y="8279201"/>
                  <a:pt x="15115456" y="8359518"/>
                  <a:pt x="15212479" y="8432228"/>
                </a:cubicBezTo>
                <a:cubicBezTo>
                  <a:pt x="15913846" y="8512090"/>
                  <a:pt x="16415407" y="8544954"/>
                  <a:pt x="17080274" y="8565010"/>
                </a:cubicBezTo>
                <a:moveTo>
                  <a:pt x="14196065" y="7695574"/>
                </a:moveTo>
                <a:cubicBezTo>
                  <a:pt x="13763350" y="7321840"/>
                  <a:pt x="13372675" y="6778653"/>
                  <a:pt x="13443425" y="6196566"/>
                </a:cubicBezTo>
                <a:moveTo>
                  <a:pt x="14196065" y="7695574"/>
                </a:moveTo>
                <a:cubicBezTo>
                  <a:pt x="13503084" y="7535804"/>
                  <a:pt x="12931371" y="7371759"/>
                  <a:pt x="12359657" y="7093855"/>
                </a:cubicBezTo>
                <a:moveTo>
                  <a:pt x="14196065" y="7695574"/>
                </a:moveTo>
                <a:cubicBezTo>
                  <a:pt x="15477577" y="7998830"/>
                  <a:pt x="16804162" y="8085796"/>
                  <a:pt x="18066716" y="7989289"/>
                </a:cubicBezTo>
                <a:moveTo>
                  <a:pt x="14196048" y="7695558"/>
                </a:moveTo>
                <a:cubicBezTo>
                  <a:pt x="14419296" y="7882865"/>
                  <a:pt x="14622328" y="8037338"/>
                  <a:pt x="14871692" y="8200488"/>
                </a:cubicBezTo>
                <a:cubicBezTo>
                  <a:pt x="14049246" y="8088704"/>
                  <a:pt x="13586499" y="7944966"/>
                  <a:pt x="13070244" y="7739850"/>
                </a:cubicBezTo>
                <a:moveTo>
                  <a:pt x="15397921" y="8603409"/>
                </a:moveTo>
                <a:cubicBezTo>
                  <a:pt x="15328839" y="8519351"/>
                  <a:pt x="15293676" y="8494942"/>
                  <a:pt x="15213046" y="8432244"/>
                </a:cubicBezTo>
                <a:moveTo>
                  <a:pt x="15397921" y="8603409"/>
                </a:moveTo>
                <a:cubicBezTo>
                  <a:pt x="15397921" y="8603409"/>
                  <a:pt x="15483130" y="8693220"/>
                  <a:pt x="15487834" y="8816336"/>
                </a:cubicBezTo>
                <a:lnTo>
                  <a:pt x="14214487" y="8689086"/>
                </a:lnTo>
                <a:moveTo>
                  <a:pt x="15397921" y="8603409"/>
                </a:moveTo>
                <a:cubicBezTo>
                  <a:pt x="15872626" y="8661831"/>
                  <a:pt x="16402820" y="8688582"/>
                  <a:pt x="16902492" y="8707695"/>
                </a:cubicBezTo>
                <a:moveTo>
                  <a:pt x="15410602" y="10219528"/>
                </a:moveTo>
                <a:lnTo>
                  <a:pt x="15442445" y="9734623"/>
                </a:lnTo>
                <a:moveTo>
                  <a:pt x="15442445" y="9734623"/>
                </a:moveTo>
                <a:lnTo>
                  <a:pt x="15474273" y="9250206"/>
                </a:lnTo>
                <a:moveTo>
                  <a:pt x="15474273" y="9250206"/>
                </a:moveTo>
                <a:cubicBezTo>
                  <a:pt x="15483759" y="9105917"/>
                  <a:pt x="15498060" y="8960986"/>
                  <a:pt x="15487866" y="8816336"/>
                </a:cubicBezTo>
                <a:moveTo>
                  <a:pt x="15888044" y="2949333"/>
                </a:moveTo>
                <a:lnTo>
                  <a:pt x="15856264" y="3433766"/>
                </a:lnTo>
                <a:moveTo>
                  <a:pt x="15856264" y="3433766"/>
                </a:moveTo>
                <a:cubicBezTo>
                  <a:pt x="15846824" y="3578054"/>
                  <a:pt x="15842576" y="3723631"/>
                  <a:pt x="15812999" y="3865671"/>
                </a:cubicBezTo>
                <a:lnTo>
                  <a:pt x="17124954" y="3949352"/>
                </a:lnTo>
                <a:moveTo>
                  <a:pt x="15919982" y="2464396"/>
                </a:moveTo>
                <a:lnTo>
                  <a:pt x="15888044" y="2949301"/>
                </a:lnTo>
                <a:lnTo>
                  <a:pt x="14603921" y="2865118"/>
                </a:lnTo>
                <a:moveTo>
                  <a:pt x="15919982" y="2464396"/>
                </a:moveTo>
                <a:lnTo>
                  <a:pt x="15951762" y="1979523"/>
                </a:lnTo>
                <a:moveTo>
                  <a:pt x="15919982" y="2464396"/>
                </a:moveTo>
                <a:lnTo>
                  <a:pt x="14635747" y="2380244"/>
                </a:lnTo>
                <a:moveTo>
                  <a:pt x="16015479" y="1010175"/>
                </a:moveTo>
                <a:lnTo>
                  <a:pt x="15983542" y="1495075"/>
                </a:lnTo>
                <a:moveTo>
                  <a:pt x="15951762" y="1979523"/>
                </a:moveTo>
                <a:lnTo>
                  <a:pt x="15983542" y="1495086"/>
                </a:lnTo>
                <a:moveTo>
                  <a:pt x="24431722" y="10323878"/>
                </a:moveTo>
                <a:lnTo>
                  <a:pt x="24442890" y="10324617"/>
                </a:lnTo>
                <a:moveTo>
                  <a:pt x="24474672" y="9840199"/>
                </a:moveTo>
                <a:lnTo>
                  <a:pt x="24463658" y="9839460"/>
                </a:lnTo>
                <a:moveTo>
                  <a:pt x="11684880" y="8028300"/>
                </a:moveTo>
                <a:cubicBezTo>
                  <a:pt x="11895022" y="8042069"/>
                  <a:pt x="12369051" y="8070785"/>
                  <a:pt x="12879185" y="8158364"/>
                </a:cubicBezTo>
                <a:moveTo>
                  <a:pt x="20674580" y="8617586"/>
                </a:moveTo>
                <a:lnTo>
                  <a:pt x="20341988" y="8595770"/>
                </a:lnTo>
                <a:cubicBezTo>
                  <a:pt x="20054866" y="8576956"/>
                  <a:pt x="19729040" y="8587141"/>
                  <a:pt x="19488328" y="8602418"/>
                </a:cubicBezTo>
                <a:moveTo>
                  <a:pt x="11646271" y="7561376"/>
                </a:moveTo>
                <a:cubicBezTo>
                  <a:pt x="12028640" y="7638676"/>
                  <a:pt x="12246743" y="7693436"/>
                  <a:pt x="12545352" y="7796293"/>
                </a:cubicBezTo>
                <a:moveTo>
                  <a:pt x="10432568" y="7459228"/>
                </a:moveTo>
                <a:cubicBezTo>
                  <a:pt x="10833737" y="7485523"/>
                  <a:pt x="11250341" y="7487881"/>
                  <a:pt x="11645783" y="7560874"/>
                </a:cubicBezTo>
                <a:moveTo>
                  <a:pt x="19877714" y="8295736"/>
                </a:moveTo>
                <a:cubicBezTo>
                  <a:pt x="19360108" y="8388361"/>
                  <a:pt x="19115936" y="8411890"/>
                  <a:pt x="18710818" y="8471900"/>
                </a:cubicBezTo>
                <a:moveTo>
                  <a:pt x="12545414" y="7795821"/>
                </a:moveTo>
                <a:cubicBezTo>
                  <a:pt x="12938812" y="7916187"/>
                  <a:pt x="13113634" y="7980818"/>
                  <a:pt x="13647621" y="8118850"/>
                </a:cubicBezTo>
                <a:moveTo>
                  <a:pt x="18710188" y="8471883"/>
                </a:moveTo>
                <a:cubicBezTo>
                  <a:pt x="18160170" y="8553914"/>
                  <a:pt x="17625572" y="8563109"/>
                  <a:pt x="17080274" y="8564539"/>
                </a:cubicBezTo>
                <a:moveTo>
                  <a:pt x="20800442" y="8170357"/>
                </a:moveTo>
                <a:cubicBezTo>
                  <a:pt x="20474932" y="8185257"/>
                  <a:pt x="20238310" y="8226201"/>
                  <a:pt x="19877714" y="8295264"/>
                </a:cubicBezTo>
                <a:moveTo>
                  <a:pt x="13647557" y="8119337"/>
                </a:moveTo>
                <a:cubicBezTo>
                  <a:pt x="14179372" y="8290643"/>
                  <a:pt x="14704311" y="8355636"/>
                  <a:pt x="15213031" y="8432275"/>
                </a:cubicBezTo>
                <a:moveTo>
                  <a:pt x="24570168" y="8385956"/>
                </a:moveTo>
                <a:lnTo>
                  <a:pt x="24558998" y="8385217"/>
                </a:lnTo>
                <a:moveTo>
                  <a:pt x="11191453" y="6598058"/>
                </a:moveTo>
                <a:cubicBezTo>
                  <a:pt x="11397914" y="6659577"/>
                  <a:pt x="11512259" y="6703775"/>
                  <a:pt x="11661705" y="6773325"/>
                </a:cubicBezTo>
                <a:moveTo>
                  <a:pt x="11661752" y="6773797"/>
                </a:moveTo>
                <a:cubicBezTo>
                  <a:pt x="11943148" y="6895279"/>
                  <a:pt x="12096276" y="6957552"/>
                  <a:pt x="12360192" y="7093886"/>
                </a:cubicBezTo>
                <a:moveTo>
                  <a:pt x="21415434" y="7277170"/>
                </a:moveTo>
                <a:cubicBezTo>
                  <a:pt x="21278718" y="7298782"/>
                  <a:pt x="21106444" y="7333125"/>
                  <a:pt x="20922056" y="7397268"/>
                </a:cubicBezTo>
                <a:moveTo>
                  <a:pt x="20922686" y="7397316"/>
                </a:moveTo>
                <a:cubicBezTo>
                  <a:pt x="20627224" y="7489940"/>
                  <a:pt x="20428046" y="7537108"/>
                  <a:pt x="20142814" y="7635564"/>
                </a:cubicBezTo>
                <a:moveTo>
                  <a:pt x="24622718" y="7415894"/>
                </a:moveTo>
                <a:lnTo>
                  <a:pt x="24633886" y="7416633"/>
                </a:lnTo>
                <a:moveTo>
                  <a:pt x="20142814" y="7635108"/>
                </a:moveTo>
                <a:cubicBezTo>
                  <a:pt x="19805030" y="7748008"/>
                  <a:pt x="18872548" y="7914615"/>
                  <a:pt x="18066244" y="7988802"/>
                </a:cubicBezTo>
                <a:moveTo>
                  <a:pt x="24665668" y="6931728"/>
                </a:moveTo>
                <a:lnTo>
                  <a:pt x="24654654" y="6931005"/>
                </a:lnTo>
                <a:moveTo>
                  <a:pt x="18998254" y="6560194"/>
                </a:moveTo>
                <a:cubicBezTo>
                  <a:pt x="17124166" y="6459947"/>
                  <a:pt x="15319918" y="6341672"/>
                  <a:pt x="13443409" y="6196079"/>
                </a:cubicBezTo>
                <a:moveTo>
                  <a:pt x="9275737" y="5436398"/>
                </a:moveTo>
                <a:lnTo>
                  <a:pt x="10227192" y="5498766"/>
                </a:lnTo>
                <a:cubicBezTo>
                  <a:pt x="10417700" y="5511246"/>
                  <a:pt x="10555661" y="5520299"/>
                  <a:pt x="10555661" y="5520299"/>
                </a:cubicBezTo>
                <a:moveTo>
                  <a:pt x="10555676" y="5519796"/>
                </a:moveTo>
                <a:cubicBezTo>
                  <a:pt x="10790220" y="5527168"/>
                  <a:pt x="11036438" y="5551310"/>
                  <a:pt x="11263383" y="5504063"/>
                </a:cubicBezTo>
                <a:moveTo>
                  <a:pt x="24761164" y="5477971"/>
                </a:moveTo>
                <a:lnTo>
                  <a:pt x="24749994" y="5477249"/>
                </a:lnTo>
                <a:moveTo>
                  <a:pt x="15489769" y="4210548"/>
                </a:moveTo>
                <a:cubicBezTo>
                  <a:pt x="14977762" y="4248978"/>
                  <a:pt x="14447096" y="4214194"/>
                  <a:pt x="13896795" y="4316454"/>
                </a:cubicBezTo>
                <a:moveTo>
                  <a:pt x="11840225" y="4608393"/>
                </a:moveTo>
                <a:cubicBezTo>
                  <a:pt x="11840225" y="4608393"/>
                  <a:pt x="11736420" y="4614774"/>
                  <a:pt x="11564650" y="4609163"/>
                </a:cubicBezTo>
                <a:cubicBezTo>
                  <a:pt x="11479032" y="4606365"/>
                  <a:pt x="10623579" y="4550772"/>
                  <a:pt x="10623579" y="4550772"/>
                </a:cubicBezTo>
                <a:moveTo>
                  <a:pt x="17200786" y="4157957"/>
                </a:moveTo>
                <a:cubicBezTo>
                  <a:pt x="16699226" y="4126505"/>
                  <a:pt x="16197666" y="4094112"/>
                  <a:pt x="15695475" y="4064971"/>
                </a:cubicBezTo>
                <a:moveTo>
                  <a:pt x="24792944" y="4993051"/>
                </a:moveTo>
                <a:lnTo>
                  <a:pt x="24781932" y="4992328"/>
                </a:lnTo>
                <a:moveTo>
                  <a:pt x="14311291" y="4099408"/>
                </a:moveTo>
                <a:cubicBezTo>
                  <a:pt x="13919514" y="4133013"/>
                  <a:pt x="13491913" y="4152031"/>
                  <a:pt x="13140600" y="4177934"/>
                </a:cubicBezTo>
                <a:moveTo>
                  <a:pt x="5533323" y="3742335"/>
                </a:moveTo>
                <a:cubicBezTo>
                  <a:pt x="5601697" y="3723757"/>
                  <a:pt x="5708680" y="3742068"/>
                  <a:pt x="5816937" y="3749157"/>
                </a:cubicBezTo>
                <a:lnTo>
                  <a:pt x="6803413" y="3813819"/>
                </a:lnTo>
                <a:moveTo>
                  <a:pt x="17402166" y="8385657"/>
                </a:moveTo>
                <a:cubicBezTo>
                  <a:pt x="16570374" y="8400321"/>
                  <a:pt x="15721277" y="8344665"/>
                  <a:pt x="14871708" y="8200471"/>
                </a:cubicBezTo>
                <a:moveTo>
                  <a:pt x="21113996" y="7756165"/>
                </a:moveTo>
                <a:cubicBezTo>
                  <a:pt x="20895784" y="7806320"/>
                  <a:pt x="20741758" y="7839045"/>
                  <a:pt x="20402560" y="7924564"/>
                </a:cubicBezTo>
                <a:moveTo>
                  <a:pt x="24729384" y="5962405"/>
                </a:moveTo>
                <a:lnTo>
                  <a:pt x="24718214" y="5961666"/>
                </a:lnTo>
                <a:moveTo>
                  <a:pt x="12251605" y="4868284"/>
                </a:moveTo>
                <a:cubicBezTo>
                  <a:pt x="12003735" y="4901448"/>
                  <a:pt x="11785333" y="4981231"/>
                  <a:pt x="11549373" y="5027865"/>
                </a:cubicBezTo>
                <a:moveTo>
                  <a:pt x="4229596" y="3720409"/>
                </a:moveTo>
                <a:cubicBezTo>
                  <a:pt x="4780038" y="3721666"/>
                  <a:pt x="5123044" y="3367736"/>
                  <a:pt x="5592446" y="3263937"/>
                </a:cubicBezTo>
                <a:moveTo>
                  <a:pt x="1697927" y="2992635"/>
                </a:moveTo>
                <a:lnTo>
                  <a:pt x="2684403" y="3057297"/>
                </a:lnTo>
                <a:cubicBezTo>
                  <a:pt x="2848904" y="3068080"/>
                  <a:pt x="2903450" y="3081534"/>
                  <a:pt x="2938046" y="3090399"/>
                </a:cubicBezTo>
                <a:moveTo>
                  <a:pt x="24824882" y="4508602"/>
                </a:moveTo>
                <a:lnTo>
                  <a:pt x="24813712" y="4507879"/>
                </a:lnTo>
                <a:moveTo>
                  <a:pt x="24888442" y="3539279"/>
                </a:moveTo>
                <a:lnTo>
                  <a:pt x="24877430" y="3538556"/>
                </a:lnTo>
                <a:moveTo>
                  <a:pt x="24920380" y="3054405"/>
                </a:moveTo>
                <a:lnTo>
                  <a:pt x="24909210" y="3053682"/>
                </a:lnTo>
                <a:moveTo>
                  <a:pt x="24984098" y="2085067"/>
                </a:moveTo>
                <a:lnTo>
                  <a:pt x="24972926" y="2084328"/>
                </a:lnTo>
              </a:path>
            </a:pathLst>
          </a:custGeom>
          <a:noFill/>
          <a:ln w="50800" cap="flat">
            <a:solidFill>
              <a:srgbClr val="2D65F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1" name="Рисунок 30">
            <a:extLst>
              <a:ext uri="{FF2B5EF4-FFF2-40B4-BE49-F238E27FC236}">
                <a16:creationId xmlns:a16="http://schemas.microsoft.com/office/drawing/2014/main" id="{8EC2EFF2-E2E7-5D2C-2868-765120B619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 rot="217722">
            <a:off x="2234891" y="1237536"/>
            <a:ext cx="8601603" cy="11289744"/>
          </a:xfrm>
          <a:custGeom>
            <a:avLst/>
            <a:gdLst>
              <a:gd name="connsiteX0" fmla="*/ 674452 w 8601603"/>
              <a:gd name="connsiteY0" fmla="*/ 3879 h 11289744"/>
              <a:gd name="connsiteX1" fmla="*/ 751265 w 8601603"/>
              <a:gd name="connsiteY1" fmla="*/ 0 h 11289744"/>
              <a:gd name="connsiteX2" fmla="*/ 7850338 w 8601603"/>
              <a:gd name="connsiteY2" fmla="*/ 0 h 11289744"/>
              <a:gd name="connsiteX3" fmla="*/ 8601602 w 8601603"/>
              <a:gd name="connsiteY3" fmla="*/ 751264 h 11289744"/>
              <a:gd name="connsiteX4" fmla="*/ 8601603 w 8601603"/>
              <a:gd name="connsiteY4" fmla="*/ 4924087 h 11289744"/>
              <a:gd name="connsiteX5" fmla="*/ 8586567 w 8601603"/>
              <a:gd name="connsiteY5" fmla="*/ 4934665 h 11289744"/>
              <a:gd name="connsiteX6" fmla="*/ 8279633 w 8601603"/>
              <a:gd name="connsiteY6" fmla="*/ 5343840 h 11289744"/>
              <a:gd name="connsiteX7" fmla="*/ 8233439 w 8601603"/>
              <a:gd name="connsiteY7" fmla="*/ 6504641 h 11289744"/>
              <a:gd name="connsiteX8" fmla="*/ 8273771 w 8601603"/>
              <a:gd name="connsiteY8" fmla="*/ 7140621 h 11289744"/>
              <a:gd name="connsiteX9" fmla="*/ 8278026 w 8601603"/>
              <a:gd name="connsiteY9" fmla="*/ 7274994 h 11289744"/>
              <a:gd name="connsiteX10" fmla="*/ 7952647 w 8601603"/>
              <a:gd name="connsiteY10" fmla="*/ 7644215 h 11289744"/>
              <a:gd name="connsiteX11" fmla="*/ 7818734 w 8601603"/>
              <a:gd name="connsiteY11" fmla="*/ 7656964 h 11289744"/>
              <a:gd name="connsiteX12" fmla="*/ 7447581 w 8601603"/>
              <a:gd name="connsiteY12" fmla="*/ 7680502 h 11289744"/>
              <a:gd name="connsiteX13" fmla="*/ 7340173 w 8601603"/>
              <a:gd name="connsiteY13" fmla="*/ 7802374 h 11289744"/>
              <a:gd name="connsiteX14" fmla="*/ 7390591 w 8601603"/>
              <a:gd name="connsiteY14" fmla="*/ 7890317 h 11289744"/>
              <a:gd name="connsiteX15" fmla="*/ 8095181 w 8601603"/>
              <a:gd name="connsiteY15" fmla="*/ 8365265 h 11289744"/>
              <a:gd name="connsiteX16" fmla="*/ 8277257 w 8601603"/>
              <a:gd name="connsiteY16" fmla="*/ 8505581 h 11289744"/>
              <a:gd name="connsiteX17" fmla="*/ 8351197 w 8601603"/>
              <a:gd name="connsiteY17" fmla="*/ 8631030 h 11289744"/>
              <a:gd name="connsiteX18" fmla="*/ 8386565 w 8601603"/>
              <a:gd name="connsiteY18" fmla="*/ 8867862 h 11289744"/>
              <a:gd name="connsiteX19" fmla="*/ 8545599 w 8601603"/>
              <a:gd name="connsiteY19" fmla="*/ 9537730 h 11289744"/>
              <a:gd name="connsiteX20" fmla="*/ 8601603 w 8601603"/>
              <a:gd name="connsiteY20" fmla="*/ 9617245 h 11289744"/>
              <a:gd name="connsiteX21" fmla="*/ 8601602 w 8601603"/>
              <a:gd name="connsiteY21" fmla="*/ 10538480 h 11289744"/>
              <a:gd name="connsiteX22" fmla="*/ 7850338 w 8601603"/>
              <a:gd name="connsiteY22" fmla="*/ 11289744 h 11289744"/>
              <a:gd name="connsiteX23" fmla="*/ 751264 w 8601603"/>
              <a:gd name="connsiteY23" fmla="*/ 11289744 h 11289744"/>
              <a:gd name="connsiteX24" fmla="*/ 0 w 8601603"/>
              <a:gd name="connsiteY24" fmla="*/ 10538479 h 11289744"/>
              <a:gd name="connsiteX25" fmla="*/ 0 w 8601603"/>
              <a:gd name="connsiteY25" fmla="*/ 751264 h 11289744"/>
              <a:gd name="connsiteX26" fmla="*/ 674452 w 8601603"/>
              <a:gd name="connsiteY26" fmla="*/ 3879 h 11289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8601603" h="11289744">
                <a:moveTo>
                  <a:pt x="674452" y="3879"/>
                </a:moveTo>
                <a:cubicBezTo>
                  <a:pt x="699707" y="1314"/>
                  <a:pt x="725333" y="0"/>
                  <a:pt x="751265" y="0"/>
                </a:cubicBezTo>
                <a:lnTo>
                  <a:pt x="7850338" y="0"/>
                </a:lnTo>
                <a:cubicBezTo>
                  <a:pt x="8265250" y="0"/>
                  <a:pt x="8601602" y="336352"/>
                  <a:pt x="8601602" y="751264"/>
                </a:cubicBezTo>
                <a:lnTo>
                  <a:pt x="8601603" y="4924087"/>
                </a:lnTo>
                <a:lnTo>
                  <a:pt x="8586567" y="4934665"/>
                </a:lnTo>
                <a:cubicBezTo>
                  <a:pt x="8454036" y="5044458"/>
                  <a:pt x="8348562" y="5184437"/>
                  <a:pt x="8279633" y="5343840"/>
                </a:cubicBezTo>
                <a:cubicBezTo>
                  <a:pt x="8175146" y="5585460"/>
                  <a:pt x="8194577" y="5891854"/>
                  <a:pt x="8233439" y="6504641"/>
                </a:cubicBezTo>
                <a:lnTo>
                  <a:pt x="8273771" y="7140621"/>
                </a:lnTo>
                <a:cubicBezTo>
                  <a:pt x="8278202" y="7210497"/>
                  <a:pt x="8280418" y="7245442"/>
                  <a:pt x="8278026" y="7274994"/>
                </a:cubicBezTo>
                <a:cubicBezTo>
                  <a:pt x="8263339" y="7456487"/>
                  <a:pt x="8130945" y="7606722"/>
                  <a:pt x="7952647" y="7644215"/>
                </a:cubicBezTo>
                <a:cubicBezTo>
                  <a:pt x="7923611" y="7650313"/>
                  <a:pt x="7888653" y="7652530"/>
                  <a:pt x="7818734" y="7656964"/>
                </a:cubicBezTo>
                <a:lnTo>
                  <a:pt x="7447581" y="7680502"/>
                </a:lnTo>
                <a:cubicBezTo>
                  <a:pt x="7384247" y="7684519"/>
                  <a:pt x="7336159" y="7739091"/>
                  <a:pt x="7340173" y="7802374"/>
                </a:cubicBezTo>
                <a:cubicBezTo>
                  <a:pt x="7342427" y="7837921"/>
                  <a:pt x="7361051" y="7870397"/>
                  <a:pt x="7390591" y="7890317"/>
                </a:cubicBezTo>
                <a:lnTo>
                  <a:pt x="8095181" y="8365265"/>
                </a:lnTo>
                <a:cubicBezTo>
                  <a:pt x="8192545" y="8430895"/>
                  <a:pt x="8241226" y="8463717"/>
                  <a:pt x="8277257" y="8505581"/>
                </a:cubicBezTo>
                <a:cubicBezTo>
                  <a:pt x="8309981" y="8543603"/>
                  <a:pt x="8333787" y="8583990"/>
                  <a:pt x="8351197" y="8631030"/>
                </a:cubicBezTo>
                <a:cubicBezTo>
                  <a:pt x="8370367" y="8682820"/>
                  <a:pt x="8375767" y="8744505"/>
                  <a:pt x="8386565" y="8867862"/>
                </a:cubicBezTo>
                <a:cubicBezTo>
                  <a:pt x="8414054" y="9181872"/>
                  <a:pt x="8451769" y="9379350"/>
                  <a:pt x="8545599" y="9537730"/>
                </a:cubicBezTo>
                <a:lnTo>
                  <a:pt x="8601603" y="9617245"/>
                </a:lnTo>
                <a:lnTo>
                  <a:pt x="8601602" y="10538480"/>
                </a:lnTo>
                <a:cubicBezTo>
                  <a:pt x="8601602" y="10953392"/>
                  <a:pt x="8265250" y="11289744"/>
                  <a:pt x="7850338" y="11289744"/>
                </a:cubicBezTo>
                <a:lnTo>
                  <a:pt x="751264" y="11289744"/>
                </a:lnTo>
                <a:cubicBezTo>
                  <a:pt x="336353" y="11289744"/>
                  <a:pt x="0" y="10953392"/>
                  <a:pt x="0" y="10538479"/>
                </a:cubicBezTo>
                <a:lnTo>
                  <a:pt x="0" y="751264"/>
                </a:lnTo>
                <a:cubicBezTo>
                  <a:pt x="0" y="362284"/>
                  <a:pt x="295622" y="42351"/>
                  <a:pt x="674452" y="3879"/>
                </a:cubicBezTo>
                <a:close/>
              </a:path>
            </a:pathLst>
          </a:custGeom>
          <a:solidFill>
            <a:schemeClr val="accent2"/>
          </a:solidFill>
          <a:effectLst>
            <a:outerShdw blurRad="1022878" dist="364003" dir="8100000" algn="tr" rotWithShape="0">
              <a:schemeClr val="accent1">
                <a:alpha val="21000"/>
              </a:schemeClr>
            </a:outerShdw>
          </a:effectLst>
        </p:spPr>
        <p:txBody>
          <a:bodyPr wrap="square" anchor="ctr">
            <a:noAutofit/>
          </a:bodyPr>
          <a:lstStyle>
            <a:lvl1pPr algn="ctr">
              <a:defRPr sz="6000"/>
            </a:lvl1pPr>
          </a:lstStyle>
          <a:p>
            <a:r>
              <a:rPr lang="ru-RU" dirty="0"/>
              <a:t>Вставьте </a:t>
            </a:r>
            <a:br>
              <a:rPr lang="ru-RU" dirty="0"/>
            </a:br>
            <a:r>
              <a:rPr lang="ru-RU" dirty="0"/>
              <a:t>изображение </a:t>
            </a:r>
            <a:br>
              <a:rPr lang="ru-RU" dirty="0"/>
            </a:br>
            <a:r>
              <a:rPr lang="ru-RU" dirty="0"/>
              <a:t>сюда</a:t>
            </a:r>
          </a:p>
        </p:txBody>
      </p:sp>
      <p:sp>
        <p:nvSpPr>
          <p:cNvPr id="32" name="Полилиния 31">
            <a:extLst>
              <a:ext uri="{FF2B5EF4-FFF2-40B4-BE49-F238E27FC236}">
                <a16:creationId xmlns:a16="http://schemas.microsoft.com/office/drawing/2014/main" id="{91A9C095-422C-E168-AA5B-45DDB200808D}"/>
              </a:ext>
            </a:extLst>
          </p:cNvPr>
          <p:cNvSpPr/>
          <p:nvPr userDrawn="1"/>
        </p:nvSpPr>
        <p:spPr>
          <a:xfrm>
            <a:off x="9432421" y="6235179"/>
            <a:ext cx="14059891" cy="5399562"/>
          </a:xfrm>
          <a:custGeom>
            <a:avLst/>
            <a:gdLst>
              <a:gd name="connsiteX0" fmla="*/ 2537372 w 13073353"/>
              <a:gd name="connsiteY0" fmla="*/ 0 h 5020692"/>
              <a:gd name="connsiteX1" fmla="*/ 3867409 w 13073353"/>
              <a:gd name="connsiteY1" fmla="*/ 0 h 5020692"/>
              <a:gd name="connsiteX2" fmla="*/ 10111237 w 13073353"/>
              <a:gd name="connsiteY2" fmla="*/ 0 h 5020692"/>
              <a:gd name="connsiteX3" fmla="*/ 11441273 w 13073353"/>
              <a:gd name="connsiteY3" fmla="*/ 0 h 5020692"/>
              <a:gd name="connsiteX4" fmla="*/ 12516393 w 13073353"/>
              <a:gd name="connsiteY4" fmla="*/ 111111 h 5020692"/>
              <a:gd name="connsiteX5" fmla="*/ 12962181 w 13073353"/>
              <a:gd name="connsiteY5" fmla="*/ 556619 h 5020692"/>
              <a:gd name="connsiteX6" fmla="*/ 13073353 w 13073353"/>
              <a:gd name="connsiteY6" fmla="*/ 1631088 h 5020692"/>
              <a:gd name="connsiteX7" fmla="*/ 13073353 w 13073353"/>
              <a:gd name="connsiteY7" fmla="*/ 3389604 h 5020692"/>
              <a:gd name="connsiteX8" fmla="*/ 12962181 w 13073353"/>
              <a:gd name="connsiteY8" fmla="*/ 4464071 h 5020692"/>
              <a:gd name="connsiteX9" fmla="*/ 12516393 w 13073353"/>
              <a:gd name="connsiteY9" fmla="*/ 4909587 h 5020692"/>
              <a:gd name="connsiteX10" fmla="*/ 11441273 w 13073353"/>
              <a:gd name="connsiteY10" fmla="*/ 5020692 h 5020692"/>
              <a:gd name="connsiteX11" fmla="*/ 10111237 w 13073353"/>
              <a:gd name="connsiteY11" fmla="*/ 5020692 h 5020692"/>
              <a:gd name="connsiteX12" fmla="*/ 3867409 w 13073353"/>
              <a:gd name="connsiteY12" fmla="*/ 5020692 h 5020692"/>
              <a:gd name="connsiteX13" fmla="*/ 2537372 w 13073353"/>
              <a:gd name="connsiteY13" fmla="*/ 5020692 h 5020692"/>
              <a:gd name="connsiteX14" fmla="*/ 1462253 w 13073353"/>
              <a:gd name="connsiteY14" fmla="*/ 4909587 h 5020692"/>
              <a:gd name="connsiteX15" fmla="*/ 1016473 w 13073353"/>
              <a:gd name="connsiteY15" fmla="*/ 4464071 h 5020692"/>
              <a:gd name="connsiteX16" fmla="*/ 908316 w 13073353"/>
              <a:gd name="connsiteY16" fmla="*/ 3833095 h 5020692"/>
              <a:gd name="connsiteX17" fmla="*/ 889433 w 13073353"/>
              <a:gd name="connsiteY17" fmla="*/ 3611241 h 5020692"/>
              <a:gd name="connsiteX18" fmla="*/ 828201 w 13073353"/>
              <a:gd name="connsiteY18" fmla="*/ 3490477 h 5020692"/>
              <a:gd name="connsiteX19" fmla="*/ 667498 w 13073353"/>
              <a:gd name="connsiteY19" fmla="*/ 3349553 h 5020692"/>
              <a:gd name="connsiteX20" fmla="*/ 41611 w 13073353"/>
              <a:gd name="connsiteY20" fmla="*/ 2867351 h 5020692"/>
              <a:gd name="connsiteX21" fmla="*/ 0 w 13073353"/>
              <a:gd name="connsiteY21" fmla="*/ 2782776 h 5020692"/>
              <a:gd name="connsiteX22" fmla="*/ 106843 w 13073353"/>
              <a:gd name="connsiteY22" fmla="*/ 2676003 h 5020692"/>
              <a:gd name="connsiteX23" fmla="*/ 452647 w 13073353"/>
              <a:gd name="connsiteY23" fmla="*/ 2676003 h 5020692"/>
              <a:gd name="connsiteX24" fmla="*/ 577664 w 13073353"/>
              <a:gd name="connsiteY24" fmla="*/ 2672053 h 5020692"/>
              <a:gd name="connsiteX25" fmla="*/ 901335 w 13073353"/>
              <a:gd name="connsiteY25" fmla="*/ 2348575 h 5020692"/>
              <a:gd name="connsiteX26" fmla="*/ 905294 w 13073353"/>
              <a:gd name="connsiteY26" fmla="*/ 2223631 h 5020692"/>
              <a:gd name="connsiteX27" fmla="*/ 905294 w 13073353"/>
              <a:gd name="connsiteY27" fmla="*/ 1631088 h 5020692"/>
              <a:gd name="connsiteX28" fmla="*/ 1016473 w 13073353"/>
              <a:gd name="connsiteY28" fmla="*/ 556619 h 5020692"/>
              <a:gd name="connsiteX29" fmla="*/ 1462253 w 13073353"/>
              <a:gd name="connsiteY29" fmla="*/ 111111 h 5020692"/>
              <a:gd name="connsiteX30" fmla="*/ 2537372 w 13073353"/>
              <a:gd name="connsiteY30" fmla="*/ 0 h 5020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3073353" h="5020692">
                <a:moveTo>
                  <a:pt x="2537372" y="0"/>
                </a:moveTo>
                <a:lnTo>
                  <a:pt x="3867409" y="0"/>
                </a:lnTo>
                <a:lnTo>
                  <a:pt x="10111237" y="0"/>
                </a:lnTo>
                <a:lnTo>
                  <a:pt x="11441273" y="0"/>
                </a:lnTo>
                <a:cubicBezTo>
                  <a:pt x="12012553" y="0"/>
                  <a:pt x="12298193" y="0"/>
                  <a:pt x="12516393" y="111111"/>
                </a:cubicBezTo>
                <a:cubicBezTo>
                  <a:pt x="12708329" y="208847"/>
                  <a:pt x="12864383" y="364800"/>
                  <a:pt x="12962181" y="556619"/>
                </a:cubicBezTo>
                <a:cubicBezTo>
                  <a:pt x="13073353" y="774686"/>
                  <a:pt x="13073353" y="1060154"/>
                  <a:pt x="13073353" y="1631088"/>
                </a:cubicBezTo>
                <a:lnTo>
                  <a:pt x="13073353" y="3389604"/>
                </a:lnTo>
                <a:cubicBezTo>
                  <a:pt x="13073353" y="3960536"/>
                  <a:pt x="13073353" y="4246002"/>
                  <a:pt x="12962181" y="4464071"/>
                </a:cubicBezTo>
                <a:cubicBezTo>
                  <a:pt x="12864383" y="4655889"/>
                  <a:pt x="12708329" y="4811849"/>
                  <a:pt x="12516393" y="4909587"/>
                </a:cubicBezTo>
                <a:cubicBezTo>
                  <a:pt x="12298193" y="5020692"/>
                  <a:pt x="12012553" y="5020692"/>
                  <a:pt x="11441273" y="5020692"/>
                </a:cubicBezTo>
                <a:lnTo>
                  <a:pt x="10111237" y="5020692"/>
                </a:lnTo>
                <a:lnTo>
                  <a:pt x="3867409" y="5020692"/>
                </a:lnTo>
                <a:lnTo>
                  <a:pt x="2537372" y="5020692"/>
                </a:lnTo>
                <a:cubicBezTo>
                  <a:pt x="1966094" y="5020692"/>
                  <a:pt x="1680455" y="5020692"/>
                  <a:pt x="1462253" y="4909587"/>
                </a:cubicBezTo>
                <a:cubicBezTo>
                  <a:pt x="1270316" y="4811849"/>
                  <a:pt x="1114267" y="4655889"/>
                  <a:pt x="1016473" y="4464071"/>
                </a:cubicBezTo>
                <a:cubicBezTo>
                  <a:pt x="938722" y="4311577"/>
                  <a:pt x="915345" y="4126104"/>
                  <a:pt x="908316" y="3833095"/>
                </a:cubicBezTo>
                <a:cubicBezTo>
                  <a:pt x="905555" y="3717988"/>
                  <a:pt x="904174" y="3660429"/>
                  <a:pt x="889433" y="3611241"/>
                </a:cubicBezTo>
                <a:cubicBezTo>
                  <a:pt x="876045" y="3566565"/>
                  <a:pt x="856331" y="3527686"/>
                  <a:pt x="828201" y="3490477"/>
                </a:cubicBezTo>
                <a:cubicBezTo>
                  <a:pt x="797230" y="3449508"/>
                  <a:pt x="753987" y="3416186"/>
                  <a:pt x="667498" y="3349553"/>
                </a:cubicBezTo>
                <a:lnTo>
                  <a:pt x="41611" y="2867351"/>
                </a:lnTo>
                <a:cubicBezTo>
                  <a:pt x="15371" y="2847128"/>
                  <a:pt x="0" y="2815895"/>
                  <a:pt x="0" y="2782776"/>
                </a:cubicBezTo>
                <a:cubicBezTo>
                  <a:pt x="0" y="2723815"/>
                  <a:pt x="47835" y="2676003"/>
                  <a:pt x="106843" y="2676003"/>
                </a:cubicBezTo>
                <a:lnTo>
                  <a:pt x="452647" y="2676003"/>
                </a:lnTo>
                <a:cubicBezTo>
                  <a:pt x="517791" y="2676003"/>
                  <a:pt x="550362" y="2676003"/>
                  <a:pt x="577664" y="2672053"/>
                </a:cubicBezTo>
                <a:cubicBezTo>
                  <a:pt x="745326" y="2647753"/>
                  <a:pt x="877025" y="2516131"/>
                  <a:pt x="901335" y="2348575"/>
                </a:cubicBezTo>
                <a:cubicBezTo>
                  <a:pt x="905294" y="2321293"/>
                  <a:pt x="905294" y="2288735"/>
                  <a:pt x="905294" y="2223631"/>
                </a:cubicBezTo>
                <a:lnTo>
                  <a:pt x="905294" y="1631088"/>
                </a:lnTo>
                <a:cubicBezTo>
                  <a:pt x="905294" y="1060154"/>
                  <a:pt x="905294" y="774686"/>
                  <a:pt x="1016473" y="556619"/>
                </a:cubicBezTo>
                <a:cubicBezTo>
                  <a:pt x="1114267" y="364800"/>
                  <a:pt x="1270316" y="208848"/>
                  <a:pt x="1462253" y="111111"/>
                </a:cubicBezTo>
                <a:cubicBezTo>
                  <a:pt x="1680455" y="0"/>
                  <a:pt x="1966094" y="0"/>
                  <a:pt x="2537372" y="0"/>
                </a:cubicBez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tx2">
                  <a:lumMod val="40000"/>
                  <a:lumOff val="60000"/>
                </a:schemeClr>
              </a:gs>
            </a:gsLst>
            <a:lin ang="4200000" scaled="0"/>
          </a:gradFill>
          <a:ln w="13362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7" name="Заголовок 5">
            <a:extLst>
              <a:ext uri="{FF2B5EF4-FFF2-40B4-BE49-F238E27FC236}">
                <a16:creationId xmlns:a16="http://schemas.microsoft.com/office/drawing/2014/main" id="{AAB44F19-07FE-7974-42A3-86872E2CA2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108873" y="2630642"/>
            <a:ext cx="10597140" cy="3046988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algn="l" defTabSz="1828595" rtl="0" eaLnBrk="1" latinLnBrk="0" hangingPunct="1">
              <a:defRPr lang="ru-RU" sz="9600" kern="1200" dirty="0">
                <a:solidFill>
                  <a:srgbClr val="FFFFFF"/>
                </a:solidFill>
                <a:latin typeface="+mj-lt"/>
                <a:ea typeface="+mn-ea"/>
                <a:cs typeface="YS TextDisplay Wide Heavy Wide " pitchFamily="2" charset="-52"/>
              </a:defRPr>
            </a:lvl1pPr>
          </a:lstStyle>
          <a:p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</p:txBody>
      </p:sp>
      <p:sp>
        <p:nvSpPr>
          <p:cNvPr id="9" name="Текст 11">
            <a:extLst>
              <a:ext uri="{FF2B5EF4-FFF2-40B4-BE49-F238E27FC236}">
                <a16:creationId xmlns:a16="http://schemas.microsoft.com/office/drawing/2014/main" id="{EEA36AF8-305C-8DFE-8071-B259F95D21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108873" y="8577854"/>
            <a:ext cx="10285104" cy="74789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Aft>
                <a:spcPts val="0"/>
              </a:spcAft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Тема выступления</a:t>
            </a:r>
          </a:p>
        </p:txBody>
      </p:sp>
    </p:spTree>
    <p:extLst>
      <p:ext uri="{BB962C8B-B14F-4D97-AF65-F5344CB8AC3E}">
        <p14:creationId xmlns:p14="http://schemas.microsoft.com/office/powerpoint/2010/main" val="50064089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и три буллита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Рисунок 2">
            <a:extLst>
              <a:ext uri="{FF2B5EF4-FFF2-40B4-BE49-F238E27FC236}">
                <a16:creationId xmlns:a16="http://schemas.microsoft.com/office/drawing/2014/main" id="{4BEA2A86-4733-B0FF-54C0-BBA7BB7DBCDD}"/>
              </a:ext>
            </a:extLst>
          </p:cNvPr>
          <p:cNvSpPr/>
          <p:nvPr userDrawn="1"/>
        </p:nvSpPr>
        <p:spPr>
          <a:xfrm>
            <a:off x="-4421190" y="-732335"/>
            <a:ext cx="33285750" cy="14388428"/>
          </a:xfrm>
          <a:custGeom>
            <a:avLst/>
            <a:gdLst>
              <a:gd name="connsiteX0" fmla="*/ 24781932 w 25004707"/>
              <a:gd name="connsiteY0" fmla="*/ 4992328 h 10808782"/>
              <a:gd name="connsiteX1" fmla="*/ 24813712 w 25004707"/>
              <a:gd name="connsiteY1" fmla="*/ 4507894 h 10808782"/>
              <a:gd name="connsiteX2" fmla="*/ 24781932 w 25004707"/>
              <a:gd name="connsiteY2" fmla="*/ 4992328 h 10808782"/>
              <a:gd name="connsiteX3" fmla="*/ 24749994 w 25004707"/>
              <a:gd name="connsiteY3" fmla="*/ 5477249 h 10808782"/>
              <a:gd name="connsiteX4" fmla="*/ 24781932 w 25004707"/>
              <a:gd name="connsiteY4" fmla="*/ 4992328 h 10808782"/>
              <a:gd name="connsiteX5" fmla="*/ 23497668 w 25004707"/>
              <a:gd name="connsiteY5" fmla="*/ 4908160 h 10808782"/>
              <a:gd name="connsiteX6" fmla="*/ 23465886 w 25004707"/>
              <a:gd name="connsiteY6" fmla="*/ 5393065 h 10808782"/>
              <a:gd name="connsiteX7" fmla="*/ 24813712 w 25004707"/>
              <a:gd name="connsiteY7" fmla="*/ 4507894 h 10808782"/>
              <a:gd name="connsiteX8" fmla="*/ 24845492 w 25004707"/>
              <a:gd name="connsiteY8" fmla="*/ 4022989 h 10808782"/>
              <a:gd name="connsiteX9" fmla="*/ 24813712 w 25004707"/>
              <a:gd name="connsiteY9" fmla="*/ 4507894 h 10808782"/>
              <a:gd name="connsiteX10" fmla="*/ 23529446 w 25004707"/>
              <a:gd name="connsiteY10" fmla="*/ 4423711 h 10808782"/>
              <a:gd name="connsiteX11" fmla="*/ 24718214 w 25004707"/>
              <a:gd name="connsiteY11" fmla="*/ 5961666 h 10808782"/>
              <a:gd name="connsiteX12" fmla="*/ 24686276 w 25004707"/>
              <a:gd name="connsiteY12" fmla="*/ 6446571 h 10808782"/>
              <a:gd name="connsiteX13" fmla="*/ 23402168 w 25004707"/>
              <a:gd name="connsiteY13" fmla="*/ 6362388 h 10808782"/>
              <a:gd name="connsiteX14" fmla="*/ 24718214 w 25004707"/>
              <a:gd name="connsiteY14" fmla="*/ 5961666 h 10808782"/>
              <a:gd name="connsiteX15" fmla="*/ 24749994 w 25004707"/>
              <a:gd name="connsiteY15" fmla="*/ 5477249 h 10808782"/>
              <a:gd name="connsiteX16" fmla="*/ 24718214 w 25004707"/>
              <a:gd name="connsiteY16" fmla="*/ 5961666 h 10808782"/>
              <a:gd name="connsiteX17" fmla="*/ 23433948 w 25004707"/>
              <a:gd name="connsiteY17" fmla="*/ 5877498 h 10808782"/>
              <a:gd name="connsiteX18" fmla="*/ 24749994 w 25004707"/>
              <a:gd name="connsiteY18" fmla="*/ 5477249 h 10808782"/>
              <a:gd name="connsiteX19" fmla="*/ 23465886 w 25004707"/>
              <a:gd name="connsiteY19" fmla="*/ 5393065 h 10808782"/>
              <a:gd name="connsiteX20" fmla="*/ 24940990 w 25004707"/>
              <a:gd name="connsiteY20" fmla="*/ 2568777 h 10808782"/>
              <a:gd name="connsiteX21" fmla="*/ 24909210 w 25004707"/>
              <a:gd name="connsiteY21" fmla="*/ 3053682 h 10808782"/>
              <a:gd name="connsiteX22" fmla="*/ 23624944 w 25004707"/>
              <a:gd name="connsiteY22" fmla="*/ 2969499 h 10808782"/>
              <a:gd name="connsiteX23" fmla="*/ 24877430 w 25004707"/>
              <a:gd name="connsiteY23" fmla="*/ 3538571 h 10808782"/>
              <a:gd name="connsiteX24" fmla="*/ 24845492 w 25004707"/>
              <a:gd name="connsiteY24" fmla="*/ 4023005 h 10808782"/>
              <a:gd name="connsiteX25" fmla="*/ 24845492 w 25004707"/>
              <a:gd name="connsiteY25" fmla="*/ 4023005 h 10808782"/>
              <a:gd name="connsiteX26" fmla="*/ 24856664 w 25004707"/>
              <a:gd name="connsiteY26" fmla="*/ 4023744 h 10808782"/>
              <a:gd name="connsiteX27" fmla="*/ 24845492 w 25004707"/>
              <a:gd name="connsiteY27" fmla="*/ 4023005 h 10808782"/>
              <a:gd name="connsiteX28" fmla="*/ 23561384 w 25004707"/>
              <a:gd name="connsiteY28" fmla="*/ 3938837 h 10808782"/>
              <a:gd name="connsiteX29" fmla="*/ 24940990 w 25004707"/>
              <a:gd name="connsiteY29" fmla="*/ 2568777 h 10808782"/>
              <a:gd name="connsiteX30" fmla="*/ 23656882 w 25004707"/>
              <a:gd name="connsiteY30" fmla="*/ 2484594 h 10808782"/>
              <a:gd name="connsiteX31" fmla="*/ 23624944 w 25004707"/>
              <a:gd name="connsiteY31" fmla="*/ 2969499 h 10808782"/>
              <a:gd name="connsiteX32" fmla="*/ 24940990 w 25004707"/>
              <a:gd name="connsiteY32" fmla="*/ 2568777 h 10808782"/>
              <a:gd name="connsiteX33" fmla="*/ 24952160 w 25004707"/>
              <a:gd name="connsiteY33" fmla="*/ 2569500 h 10808782"/>
              <a:gd name="connsiteX34" fmla="*/ 24940990 w 25004707"/>
              <a:gd name="connsiteY34" fmla="*/ 2568777 h 10808782"/>
              <a:gd name="connsiteX35" fmla="*/ 25004708 w 25004707"/>
              <a:gd name="connsiteY35" fmla="*/ 1599423 h 10808782"/>
              <a:gd name="connsiteX36" fmla="*/ 5763304 w 25004707"/>
              <a:gd name="connsiteY36" fmla="*/ 338142 h 10808782"/>
              <a:gd name="connsiteX37" fmla="*/ 631905 w 25004707"/>
              <a:gd name="connsiteY37" fmla="*/ 1774 h 10808782"/>
              <a:gd name="connsiteX38" fmla="*/ 604841 w 25004707"/>
              <a:gd name="connsiteY38" fmla="*/ 0 h 10808782"/>
              <a:gd name="connsiteX39" fmla="*/ 0 w 25004707"/>
              <a:gd name="connsiteY39" fmla="*/ 9209356 h 10808782"/>
              <a:gd name="connsiteX40" fmla="*/ 1284177 w 25004707"/>
              <a:gd name="connsiteY40" fmla="*/ 9293539 h 10808782"/>
              <a:gd name="connsiteX41" fmla="*/ 24909210 w 25004707"/>
              <a:gd name="connsiteY41" fmla="*/ 3053651 h 10808782"/>
              <a:gd name="connsiteX42" fmla="*/ 24877430 w 25004707"/>
              <a:gd name="connsiteY42" fmla="*/ 3538556 h 10808782"/>
              <a:gd name="connsiteX43" fmla="*/ 23593164 w 25004707"/>
              <a:gd name="connsiteY43" fmla="*/ 3454388 h 10808782"/>
              <a:gd name="connsiteX44" fmla="*/ 24590780 w 25004707"/>
              <a:gd name="connsiteY44" fmla="*/ 7900799 h 10808782"/>
              <a:gd name="connsiteX45" fmla="*/ 24622718 w 25004707"/>
              <a:gd name="connsiteY45" fmla="*/ 7415910 h 10808782"/>
              <a:gd name="connsiteX46" fmla="*/ 24590780 w 25004707"/>
              <a:gd name="connsiteY46" fmla="*/ 7900799 h 10808782"/>
              <a:gd name="connsiteX47" fmla="*/ 23306672 w 25004707"/>
              <a:gd name="connsiteY47" fmla="*/ 7816615 h 10808782"/>
              <a:gd name="connsiteX48" fmla="*/ 23274890 w 25004707"/>
              <a:gd name="connsiteY48" fmla="*/ 8301049 h 10808782"/>
              <a:gd name="connsiteX49" fmla="*/ 21990782 w 25004707"/>
              <a:gd name="connsiteY49" fmla="*/ 8216849 h 10808782"/>
              <a:gd name="connsiteX50" fmla="*/ 21466882 w 25004707"/>
              <a:gd name="connsiteY50" fmla="*/ 8182522 h 10808782"/>
              <a:gd name="connsiteX51" fmla="*/ 20799970 w 25004707"/>
              <a:gd name="connsiteY51" fmla="*/ 8169870 h 10808782"/>
              <a:gd name="connsiteX52" fmla="*/ 24590780 w 25004707"/>
              <a:gd name="connsiteY52" fmla="*/ 7900799 h 10808782"/>
              <a:gd name="connsiteX53" fmla="*/ 24601948 w 25004707"/>
              <a:gd name="connsiteY53" fmla="*/ 7901538 h 10808782"/>
              <a:gd name="connsiteX54" fmla="*/ 24622718 w 25004707"/>
              <a:gd name="connsiteY54" fmla="*/ 7415910 h 10808782"/>
              <a:gd name="connsiteX55" fmla="*/ 24654496 w 25004707"/>
              <a:gd name="connsiteY55" fmla="*/ 6931005 h 10808782"/>
              <a:gd name="connsiteX56" fmla="*/ 24622718 w 25004707"/>
              <a:gd name="connsiteY56" fmla="*/ 7415910 h 10808782"/>
              <a:gd name="connsiteX57" fmla="*/ 23338452 w 25004707"/>
              <a:gd name="connsiteY57" fmla="*/ 7331710 h 10808782"/>
              <a:gd name="connsiteX58" fmla="*/ 24558998 w 25004707"/>
              <a:gd name="connsiteY58" fmla="*/ 8385232 h 10808782"/>
              <a:gd name="connsiteX59" fmla="*/ 24527218 w 25004707"/>
              <a:gd name="connsiteY59" fmla="*/ 8870137 h 10808782"/>
              <a:gd name="connsiteX60" fmla="*/ 23242952 w 25004707"/>
              <a:gd name="connsiteY60" fmla="*/ 8785953 h 10808782"/>
              <a:gd name="connsiteX61" fmla="*/ 24558998 w 25004707"/>
              <a:gd name="connsiteY61" fmla="*/ 8385232 h 10808782"/>
              <a:gd name="connsiteX62" fmla="*/ 24590780 w 25004707"/>
              <a:gd name="connsiteY62" fmla="*/ 7900799 h 10808782"/>
              <a:gd name="connsiteX63" fmla="*/ 24558998 w 25004707"/>
              <a:gd name="connsiteY63" fmla="*/ 8385232 h 10808782"/>
              <a:gd name="connsiteX64" fmla="*/ 23274890 w 25004707"/>
              <a:gd name="connsiteY64" fmla="*/ 8301049 h 10808782"/>
              <a:gd name="connsiteX65" fmla="*/ 23242952 w 25004707"/>
              <a:gd name="connsiteY65" fmla="*/ 8785953 h 10808782"/>
              <a:gd name="connsiteX66" fmla="*/ 24654496 w 25004707"/>
              <a:gd name="connsiteY66" fmla="*/ 6931005 h 10808782"/>
              <a:gd name="connsiteX67" fmla="*/ 24686434 w 25004707"/>
              <a:gd name="connsiteY67" fmla="*/ 6446571 h 10808782"/>
              <a:gd name="connsiteX68" fmla="*/ 24697448 w 25004707"/>
              <a:gd name="connsiteY68" fmla="*/ 6447294 h 10808782"/>
              <a:gd name="connsiteX69" fmla="*/ 24654496 w 25004707"/>
              <a:gd name="connsiteY69" fmla="*/ 6931005 h 10808782"/>
              <a:gd name="connsiteX70" fmla="*/ 23370388 w 25004707"/>
              <a:gd name="connsiteY70" fmla="*/ 6846837 h 10808782"/>
              <a:gd name="connsiteX71" fmla="*/ 24463500 w 25004707"/>
              <a:gd name="connsiteY71" fmla="*/ 9839444 h 10808782"/>
              <a:gd name="connsiteX72" fmla="*/ 24431722 w 25004707"/>
              <a:gd name="connsiteY72" fmla="*/ 10323878 h 10808782"/>
              <a:gd name="connsiteX73" fmla="*/ 23147614 w 25004707"/>
              <a:gd name="connsiteY73" fmla="*/ 10239694 h 10808782"/>
              <a:gd name="connsiteX74" fmla="*/ 23338608 w 25004707"/>
              <a:gd name="connsiteY74" fmla="*/ 7331726 h 10808782"/>
              <a:gd name="connsiteX75" fmla="*/ 23306672 w 25004707"/>
              <a:gd name="connsiteY75" fmla="*/ 7816631 h 10808782"/>
              <a:gd name="connsiteX76" fmla="*/ 22022564 w 25004707"/>
              <a:gd name="connsiteY76" fmla="*/ 7732447 h 10808782"/>
              <a:gd name="connsiteX77" fmla="*/ 23242952 w 25004707"/>
              <a:gd name="connsiteY77" fmla="*/ 8785953 h 10808782"/>
              <a:gd name="connsiteX78" fmla="*/ 23211172 w 25004707"/>
              <a:gd name="connsiteY78" fmla="*/ 9270371 h 10808782"/>
              <a:gd name="connsiteX79" fmla="*/ 23242952 w 25004707"/>
              <a:gd name="connsiteY79" fmla="*/ 8785953 h 10808782"/>
              <a:gd name="connsiteX80" fmla="*/ 21958844 w 25004707"/>
              <a:gd name="connsiteY80" fmla="*/ 8701770 h 10808782"/>
              <a:gd name="connsiteX81" fmla="*/ 23433948 w 25004707"/>
              <a:gd name="connsiteY81" fmla="*/ 5877498 h 10808782"/>
              <a:gd name="connsiteX82" fmla="*/ 23465886 w 25004707"/>
              <a:gd name="connsiteY82" fmla="*/ 5393065 h 10808782"/>
              <a:gd name="connsiteX83" fmla="*/ 23433948 w 25004707"/>
              <a:gd name="connsiteY83" fmla="*/ 5877498 h 10808782"/>
              <a:gd name="connsiteX84" fmla="*/ 22149840 w 25004707"/>
              <a:gd name="connsiteY84" fmla="*/ 5793299 h 10808782"/>
              <a:gd name="connsiteX85" fmla="*/ 22138828 w 25004707"/>
              <a:gd name="connsiteY85" fmla="*/ 6277685 h 10808782"/>
              <a:gd name="connsiteX86" fmla="*/ 23465886 w 25004707"/>
              <a:gd name="connsiteY86" fmla="*/ 5393065 h 10808782"/>
              <a:gd name="connsiteX87" fmla="*/ 22181622 w 25004707"/>
              <a:gd name="connsiteY87" fmla="*/ 5308881 h 10808782"/>
              <a:gd name="connsiteX88" fmla="*/ 23115676 w 25004707"/>
              <a:gd name="connsiteY88" fmla="*/ 10724599 h 10808782"/>
              <a:gd name="connsiteX89" fmla="*/ 23147614 w 25004707"/>
              <a:gd name="connsiteY89" fmla="*/ 10239709 h 10808782"/>
              <a:gd name="connsiteX90" fmla="*/ 23115676 w 25004707"/>
              <a:gd name="connsiteY90" fmla="*/ 10724599 h 10808782"/>
              <a:gd name="connsiteX91" fmla="*/ 24399940 w 25004707"/>
              <a:gd name="connsiteY91" fmla="*/ 10808782 h 10808782"/>
              <a:gd name="connsiteX92" fmla="*/ 24431722 w 25004707"/>
              <a:gd name="connsiteY92" fmla="*/ 10323878 h 10808782"/>
              <a:gd name="connsiteX93" fmla="*/ 23115676 w 25004707"/>
              <a:gd name="connsiteY93" fmla="*/ 10724599 h 10808782"/>
              <a:gd name="connsiteX94" fmla="*/ 21831568 w 25004707"/>
              <a:gd name="connsiteY94" fmla="*/ 10640431 h 10808782"/>
              <a:gd name="connsiteX95" fmla="*/ 23147614 w 25004707"/>
              <a:gd name="connsiteY95" fmla="*/ 10239709 h 10808782"/>
              <a:gd name="connsiteX96" fmla="*/ 23179392 w 25004707"/>
              <a:gd name="connsiteY96" fmla="*/ 9755261 h 10808782"/>
              <a:gd name="connsiteX97" fmla="*/ 23147614 w 25004707"/>
              <a:gd name="connsiteY97" fmla="*/ 10239709 h 10808782"/>
              <a:gd name="connsiteX98" fmla="*/ 21863348 w 25004707"/>
              <a:gd name="connsiteY98" fmla="*/ 10155526 h 10808782"/>
              <a:gd name="connsiteX99" fmla="*/ 23720600 w 25004707"/>
              <a:gd name="connsiteY99" fmla="*/ 1515244 h 10808782"/>
              <a:gd name="connsiteX100" fmla="*/ 23688662 w 25004707"/>
              <a:gd name="connsiteY100" fmla="*/ 2000144 h 10808782"/>
              <a:gd name="connsiteX101" fmla="*/ 23688662 w 25004707"/>
              <a:gd name="connsiteY101" fmla="*/ 2000144 h 10808782"/>
              <a:gd name="connsiteX102" fmla="*/ 24972772 w 25004707"/>
              <a:gd name="connsiteY102" fmla="*/ 2084312 h 10808782"/>
              <a:gd name="connsiteX103" fmla="*/ 23688662 w 25004707"/>
              <a:gd name="connsiteY103" fmla="*/ 2000144 h 10808782"/>
              <a:gd name="connsiteX104" fmla="*/ 22404554 w 25004707"/>
              <a:gd name="connsiteY104" fmla="*/ 1915976 h 10808782"/>
              <a:gd name="connsiteX105" fmla="*/ 23179392 w 25004707"/>
              <a:gd name="connsiteY105" fmla="*/ 9755261 h 10808782"/>
              <a:gd name="connsiteX106" fmla="*/ 23211172 w 25004707"/>
              <a:gd name="connsiteY106" fmla="*/ 9270387 h 10808782"/>
              <a:gd name="connsiteX107" fmla="*/ 23179392 w 25004707"/>
              <a:gd name="connsiteY107" fmla="*/ 9755261 h 10808782"/>
              <a:gd name="connsiteX108" fmla="*/ 21895126 w 25004707"/>
              <a:gd name="connsiteY108" fmla="*/ 9671092 h 10808782"/>
              <a:gd name="connsiteX109" fmla="*/ 21863348 w 25004707"/>
              <a:gd name="connsiteY109" fmla="*/ 10155526 h 10808782"/>
              <a:gd name="connsiteX110" fmla="*/ 23179392 w 25004707"/>
              <a:gd name="connsiteY110" fmla="*/ 9755261 h 10808782"/>
              <a:gd name="connsiteX111" fmla="*/ 24463500 w 25004707"/>
              <a:gd name="connsiteY111" fmla="*/ 9839460 h 10808782"/>
              <a:gd name="connsiteX112" fmla="*/ 24495438 w 25004707"/>
              <a:gd name="connsiteY112" fmla="*/ 9354555 h 10808782"/>
              <a:gd name="connsiteX113" fmla="*/ 24506452 w 25004707"/>
              <a:gd name="connsiteY113" fmla="*/ 9355294 h 10808782"/>
              <a:gd name="connsiteX114" fmla="*/ 23593164 w 25004707"/>
              <a:gd name="connsiteY114" fmla="*/ 3454388 h 10808782"/>
              <a:gd name="connsiteX115" fmla="*/ 23625102 w 25004707"/>
              <a:gd name="connsiteY115" fmla="*/ 2969483 h 10808782"/>
              <a:gd name="connsiteX116" fmla="*/ 23593164 w 25004707"/>
              <a:gd name="connsiteY116" fmla="*/ 3454388 h 10808782"/>
              <a:gd name="connsiteX117" fmla="*/ 22309056 w 25004707"/>
              <a:gd name="connsiteY117" fmla="*/ 3370204 h 10808782"/>
              <a:gd name="connsiteX118" fmla="*/ 23624944 w 25004707"/>
              <a:gd name="connsiteY118" fmla="*/ 2969499 h 10808782"/>
              <a:gd name="connsiteX119" fmla="*/ 22340836 w 25004707"/>
              <a:gd name="connsiteY119" fmla="*/ 2885315 h 10808782"/>
              <a:gd name="connsiteX120" fmla="*/ 23593164 w 25004707"/>
              <a:gd name="connsiteY120" fmla="*/ 3454388 h 10808782"/>
              <a:gd name="connsiteX121" fmla="*/ 23561384 w 25004707"/>
              <a:gd name="connsiteY121" fmla="*/ 3938821 h 10808782"/>
              <a:gd name="connsiteX122" fmla="*/ 22277118 w 25004707"/>
              <a:gd name="connsiteY122" fmla="*/ 3854653 h 10808782"/>
              <a:gd name="connsiteX123" fmla="*/ 23434106 w 25004707"/>
              <a:gd name="connsiteY123" fmla="*/ 5877482 h 10808782"/>
              <a:gd name="connsiteX124" fmla="*/ 23402168 w 25004707"/>
              <a:gd name="connsiteY124" fmla="*/ 6362388 h 10808782"/>
              <a:gd name="connsiteX125" fmla="*/ 22450808 w 25004707"/>
              <a:gd name="connsiteY125" fmla="*/ 6300020 h 10808782"/>
              <a:gd name="connsiteX126" fmla="*/ 22138828 w 25004707"/>
              <a:gd name="connsiteY126" fmla="*/ 6277685 h 10808782"/>
              <a:gd name="connsiteX127" fmla="*/ 23370388 w 25004707"/>
              <a:gd name="connsiteY127" fmla="*/ 6846837 h 10808782"/>
              <a:gd name="connsiteX128" fmla="*/ 23402168 w 25004707"/>
              <a:gd name="connsiteY128" fmla="*/ 6362404 h 10808782"/>
              <a:gd name="connsiteX129" fmla="*/ 23370388 w 25004707"/>
              <a:gd name="connsiteY129" fmla="*/ 6846837 h 10808782"/>
              <a:gd name="connsiteX130" fmla="*/ 23338452 w 25004707"/>
              <a:gd name="connsiteY130" fmla="*/ 7331710 h 10808782"/>
              <a:gd name="connsiteX131" fmla="*/ 23370388 w 25004707"/>
              <a:gd name="connsiteY131" fmla="*/ 6846837 h 10808782"/>
              <a:gd name="connsiteX132" fmla="*/ 22133950 w 25004707"/>
              <a:gd name="connsiteY132" fmla="*/ 6765781 h 10808782"/>
              <a:gd name="connsiteX133" fmla="*/ 23529604 w 25004707"/>
              <a:gd name="connsiteY133" fmla="*/ 4423711 h 10808782"/>
              <a:gd name="connsiteX134" fmla="*/ 23561384 w 25004707"/>
              <a:gd name="connsiteY134" fmla="*/ 3938806 h 10808782"/>
              <a:gd name="connsiteX135" fmla="*/ 23529604 w 25004707"/>
              <a:gd name="connsiteY135" fmla="*/ 4423711 h 10808782"/>
              <a:gd name="connsiteX136" fmla="*/ 23497668 w 25004707"/>
              <a:gd name="connsiteY136" fmla="*/ 4908160 h 10808782"/>
              <a:gd name="connsiteX137" fmla="*/ 22213560 w 25004707"/>
              <a:gd name="connsiteY137" fmla="*/ 4823976 h 10808782"/>
              <a:gd name="connsiteX138" fmla="*/ 23529604 w 25004707"/>
              <a:gd name="connsiteY138" fmla="*/ 4423711 h 10808782"/>
              <a:gd name="connsiteX139" fmla="*/ 22245338 w 25004707"/>
              <a:gd name="connsiteY139" fmla="*/ 4339527 h 10808782"/>
              <a:gd name="connsiteX140" fmla="*/ 23338452 w 25004707"/>
              <a:gd name="connsiteY140" fmla="*/ 7331710 h 10808782"/>
              <a:gd name="connsiteX141" fmla="*/ 22387090 w 25004707"/>
              <a:gd name="connsiteY141" fmla="*/ 7269358 h 10808782"/>
              <a:gd name="connsiteX142" fmla="*/ 22074952 w 25004707"/>
              <a:gd name="connsiteY142" fmla="*/ 7250780 h 10808782"/>
              <a:gd name="connsiteX143" fmla="*/ 23688662 w 25004707"/>
              <a:gd name="connsiteY143" fmla="*/ 2000160 h 10808782"/>
              <a:gd name="connsiteX144" fmla="*/ 23656882 w 25004707"/>
              <a:gd name="connsiteY144" fmla="*/ 2484594 h 10808782"/>
              <a:gd name="connsiteX145" fmla="*/ 22372618 w 25004707"/>
              <a:gd name="connsiteY145" fmla="*/ 2400410 h 10808782"/>
              <a:gd name="connsiteX146" fmla="*/ 23211172 w 25004707"/>
              <a:gd name="connsiteY146" fmla="*/ 9270371 h 10808782"/>
              <a:gd name="connsiteX147" fmla="*/ 24495438 w 25004707"/>
              <a:gd name="connsiteY147" fmla="*/ 9354555 h 10808782"/>
              <a:gd name="connsiteX148" fmla="*/ 24527218 w 25004707"/>
              <a:gd name="connsiteY148" fmla="*/ 8870122 h 10808782"/>
              <a:gd name="connsiteX149" fmla="*/ 24538388 w 25004707"/>
              <a:gd name="connsiteY149" fmla="*/ 8870860 h 10808782"/>
              <a:gd name="connsiteX150" fmla="*/ 23211172 w 25004707"/>
              <a:gd name="connsiteY150" fmla="*/ 9270371 h 10808782"/>
              <a:gd name="connsiteX151" fmla="*/ 21927064 w 25004707"/>
              <a:gd name="connsiteY151" fmla="*/ 9186203 h 10808782"/>
              <a:gd name="connsiteX152" fmla="*/ 21831568 w 25004707"/>
              <a:gd name="connsiteY152" fmla="*/ 10640431 h 10808782"/>
              <a:gd name="connsiteX153" fmla="*/ 21863348 w 25004707"/>
              <a:gd name="connsiteY153" fmla="*/ 10155526 h 10808782"/>
              <a:gd name="connsiteX154" fmla="*/ 21831568 w 25004707"/>
              <a:gd name="connsiteY154" fmla="*/ 10640431 h 10808782"/>
              <a:gd name="connsiteX155" fmla="*/ 20547302 w 25004707"/>
              <a:gd name="connsiteY155" fmla="*/ 10556248 h 10808782"/>
              <a:gd name="connsiteX156" fmla="*/ 21863348 w 25004707"/>
              <a:gd name="connsiteY156" fmla="*/ 10155526 h 10808782"/>
              <a:gd name="connsiteX157" fmla="*/ 20579240 w 25004707"/>
              <a:gd name="connsiteY157" fmla="*/ 10071342 h 10808782"/>
              <a:gd name="connsiteX158" fmla="*/ 22340836 w 25004707"/>
              <a:gd name="connsiteY158" fmla="*/ 2885299 h 10808782"/>
              <a:gd name="connsiteX159" fmla="*/ 22308898 w 25004707"/>
              <a:gd name="connsiteY159" fmla="*/ 3370204 h 10808782"/>
              <a:gd name="connsiteX160" fmla="*/ 21024790 w 25004707"/>
              <a:gd name="connsiteY160" fmla="*/ 3286020 h 10808782"/>
              <a:gd name="connsiteX161" fmla="*/ 22277118 w 25004707"/>
              <a:gd name="connsiteY161" fmla="*/ 3854653 h 10808782"/>
              <a:gd name="connsiteX162" fmla="*/ 22308898 w 25004707"/>
              <a:gd name="connsiteY162" fmla="*/ 3370220 h 10808782"/>
              <a:gd name="connsiteX163" fmla="*/ 22277118 w 25004707"/>
              <a:gd name="connsiteY163" fmla="*/ 3854653 h 10808782"/>
              <a:gd name="connsiteX164" fmla="*/ 20993010 w 25004707"/>
              <a:gd name="connsiteY164" fmla="*/ 3770469 h 10808782"/>
              <a:gd name="connsiteX165" fmla="*/ 21927064 w 25004707"/>
              <a:gd name="connsiteY165" fmla="*/ 9186203 h 10808782"/>
              <a:gd name="connsiteX166" fmla="*/ 21895126 w 25004707"/>
              <a:gd name="connsiteY166" fmla="*/ 9671109 h 10808782"/>
              <a:gd name="connsiteX167" fmla="*/ 20611018 w 25004707"/>
              <a:gd name="connsiteY167" fmla="*/ 9586925 h 10808782"/>
              <a:gd name="connsiteX168" fmla="*/ 21927064 w 25004707"/>
              <a:gd name="connsiteY168" fmla="*/ 9186203 h 10808782"/>
              <a:gd name="connsiteX169" fmla="*/ 21958844 w 25004707"/>
              <a:gd name="connsiteY169" fmla="*/ 8701770 h 10808782"/>
              <a:gd name="connsiteX170" fmla="*/ 21927064 w 25004707"/>
              <a:gd name="connsiteY170" fmla="*/ 9186203 h 10808782"/>
              <a:gd name="connsiteX171" fmla="*/ 20642800 w 25004707"/>
              <a:gd name="connsiteY171" fmla="*/ 9102019 h 10808782"/>
              <a:gd name="connsiteX172" fmla="*/ 22436334 w 25004707"/>
              <a:gd name="connsiteY172" fmla="*/ 1431070 h 10808782"/>
              <a:gd name="connsiteX173" fmla="*/ 22404554 w 25004707"/>
              <a:gd name="connsiteY173" fmla="*/ 1915976 h 10808782"/>
              <a:gd name="connsiteX174" fmla="*/ 22404554 w 25004707"/>
              <a:gd name="connsiteY174" fmla="*/ 1915976 h 10808782"/>
              <a:gd name="connsiteX175" fmla="*/ 21120288 w 25004707"/>
              <a:gd name="connsiteY175" fmla="*/ 1831793 h 10808782"/>
              <a:gd name="connsiteX176" fmla="*/ 22022564 w 25004707"/>
              <a:gd name="connsiteY176" fmla="*/ 7732431 h 10808782"/>
              <a:gd name="connsiteX177" fmla="*/ 22074952 w 25004707"/>
              <a:gd name="connsiteY177" fmla="*/ 7250780 h 10808782"/>
              <a:gd name="connsiteX178" fmla="*/ 22022564 w 25004707"/>
              <a:gd name="connsiteY178" fmla="*/ 7732431 h 10808782"/>
              <a:gd name="connsiteX179" fmla="*/ 21113838 w 25004707"/>
              <a:gd name="connsiteY179" fmla="*/ 7756637 h 10808782"/>
              <a:gd name="connsiteX180" fmla="*/ 22022564 w 25004707"/>
              <a:gd name="connsiteY180" fmla="*/ 7732431 h 10808782"/>
              <a:gd name="connsiteX181" fmla="*/ 21958844 w 25004707"/>
              <a:gd name="connsiteY181" fmla="*/ 8701770 h 10808782"/>
              <a:gd name="connsiteX182" fmla="*/ 22181622 w 25004707"/>
              <a:gd name="connsiteY182" fmla="*/ 5308897 h 10808782"/>
              <a:gd name="connsiteX183" fmla="*/ 22149840 w 25004707"/>
              <a:gd name="connsiteY183" fmla="*/ 5793330 h 10808782"/>
              <a:gd name="connsiteX184" fmla="*/ 21252128 w 25004707"/>
              <a:gd name="connsiteY184" fmla="*/ 5650708 h 10808782"/>
              <a:gd name="connsiteX185" fmla="*/ 21488592 w 25004707"/>
              <a:gd name="connsiteY185" fmla="*/ 6165430 h 10808782"/>
              <a:gd name="connsiteX186" fmla="*/ 21015036 w 25004707"/>
              <a:gd name="connsiteY186" fmla="*/ 5981942 h 10808782"/>
              <a:gd name="connsiteX187" fmla="*/ 22074952 w 25004707"/>
              <a:gd name="connsiteY187" fmla="*/ 7250780 h 10808782"/>
              <a:gd name="connsiteX188" fmla="*/ 22133950 w 25004707"/>
              <a:gd name="connsiteY188" fmla="*/ 6766253 h 10808782"/>
              <a:gd name="connsiteX189" fmla="*/ 22138828 w 25004707"/>
              <a:gd name="connsiteY189" fmla="*/ 6277685 h 10808782"/>
              <a:gd name="connsiteX190" fmla="*/ 22133950 w 25004707"/>
              <a:gd name="connsiteY190" fmla="*/ 6765781 h 10808782"/>
              <a:gd name="connsiteX191" fmla="*/ 21562380 w 25004707"/>
              <a:gd name="connsiteY191" fmla="*/ 6728310 h 10808782"/>
              <a:gd name="connsiteX192" fmla="*/ 22138828 w 25004707"/>
              <a:gd name="connsiteY192" fmla="*/ 6277685 h 10808782"/>
              <a:gd name="connsiteX193" fmla="*/ 21488592 w 25004707"/>
              <a:gd name="connsiteY193" fmla="*/ 6165414 h 10808782"/>
              <a:gd name="connsiteX194" fmla="*/ 22245338 w 25004707"/>
              <a:gd name="connsiteY194" fmla="*/ 4339527 h 10808782"/>
              <a:gd name="connsiteX195" fmla="*/ 22277276 w 25004707"/>
              <a:gd name="connsiteY195" fmla="*/ 3854622 h 10808782"/>
              <a:gd name="connsiteX196" fmla="*/ 22245338 w 25004707"/>
              <a:gd name="connsiteY196" fmla="*/ 4339527 h 10808782"/>
              <a:gd name="connsiteX197" fmla="*/ 20961230 w 25004707"/>
              <a:gd name="connsiteY197" fmla="*/ 4255359 h 10808782"/>
              <a:gd name="connsiteX198" fmla="*/ 21958844 w 25004707"/>
              <a:gd name="connsiteY198" fmla="*/ 8701770 h 10808782"/>
              <a:gd name="connsiteX199" fmla="*/ 20674580 w 25004707"/>
              <a:gd name="connsiteY199" fmla="*/ 8617586 h 10808782"/>
              <a:gd name="connsiteX200" fmla="*/ 20642800 w 25004707"/>
              <a:gd name="connsiteY200" fmla="*/ 9102019 h 10808782"/>
              <a:gd name="connsiteX201" fmla="*/ 22181622 w 25004707"/>
              <a:gd name="connsiteY201" fmla="*/ 5308881 h 10808782"/>
              <a:gd name="connsiteX202" fmla="*/ 22213560 w 25004707"/>
              <a:gd name="connsiteY202" fmla="*/ 4823992 h 10808782"/>
              <a:gd name="connsiteX203" fmla="*/ 22181622 w 25004707"/>
              <a:gd name="connsiteY203" fmla="*/ 5308881 h 10808782"/>
              <a:gd name="connsiteX204" fmla="*/ 21849030 w 25004707"/>
              <a:gd name="connsiteY204" fmla="*/ 5287081 h 10808782"/>
              <a:gd name="connsiteX205" fmla="*/ 20995686 w 25004707"/>
              <a:gd name="connsiteY205" fmla="*/ 5199596 h 10808782"/>
              <a:gd name="connsiteX206" fmla="*/ 21252128 w 25004707"/>
              <a:gd name="connsiteY206" fmla="*/ 5651180 h 10808782"/>
              <a:gd name="connsiteX207" fmla="*/ 20568856 w 25004707"/>
              <a:gd name="connsiteY207" fmla="*/ 5391367 h 10808782"/>
              <a:gd name="connsiteX208" fmla="*/ 21015666 w 25004707"/>
              <a:gd name="connsiteY208" fmla="*/ 5981974 h 10808782"/>
              <a:gd name="connsiteX209" fmla="*/ 22245338 w 25004707"/>
              <a:gd name="connsiteY209" fmla="*/ 4339543 h 10808782"/>
              <a:gd name="connsiteX210" fmla="*/ 22213560 w 25004707"/>
              <a:gd name="connsiteY210" fmla="*/ 4823976 h 10808782"/>
              <a:gd name="connsiteX211" fmla="*/ 20929452 w 25004707"/>
              <a:gd name="connsiteY211" fmla="*/ 4739792 h 10808782"/>
              <a:gd name="connsiteX212" fmla="*/ 22372774 w 25004707"/>
              <a:gd name="connsiteY212" fmla="*/ 2400425 h 10808782"/>
              <a:gd name="connsiteX213" fmla="*/ 22340836 w 25004707"/>
              <a:gd name="connsiteY213" fmla="*/ 2885315 h 10808782"/>
              <a:gd name="connsiteX214" fmla="*/ 22340836 w 25004707"/>
              <a:gd name="connsiteY214" fmla="*/ 2885315 h 10808782"/>
              <a:gd name="connsiteX215" fmla="*/ 21056728 w 25004707"/>
              <a:gd name="connsiteY215" fmla="*/ 2801147 h 10808782"/>
              <a:gd name="connsiteX216" fmla="*/ 22404398 w 25004707"/>
              <a:gd name="connsiteY216" fmla="*/ 1915976 h 10808782"/>
              <a:gd name="connsiteX217" fmla="*/ 22372618 w 25004707"/>
              <a:gd name="connsiteY217" fmla="*/ 2400410 h 10808782"/>
              <a:gd name="connsiteX218" fmla="*/ 22372618 w 25004707"/>
              <a:gd name="connsiteY218" fmla="*/ 2400410 h 10808782"/>
              <a:gd name="connsiteX219" fmla="*/ 21088510 w 25004707"/>
              <a:gd name="connsiteY219" fmla="*/ 2316226 h 10808782"/>
              <a:gd name="connsiteX220" fmla="*/ 20579240 w 25004707"/>
              <a:gd name="connsiteY220" fmla="*/ 10071342 h 10808782"/>
              <a:gd name="connsiteX221" fmla="*/ 20611018 w 25004707"/>
              <a:gd name="connsiteY221" fmla="*/ 9586909 h 10808782"/>
              <a:gd name="connsiteX222" fmla="*/ 20579240 w 25004707"/>
              <a:gd name="connsiteY222" fmla="*/ 10071342 h 10808782"/>
              <a:gd name="connsiteX223" fmla="*/ 19294974 w 25004707"/>
              <a:gd name="connsiteY223" fmla="*/ 9987158 h 10808782"/>
              <a:gd name="connsiteX224" fmla="*/ 21562380 w 25004707"/>
              <a:gd name="connsiteY224" fmla="*/ 6728766 h 10808782"/>
              <a:gd name="connsiteX225" fmla="*/ 21415592 w 25004707"/>
              <a:gd name="connsiteY225" fmla="*/ 7277186 h 10808782"/>
              <a:gd name="connsiteX226" fmla="*/ 22074952 w 25004707"/>
              <a:gd name="connsiteY226" fmla="*/ 7250749 h 10808782"/>
              <a:gd name="connsiteX227" fmla="*/ 20993010 w 25004707"/>
              <a:gd name="connsiteY227" fmla="*/ 3770469 h 10808782"/>
              <a:gd name="connsiteX228" fmla="*/ 21024790 w 25004707"/>
              <a:gd name="connsiteY228" fmla="*/ 3286052 h 10808782"/>
              <a:gd name="connsiteX229" fmla="*/ 20993010 w 25004707"/>
              <a:gd name="connsiteY229" fmla="*/ 3770469 h 10808782"/>
              <a:gd name="connsiteX230" fmla="*/ 19708746 w 25004707"/>
              <a:gd name="connsiteY230" fmla="*/ 3686286 h 10808782"/>
              <a:gd name="connsiteX231" fmla="*/ 20929294 w 25004707"/>
              <a:gd name="connsiteY231" fmla="*/ 4739792 h 10808782"/>
              <a:gd name="connsiteX232" fmla="*/ 20995528 w 25004707"/>
              <a:gd name="connsiteY232" fmla="*/ 5199596 h 10808782"/>
              <a:gd name="connsiteX233" fmla="*/ 20097030 w 25004707"/>
              <a:gd name="connsiteY233" fmla="*/ 4955313 h 10808782"/>
              <a:gd name="connsiteX234" fmla="*/ 20642800 w 25004707"/>
              <a:gd name="connsiteY234" fmla="*/ 9102019 h 10808782"/>
              <a:gd name="connsiteX235" fmla="*/ 20611018 w 25004707"/>
              <a:gd name="connsiteY235" fmla="*/ 9586925 h 10808782"/>
              <a:gd name="connsiteX236" fmla="*/ 19326754 w 25004707"/>
              <a:gd name="connsiteY236" fmla="*/ 9502741 h 10808782"/>
              <a:gd name="connsiteX237" fmla="*/ 20642800 w 25004707"/>
              <a:gd name="connsiteY237" fmla="*/ 9102019 h 10808782"/>
              <a:gd name="connsiteX238" fmla="*/ 19358692 w 25004707"/>
              <a:gd name="connsiteY238" fmla="*/ 9017836 h 10808782"/>
              <a:gd name="connsiteX239" fmla="*/ 20961230 w 25004707"/>
              <a:gd name="connsiteY239" fmla="*/ 4255359 h 10808782"/>
              <a:gd name="connsiteX240" fmla="*/ 20929294 w 25004707"/>
              <a:gd name="connsiteY240" fmla="*/ 4739792 h 10808782"/>
              <a:gd name="connsiteX241" fmla="*/ 19750594 w 25004707"/>
              <a:gd name="connsiteY241" fmla="*/ 4599921 h 10808782"/>
              <a:gd name="connsiteX242" fmla="*/ 20961230 w 25004707"/>
              <a:gd name="connsiteY242" fmla="*/ 4255359 h 10808782"/>
              <a:gd name="connsiteX243" fmla="*/ 20993010 w 25004707"/>
              <a:gd name="connsiteY243" fmla="*/ 3770454 h 10808782"/>
              <a:gd name="connsiteX244" fmla="*/ 20961230 w 25004707"/>
              <a:gd name="connsiteY244" fmla="*/ 4255359 h 10808782"/>
              <a:gd name="connsiteX245" fmla="*/ 19676964 w 25004707"/>
              <a:gd name="connsiteY245" fmla="*/ 4171175 h 10808782"/>
              <a:gd name="connsiteX246" fmla="*/ 21120288 w 25004707"/>
              <a:gd name="connsiteY246" fmla="*/ 1831808 h 10808782"/>
              <a:gd name="connsiteX247" fmla="*/ 21088510 w 25004707"/>
              <a:gd name="connsiteY247" fmla="*/ 2316226 h 10808782"/>
              <a:gd name="connsiteX248" fmla="*/ 21088510 w 25004707"/>
              <a:gd name="connsiteY248" fmla="*/ 2316226 h 10808782"/>
              <a:gd name="connsiteX249" fmla="*/ 21056728 w 25004707"/>
              <a:gd name="connsiteY249" fmla="*/ 2801131 h 10808782"/>
              <a:gd name="connsiteX250" fmla="*/ 21088510 w 25004707"/>
              <a:gd name="connsiteY250" fmla="*/ 2316226 h 10808782"/>
              <a:gd name="connsiteX251" fmla="*/ 19804244 w 25004707"/>
              <a:gd name="connsiteY251" fmla="*/ 2232058 h 10808782"/>
              <a:gd name="connsiteX252" fmla="*/ 21152226 w 25004707"/>
              <a:gd name="connsiteY252" fmla="*/ 1346888 h 10808782"/>
              <a:gd name="connsiteX253" fmla="*/ 21120288 w 25004707"/>
              <a:gd name="connsiteY253" fmla="*/ 1831793 h 10808782"/>
              <a:gd name="connsiteX254" fmla="*/ 21120288 w 25004707"/>
              <a:gd name="connsiteY254" fmla="*/ 1831793 h 10808782"/>
              <a:gd name="connsiteX255" fmla="*/ 19836180 w 25004707"/>
              <a:gd name="connsiteY255" fmla="*/ 1747609 h 10808782"/>
              <a:gd name="connsiteX256" fmla="*/ 21056728 w 25004707"/>
              <a:gd name="connsiteY256" fmla="*/ 2801131 h 10808782"/>
              <a:gd name="connsiteX257" fmla="*/ 21024790 w 25004707"/>
              <a:gd name="connsiteY257" fmla="*/ 3286020 h 10808782"/>
              <a:gd name="connsiteX258" fmla="*/ 21056728 w 25004707"/>
              <a:gd name="connsiteY258" fmla="*/ 2801131 h 10808782"/>
              <a:gd name="connsiteX259" fmla="*/ 19772464 w 25004707"/>
              <a:gd name="connsiteY259" fmla="*/ 2716963 h 10808782"/>
              <a:gd name="connsiteX260" fmla="*/ 21024790 w 25004707"/>
              <a:gd name="connsiteY260" fmla="*/ 3286020 h 10808782"/>
              <a:gd name="connsiteX261" fmla="*/ 19740684 w 25004707"/>
              <a:gd name="connsiteY261" fmla="*/ 3201853 h 10808782"/>
              <a:gd name="connsiteX262" fmla="*/ 21488592 w 25004707"/>
              <a:gd name="connsiteY262" fmla="*/ 6165430 h 10808782"/>
              <a:gd name="connsiteX263" fmla="*/ 21562380 w 25004707"/>
              <a:gd name="connsiteY263" fmla="*/ 6728310 h 10808782"/>
              <a:gd name="connsiteX264" fmla="*/ 21184006 w 25004707"/>
              <a:gd name="connsiteY264" fmla="*/ 6703508 h 10808782"/>
              <a:gd name="connsiteX265" fmla="*/ 20674736 w 25004707"/>
              <a:gd name="connsiteY265" fmla="*/ 8617602 h 10808782"/>
              <a:gd name="connsiteX266" fmla="*/ 20690628 w 25004707"/>
              <a:gd name="connsiteY266" fmla="*/ 8375378 h 10808782"/>
              <a:gd name="connsiteX267" fmla="*/ 20800442 w 25004707"/>
              <a:gd name="connsiteY267" fmla="*/ 8170860 h 10808782"/>
              <a:gd name="connsiteX268" fmla="*/ 21113838 w 25004707"/>
              <a:gd name="connsiteY268" fmla="*/ 7756165 h 10808782"/>
              <a:gd name="connsiteX269" fmla="*/ 21415434 w 25004707"/>
              <a:gd name="connsiteY269" fmla="*/ 7276714 h 10808782"/>
              <a:gd name="connsiteX270" fmla="*/ 20579240 w 25004707"/>
              <a:gd name="connsiteY270" fmla="*/ 10071342 h 10808782"/>
              <a:gd name="connsiteX271" fmla="*/ 20547302 w 25004707"/>
              <a:gd name="connsiteY271" fmla="*/ 10556248 h 10808782"/>
              <a:gd name="connsiteX272" fmla="*/ 19263194 w 25004707"/>
              <a:gd name="connsiteY272" fmla="*/ 10472064 h 10808782"/>
              <a:gd name="connsiteX273" fmla="*/ 20800442 w 25004707"/>
              <a:gd name="connsiteY273" fmla="*/ 8170372 h 10808782"/>
              <a:gd name="connsiteX274" fmla="*/ 21113838 w 25004707"/>
              <a:gd name="connsiteY274" fmla="*/ 7756149 h 10808782"/>
              <a:gd name="connsiteX275" fmla="*/ 20096558 w 25004707"/>
              <a:gd name="connsiteY275" fmla="*/ 4954825 h 10808782"/>
              <a:gd name="connsiteX276" fmla="*/ 20568856 w 25004707"/>
              <a:gd name="connsiteY276" fmla="*/ 5391367 h 10808782"/>
              <a:gd name="connsiteX277" fmla="*/ 19539460 w 25004707"/>
              <a:gd name="connsiteY277" fmla="*/ 4997829 h 10808782"/>
              <a:gd name="connsiteX278" fmla="*/ 19676964 w 25004707"/>
              <a:gd name="connsiteY278" fmla="*/ 4170719 h 10808782"/>
              <a:gd name="connsiteX279" fmla="*/ 19750594 w 25004707"/>
              <a:gd name="connsiteY279" fmla="*/ 4599953 h 10808782"/>
              <a:gd name="connsiteX280" fmla="*/ 18586528 w 25004707"/>
              <a:gd name="connsiteY280" fmla="*/ 4366498 h 10808782"/>
              <a:gd name="connsiteX281" fmla="*/ 20097188 w 25004707"/>
              <a:gd name="connsiteY281" fmla="*/ 4954857 h 10808782"/>
              <a:gd name="connsiteX282" fmla="*/ 19751068 w 25004707"/>
              <a:gd name="connsiteY282" fmla="*/ 4599984 h 10808782"/>
              <a:gd name="connsiteX283" fmla="*/ 19772464 w 25004707"/>
              <a:gd name="connsiteY283" fmla="*/ 2716947 h 10808782"/>
              <a:gd name="connsiteX284" fmla="*/ 19740684 w 25004707"/>
              <a:gd name="connsiteY284" fmla="*/ 3201853 h 10808782"/>
              <a:gd name="connsiteX285" fmla="*/ 18456576 w 25004707"/>
              <a:gd name="connsiteY285" fmla="*/ 3117669 h 10808782"/>
              <a:gd name="connsiteX286" fmla="*/ 20922686 w 25004707"/>
              <a:gd name="connsiteY286" fmla="*/ 7397316 h 10808782"/>
              <a:gd name="connsiteX287" fmla="*/ 21184006 w 25004707"/>
              <a:gd name="connsiteY287" fmla="*/ 6703963 h 10808782"/>
              <a:gd name="connsiteX288" fmla="*/ 19877714 w 25004707"/>
              <a:gd name="connsiteY288" fmla="*/ 8295752 h 10808782"/>
              <a:gd name="connsiteX289" fmla="*/ 20403032 w 25004707"/>
              <a:gd name="connsiteY289" fmla="*/ 7924611 h 10808782"/>
              <a:gd name="connsiteX290" fmla="*/ 19740684 w 25004707"/>
              <a:gd name="connsiteY290" fmla="*/ 3201853 h 10808782"/>
              <a:gd name="connsiteX291" fmla="*/ 19708746 w 25004707"/>
              <a:gd name="connsiteY291" fmla="*/ 3686286 h 10808782"/>
              <a:gd name="connsiteX292" fmla="*/ 19708746 w 25004707"/>
              <a:gd name="connsiteY292" fmla="*/ 3686286 h 10808782"/>
              <a:gd name="connsiteX293" fmla="*/ 18424638 w 25004707"/>
              <a:gd name="connsiteY293" fmla="*/ 3602118 h 10808782"/>
              <a:gd name="connsiteX294" fmla="*/ 19804244 w 25004707"/>
              <a:gd name="connsiteY294" fmla="*/ 2232042 h 10808782"/>
              <a:gd name="connsiteX295" fmla="*/ 19772464 w 25004707"/>
              <a:gd name="connsiteY295" fmla="*/ 2716947 h 10808782"/>
              <a:gd name="connsiteX296" fmla="*/ 18488356 w 25004707"/>
              <a:gd name="connsiteY296" fmla="*/ 2632764 h 10808782"/>
              <a:gd name="connsiteX297" fmla="*/ 19804244 w 25004707"/>
              <a:gd name="connsiteY297" fmla="*/ 2232042 h 10808782"/>
              <a:gd name="connsiteX298" fmla="*/ 19836180 w 25004707"/>
              <a:gd name="connsiteY298" fmla="*/ 1747625 h 10808782"/>
              <a:gd name="connsiteX299" fmla="*/ 19804244 w 25004707"/>
              <a:gd name="connsiteY299" fmla="*/ 2232042 h 10808782"/>
              <a:gd name="connsiteX300" fmla="*/ 18520136 w 25004707"/>
              <a:gd name="connsiteY300" fmla="*/ 2147874 h 10808782"/>
              <a:gd name="connsiteX301" fmla="*/ 19676964 w 25004707"/>
              <a:gd name="connsiteY301" fmla="*/ 4171175 h 10808782"/>
              <a:gd name="connsiteX302" fmla="*/ 19708902 w 25004707"/>
              <a:gd name="connsiteY302" fmla="*/ 3686270 h 10808782"/>
              <a:gd name="connsiteX303" fmla="*/ 19676964 w 25004707"/>
              <a:gd name="connsiteY303" fmla="*/ 4171175 h 10808782"/>
              <a:gd name="connsiteX304" fmla="*/ 19344218 w 25004707"/>
              <a:gd name="connsiteY304" fmla="*/ 4149359 h 10808782"/>
              <a:gd name="connsiteX305" fmla="*/ 18402454 w 25004707"/>
              <a:gd name="connsiteY305" fmla="*/ 4077278 h 10808782"/>
              <a:gd name="connsiteX306" fmla="*/ 19326754 w 25004707"/>
              <a:gd name="connsiteY306" fmla="*/ 9502725 h 10808782"/>
              <a:gd name="connsiteX307" fmla="*/ 19294974 w 25004707"/>
              <a:gd name="connsiteY307" fmla="*/ 9987158 h 10808782"/>
              <a:gd name="connsiteX308" fmla="*/ 18010866 w 25004707"/>
              <a:gd name="connsiteY308" fmla="*/ 9902991 h 10808782"/>
              <a:gd name="connsiteX309" fmla="*/ 19263194 w 25004707"/>
              <a:gd name="connsiteY309" fmla="*/ 10472064 h 10808782"/>
              <a:gd name="connsiteX310" fmla="*/ 19294974 w 25004707"/>
              <a:gd name="connsiteY310" fmla="*/ 9987175 h 10808782"/>
              <a:gd name="connsiteX311" fmla="*/ 19263194 w 25004707"/>
              <a:gd name="connsiteY311" fmla="*/ 10472064 h 10808782"/>
              <a:gd name="connsiteX312" fmla="*/ 17978928 w 25004707"/>
              <a:gd name="connsiteY312" fmla="*/ 10387896 h 10808782"/>
              <a:gd name="connsiteX313" fmla="*/ 19326754 w 25004707"/>
              <a:gd name="connsiteY313" fmla="*/ 9502741 h 10808782"/>
              <a:gd name="connsiteX314" fmla="*/ 19358692 w 25004707"/>
              <a:gd name="connsiteY314" fmla="*/ 9017852 h 10808782"/>
              <a:gd name="connsiteX315" fmla="*/ 19326754 w 25004707"/>
              <a:gd name="connsiteY315" fmla="*/ 9502741 h 10808782"/>
              <a:gd name="connsiteX316" fmla="*/ 18042646 w 25004707"/>
              <a:gd name="connsiteY316" fmla="*/ 9418573 h 10808782"/>
              <a:gd name="connsiteX317" fmla="*/ 19358692 w 25004707"/>
              <a:gd name="connsiteY317" fmla="*/ 9017852 h 10808782"/>
              <a:gd name="connsiteX318" fmla="*/ 19487700 w 25004707"/>
              <a:gd name="connsiteY318" fmla="*/ 8601900 h 10808782"/>
              <a:gd name="connsiteX319" fmla="*/ 19358692 w 25004707"/>
              <a:gd name="connsiteY319" fmla="*/ 9017852 h 10808782"/>
              <a:gd name="connsiteX320" fmla="*/ 18082764 w 25004707"/>
              <a:gd name="connsiteY320" fmla="*/ 8945975 h 10808782"/>
              <a:gd name="connsiteX321" fmla="*/ 21015666 w 25004707"/>
              <a:gd name="connsiteY321" fmla="*/ 5981974 h 10808782"/>
              <a:gd name="connsiteX322" fmla="*/ 21184006 w 25004707"/>
              <a:gd name="connsiteY322" fmla="*/ 6703508 h 10808782"/>
              <a:gd name="connsiteX323" fmla="*/ 21015666 w 25004707"/>
              <a:gd name="connsiteY323" fmla="*/ 5981974 h 10808782"/>
              <a:gd name="connsiteX324" fmla="*/ 20273552 w 25004707"/>
              <a:gd name="connsiteY324" fmla="*/ 5643966 h 10808782"/>
              <a:gd name="connsiteX325" fmla="*/ 21184006 w 25004707"/>
              <a:gd name="connsiteY325" fmla="*/ 6703508 h 10808782"/>
              <a:gd name="connsiteX326" fmla="*/ 20666240 w 25004707"/>
              <a:gd name="connsiteY326" fmla="*/ 6669558 h 10808782"/>
              <a:gd name="connsiteX327" fmla="*/ 19487700 w 25004707"/>
              <a:gd name="connsiteY327" fmla="*/ 8602388 h 10808782"/>
              <a:gd name="connsiteX328" fmla="*/ 19877244 w 25004707"/>
              <a:gd name="connsiteY328" fmla="*/ 8295720 h 10808782"/>
              <a:gd name="connsiteX329" fmla="*/ 20922686 w 25004707"/>
              <a:gd name="connsiteY329" fmla="*/ 7397331 h 10808782"/>
              <a:gd name="connsiteX330" fmla="*/ 20402560 w 25004707"/>
              <a:gd name="connsiteY330" fmla="*/ 7924564 h 10808782"/>
              <a:gd name="connsiteX331" fmla="*/ 19330530 w 25004707"/>
              <a:gd name="connsiteY331" fmla="*/ 8180368 h 10808782"/>
              <a:gd name="connsiteX332" fmla="*/ 19867960 w 25004707"/>
              <a:gd name="connsiteY332" fmla="*/ 1262715 h 10808782"/>
              <a:gd name="connsiteX333" fmla="*/ 19836024 w 25004707"/>
              <a:gd name="connsiteY333" fmla="*/ 1747609 h 10808782"/>
              <a:gd name="connsiteX334" fmla="*/ 18551914 w 25004707"/>
              <a:gd name="connsiteY334" fmla="*/ 1663441 h 10808782"/>
              <a:gd name="connsiteX335" fmla="*/ 18583852 w 25004707"/>
              <a:gd name="connsiteY335" fmla="*/ 1178533 h 10808782"/>
              <a:gd name="connsiteX336" fmla="*/ 18551914 w 25004707"/>
              <a:gd name="connsiteY336" fmla="*/ 1663425 h 10808782"/>
              <a:gd name="connsiteX337" fmla="*/ 18551914 w 25004707"/>
              <a:gd name="connsiteY337" fmla="*/ 1663425 h 10808782"/>
              <a:gd name="connsiteX338" fmla="*/ 18520136 w 25004707"/>
              <a:gd name="connsiteY338" fmla="*/ 2147874 h 10808782"/>
              <a:gd name="connsiteX339" fmla="*/ 18551914 w 25004707"/>
              <a:gd name="connsiteY339" fmla="*/ 1663425 h 10808782"/>
              <a:gd name="connsiteX340" fmla="*/ 17267806 w 25004707"/>
              <a:gd name="connsiteY340" fmla="*/ 1579257 h 10808782"/>
              <a:gd name="connsiteX341" fmla="*/ 18586528 w 25004707"/>
              <a:gd name="connsiteY341" fmla="*/ 4366498 h 10808782"/>
              <a:gd name="connsiteX342" fmla="*/ 18402610 w 25004707"/>
              <a:gd name="connsiteY342" fmla="*/ 4076822 h 10808782"/>
              <a:gd name="connsiteX343" fmla="*/ 18586528 w 25004707"/>
              <a:gd name="connsiteY343" fmla="*/ 4366498 h 10808782"/>
              <a:gd name="connsiteX344" fmla="*/ 18962698 w 25004707"/>
              <a:gd name="connsiteY344" fmla="*/ 4627804 h 10808782"/>
              <a:gd name="connsiteX345" fmla="*/ 18586528 w 25004707"/>
              <a:gd name="connsiteY345" fmla="*/ 4366498 h 10808782"/>
              <a:gd name="connsiteX346" fmla="*/ 17200786 w 25004707"/>
              <a:gd name="connsiteY346" fmla="*/ 4158019 h 10808782"/>
              <a:gd name="connsiteX347" fmla="*/ 18488356 w 25004707"/>
              <a:gd name="connsiteY347" fmla="*/ 2632764 h 10808782"/>
              <a:gd name="connsiteX348" fmla="*/ 18456418 w 25004707"/>
              <a:gd name="connsiteY348" fmla="*/ 3117653 h 10808782"/>
              <a:gd name="connsiteX349" fmla="*/ 17172310 w 25004707"/>
              <a:gd name="connsiteY349" fmla="*/ 3033485 h 10808782"/>
              <a:gd name="connsiteX350" fmla="*/ 18488356 w 25004707"/>
              <a:gd name="connsiteY350" fmla="*/ 2632764 h 10808782"/>
              <a:gd name="connsiteX351" fmla="*/ 18520136 w 25004707"/>
              <a:gd name="connsiteY351" fmla="*/ 2147874 h 10808782"/>
              <a:gd name="connsiteX352" fmla="*/ 18488356 w 25004707"/>
              <a:gd name="connsiteY352" fmla="*/ 2632764 h 10808782"/>
              <a:gd name="connsiteX353" fmla="*/ 17204090 w 25004707"/>
              <a:gd name="connsiteY353" fmla="*/ 2548596 h 10808782"/>
              <a:gd name="connsiteX354" fmla="*/ 18424638 w 25004707"/>
              <a:gd name="connsiteY354" fmla="*/ 3602118 h 10808782"/>
              <a:gd name="connsiteX355" fmla="*/ 18402454 w 25004707"/>
              <a:gd name="connsiteY355" fmla="*/ 4077310 h 10808782"/>
              <a:gd name="connsiteX356" fmla="*/ 17125426 w 25004707"/>
              <a:gd name="connsiteY356" fmla="*/ 3949824 h 10808782"/>
              <a:gd name="connsiteX357" fmla="*/ 18424638 w 25004707"/>
              <a:gd name="connsiteY357" fmla="*/ 3602118 h 10808782"/>
              <a:gd name="connsiteX358" fmla="*/ 18456418 w 25004707"/>
              <a:gd name="connsiteY358" fmla="*/ 3117684 h 10808782"/>
              <a:gd name="connsiteX359" fmla="*/ 18424638 w 25004707"/>
              <a:gd name="connsiteY359" fmla="*/ 3602118 h 10808782"/>
              <a:gd name="connsiteX360" fmla="*/ 17140372 w 25004707"/>
              <a:gd name="connsiteY360" fmla="*/ 3517934 h 10808782"/>
              <a:gd name="connsiteX361" fmla="*/ 18520136 w 25004707"/>
              <a:gd name="connsiteY361" fmla="*/ 2147874 h 10808782"/>
              <a:gd name="connsiteX362" fmla="*/ 17236028 w 25004707"/>
              <a:gd name="connsiteY362" fmla="*/ 2063691 h 10808782"/>
              <a:gd name="connsiteX363" fmla="*/ 18962698 w 25004707"/>
              <a:gd name="connsiteY363" fmla="*/ 4627804 h 10808782"/>
              <a:gd name="connsiteX364" fmla="*/ 17358900 w 25004707"/>
              <a:gd name="connsiteY364" fmla="*/ 4323180 h 10808782"/>
              <a:gd name="connsiteX365" fmla="*/ 18962698 w 25004707"/>
              <a:gd name="connsiteY365" fmla="*/ 4627804 h 10808782"/>
              <a:gd name="connsiteX366" fmla="*/ 20096558 w 25004707"/>
              <a:gd name="connsiteY366" fmla="*/ 4954825 h 10808782"/>
              <a:gd name="connsiteX367" fmla="*/ 20273552 w 25004707"/>
              <a:gd name="connsiteY367" fmla="*/ 5643966 h 10808782"/>
              <a:gd name="connsiteX368" fmla="*/ 19539618 w 25004707"/>
              <a:gd name="connsiteY368" fmla="*/ 4997813 h 10808782"/>
              <a:gd name="connsiteX369" fmla="*/ 20273552 w 25004707"/>
              <a:gd name="connsiteY369" fmla="*/ 5643966 h 10808782"/>
              <a:gd name="connsiteX370" fmla="*/ 20666240 w 25004707"/>
              <a:gd name="connsiteY370" fmla="*/ 6669558 h 10808782"/>
              <a:gd name="connsiteX371" fmla="*/ 20273552 w 25004707"/>
              <a:gd name="connsiteY371" fmla="*/ 5643966 h 10808782"/>
              <a:gd name="connsiteX372" fmla="*/ 18261016 w 25004707"/>
              <a:gd name="connsiteY372" fmla="*/ 5022238 h 10808782"/>
              <a:gd name="connsiteX373" fmla="*/ 18710344 w 25004707"/>
              <a:gd name="connsiteY373" fmla="*/ 8471883 h 10808782"/>
              <a:gd name="connsiteX374" fmla="*/ 18303180 w 25004707"/>
              <a:gd name="connsiteY374" fmla="*/ 8681872 h 10808782"/>
              <a:gd name="connsiteX375" fmla="*/ 19487858 w 25004707"/>
              <a:gd name="connsiteY375" fmla="*/ 8602371 h 10808782"/>
              <a:gd name="connsiteX376" fmla="*/ 20666084 w 25004707"/>
              <a:gd name="connsiteY376" fmla="*/ 6669542 h 10808782"/>
              <a:gd name="connsiteX377" fmla="*/ 20142814 w 25004707"/>
              <a:gd name="connsiteY377" fmla="*/ 7635092 h 10808782"/>
              <a:gd name="connsiteX378" fmla="*/ 19330530 w 25004707"/>
              <a:gd name="connsiteY378" fmla="*/ 8179866 h 10808782"/>
              <a:gd name="connsiteX379" fmla="*/ 18710188 w 25004707"/>
              <a:gd name="connsiteY379" fmla="*/ 8471868 h 10808782"/>
              <a:gd name="connsiteX380" fmla="*/ 19330530 w 25004707"/>
              <a:gd name="connsiteY380" fmla="*/ 8179881 h 10808782"/>
              <a:gd name="connsiteX381" fmla="*/ 17402166 w 25004707"/>
              <a:gd name="connsiteY381" fmla="*/ 8385201 h 10808782"/>
              <a:gd name="connsiteX382" fmla="*/ 18082764 w 25004707"/>
              <a:gd name="connsiteY382" fmla="*/ 8945975 h 10808782"/>
              <a:gd name="connsiteX383" fmla="*/ 18303180 w 25004707"/>
              <a:gd name="connsiteY383" fmla="*/ 8681400 h 10808782"/>
              <a:gd name="connsiteX384" fmla="*/ 18082764 w 25004707"/>
              <a:gd name="connsiteY384" fmla="*/ 8945975 h 10808782"/>
              <a:gd name="connsiteX385" fmla="*/ 18042646 w 25004707"/>
              <a:gd name="connsiteY385" fmla="*/ 9418573 h 10808782"/>
              <a:gd name="connsiteX386" fmla="*/ 18082764 w 25004707"/>
              <a:gd name="connsiteY386" fmla="*/ 8945975 h 10808782"/>
              <a:gd name="connsiteX387" fmla="*/ 16799444 w 25004707"/>
              <a:gd name="connsiteY387" fmla="*/ 8904669 h 10808782"/>
              <a:gd name="connsiteX388" fmla="*/ 17978928 w 25004707"/>
              <a:gd name="connsiteY388" fmla="*/ 10387896 h 10808782"/>
              <a:gd name="connsiteX389" fmla="*/ 18010866 w 25004707"/>
              <a:gd name="connsiteY389" fmla="*/ 9902991 h 10808782"/>
              <a:gd name="connsiteX390" fmla="*/ 17978928 w 25004707"/>
              <a:gd name="connsiteY390" fmla="*/ 10387896 h 10808782"/>
              <a:gd name="connsiteX391" fmla="*/ 16694821 w 25004707"/>
              <a:gd name="connsiteY391" fmla="*/ 10303712 h 10808782"/>
              <a:gd name="connsiteX392" fmla="*/ 18010866 w 25004707"/>
              <a:gd name="connsiteY392" fmla="*/ 9902991 h 10808782"/>
              <a:gd name="connsiteX393" fmla="*/ 18042646 w 25004707"/>
              <a:gd name="connsiteY393" fmla="*/ 9418558 h 10808782"/>
              <a:gd name="connsiteX394" fmla="*/ 16758537 w 25004707"/>
              <a:gd name="connsiteY394" fmla="*/ 9334389 h 10808782"/>
              <a:gd name="connsiteX395" fmla="*/ 18010866 w 25004707"/>
              <a:gd name="connsiteY395" fmla="*/ 9902991 h 10808782"/>
              <a:gd name="connsiteX396" fmla="*/ 16726601 w 25004707"/>
              <a:gd name="connsiteY396" fmla="*/ 9818807 h 10808782"/>
              <a:gd name="connsiteX397" fmla="*/ 20666240 w 25004707"/>
              <a:gd name="connsiteY397" fmla="*/ 6669558 h 10808782"/>
              <a:gd name="connsiteX398" fmla="*/ 18998410 w 25004707"/>
              <a:gd name="connsiteY398" fmla="*/ 6560226 h 10808782"/>
              <a:gd name="connsiteX399" fmla="*/ 18261646 w 25004707"/>
              <a:gd name="connsiteY399" fmla="*/ 5022270 h 10808782"/>
              <a:gd name="connsiteX400" fmla="*/ 14385738 w 25004707"/>
              <a:gd name="connsiteY400" fmla="*/ 4808195 h 10808782"/>
              <a:gd name="connsiteX401" fmla="*/ 12486354 w 25004707"/>
              <a:gd name="connsiteY401" fmla="*/ 5165033 h 10808782"/>
              <a:gd name="connsiteX402" fmla="*/ 18962698 w 25004707"/>
              <a:gd name="connsiteY402" fmla="*/ 4628276 h 10808782"/>
              <a:gd name="connsiteX403" fmla="*/ 19539460 w 25004707"/>
              <a:gd name="connsiteY403" fmla="*/ 4998269 h 10808782"/>
              <a:gd name="connsiteX404" fmla="*/ 17654520 w 25004707"/>
              <a:gd name="connsiteY404" fmla="*/ 4542992 h 10808782"/>
              <a:gd name="connsiteX405" fmla="*/ 16758537 w 25004707"/>
              <a:gd name="connsiteY405" fmla="*/ 9334389 h 10808782"/>
              <a:gd name="connsiteX406" fmla="*/ 16800072 w 25004707"/>
              <a:gd name="connsiteY406" fmla="*/ 8904700 h 10808782"/>
              <a:gd name="connsiteX407" fmla="*/ 16758537 w 25004707"/>
              <a:gd name="connsiteY407" fmla="*/ 9334389 h 10808782"/>
              <a:gd name="connsiteX408" fmla="*/ 16726601 w 25004707"/>
              <a:gd name="connsiteY408" fmla="*/ 9818807 h 10808782"/>
              <a:gd name="connsiteX409" fmla="*/ 16758537 w 25004707"/>
              <a:gd name="connsiteY409" fmla="*/ 9334389 h 10808782"/>
              <a:gd name="connsiteX410" fmla="*/ 15474273 w 25004707"/>
              <a:gd name="connsiteY410" fmla="*/ 9250206 h 10808782"/>
              <a:gd name="connsiteX411" fmla="*/ 16726601 w 25004707"/>
              <a:gd name="connsiteY411" fmla="*/ 9818807 h 10808782"/>
              <a:gd name="connsiteX412" fmla="*/ 16694821 w 25004707"/>
              <a:gd name="connsiteY412" fmla="*/ 10303712 h 10808782"/>
              <a:gd name="connsiteX413" fmla="*/ 15410602 w 25004707"/>
              <a:gd name="connsiteY413" fmla="*/ 10219528 h 10808782"/>
              <a:gd name="connsiteX414" fmla="*/ 17267806 w 25004707"/>
              <a:gd name="connsiteY414" fmla="*/ 1579257 h 10808782"/>
              <a:gd name="connsiteX415" fmla="*/ 17236028 w 25004707"/>
              <a:gd name="connsiteY415" fmla="*/ 2063691 h 10808782"/>
              <a:gd name="connsiteX416" fmla="*/ 17267806 w 25004707"/>
              <a:gd name="connsiteY416" fmla="*/ 1579257 h 10808782"/>
              <a:gd name="connsiteX417" fmla="*/ 17299588 w 25004707"/>
              <a:gd name="connsiteY417" fmla="*/ 1094351 h 10808782"/>
              <a:gd name="connsiteX418" fmla="*/ 17267806 w 25004707"/>
              <a:gd name="connsiteY418" fmla="*/ 1579257 h 10808782"/>
              <a:gd name="connsiteX419" fmla="*/ 15983542 w 25004707"/>
              <a:gd name="connsiteY419" fmla="*/ 1495075 h 10808782"/>
              <a:gd name="connsiteX420" fmla="*/ 17236028 w 25004707"/>
              <a:gd name="connsiteY420" fmla="*/ 2063691 h 10808782"/>
              <a:gd name="connsiteX421" fmla="*/ 17204090 w 25004707"/>
              <a:gd name="connsiteY421" fmla="*/ 2548596 h 10808782"/>
              <a:gd name="connsiteX422" fmla="*/ 17236028 w 25004707"/>
              <a:gd name="connsiteY422" fmla="*/ 2063691 h 10808782"/>
              <a:gd name="connsiteX423" fmla="*/ 15951762 w 25004707"/>
              <a:gd name="connsiteY423" fmla="*/ 1979523 h 10808782"/>
              <a:gd name="connsiteX424" fmla="*/ 16799444 w 25004707"/>
              <a:gd name="connsiteY424" fmla="*/ 8904669 h 10808782"/>
              <a:gd name="connsiteX425" fmla="*/ 16902020 w 25004707"/>
              <a:gd name="connsiteY425" fmla="*/ 8707648 h 10808782"/>
              <a:gd name="connsiteX426" fmla="*/ 18303180 w 25004707"/>
              <a:gd name="connsiteY426" fmla="*/ 8681872 h 10808782"/>
              <a:gd name="connsiteX427" fmla="*/ 16799444 w 25004707"/>
              <a:gd name="connsiteY427" fmla="*/ 8904669 h 10808782"/>
              <a:gd name="connsiteX428" fmla="*/ 15487866 w 25004707"/>
              <a:gd name="connsiteY428" fmla="*/ 8816367 h 10808782"/>
              <a:gd name="connsiteX429" fmla="*/ 17204090 w 25004707"/>
              <a:gd name="connsiteY429" fmla="*/ 2548596 h 10808782"/>
              <a:gd name="connsiteX430" fmla="*/ 15919982 w 25004707"/>
              <a:gd name="connsiteY430" fmla="*/ 2464396 h 10808782"/>
              <a:gd name="connsiteX431" fmla="*/ 17172310 w 25004707"/>
              <a:gd name="connsiteY431" fmla="*/ 3033501 h 10808782"/>
              <a:gd name="connsiteX432" fmla="*/ 17140372 w 25004707"/>
              <a:gd name="connsiteY432" fmla="*/ 3517934 h 10808782"/>
              <a:gd name="connsiteX433" fmla="*/ 17140372 w 25004707"/>
              <a:gd name="connsiteY433" fmla="*/ 3517934 h 10808782"/>
              <a:gd name="connsiteX434" fmla="*/ 15856264 w 25004707"/>
              <a:gd name="connsiteY434" fmla="*/ 3433766 h 10808782"/>
              <a:gd name="connsiteX435" fmla="*/ 16726601 w 25004707"/>
              <a:gd name="connsiteY435" fmla="*/ 9818807 h 10808782"/>
              <a:gd name="connsiteX436" fmla="*/ 15442492 w 25004707"/>
              <a:gd name="connsiteY436" fmla="*/ 9734623 h 10808782"/>
              <a:gd name="connsiteX437" fmla="*/ 17204090 w 25004707"/>
              <a:gd name="connsiteY437" fmla="*/ 2548580 h 10808782"/>
              <a:gd name="connsiteX438" fmla="*/ 17172310 w 25004707"/>
              <a:gd name="connsiteY438" fmla="*/ 3033485 h 10808782"/>
              <a:gd name="connsiteX439" fmla="*/ 15888202 w 25004707"/>
              <a:gd name="connsiteY439" fmla="*/ 2949301 h 10808782"/>
              <a:gd name="connsiteX440" fmla="*/ 17402166 w 25004707"/>
              <a:gd name="connsiteY440" fmla="*/ 8385673 h 10808782"/>
              <a:gd name="connsiteX441" fmla="*/ 18066716 w 25004707"/>
              <a:gd name="connsiteY441" fmla="*/ 7989305 h 10808782"/>
              <a:gd name="connsiteX442" fmla="*/ 18998254 w 25004707"/>
              <a:gd name="connsiteY442" fmla="*/ 6560697 h 10808782"/>
              <a:gd name="connsiteX443" fmla="*/ 16901864 w 25004707"/>
              <a:gd name="connsiteY443" fmla="*/ 8707648 h 10808782"/>
              <a:gd name="connsiteX444" fmla="*/ 17080274 w 25004707"/>
              <a:gd name="connsiteY444" fmla="*/ 8564539 h 10808782"/>
              <a:gd name="connsiteX445" fmla="*/ 17402166 w 25004707"/>
              <a:gd name="connsiteY445" fmla="*/ 8385201 h 10808782"/>
              <a:gd name="connsiteX446" fmla="*/ 17200630 w 25004707"/>
              <a:gd name="connsiteY446" fmla="*/ 4158019 h 10808782"/>
              <a:gd name="connsiteX447" fmla="*/ 17124954 w 25004707"/>
              <a:gd name="connsiteY447" fmla="*/ 3949321 h 10808782"/>
              <a:gd name="connsiteX448" fmla="*/ 17140530 w 25004707"/>
              <a:gd name="connsiteY448" fmla="*/ 3517934 h 10808782"/>
              <a:gd name="connsiteX449" fmla="*/ 17125426 w 25004707"/>
              <a:gd name="connsiteY449" fmla="*/ 3949352 h 10808782"/>
              <a:gd name="connsiteX450" fmla="*/ 17201730 w 25004707"/>
              <a:gd name="connsiteY450" fmla="*/ 4158098 h 10808782"/>
              <a:gd name="connsiteX451" fmla="*/ 17358742 w 25004707"/>
              <a:gd name="connsiteY451" fmla="*/ 4323196 h 10808782"/>
              <a:gd name="connsiteX452" fmla="*/ 15489707 w 25004707"/>
              <a:gd name="connsiteY452" fmla="*/ 4211020 h 10808782"/>
              <a:gd name="connsiteX453" fmla="*/ 17654676 w 25004707"/>
              <a:gd name="connsiteY453" fmla="*/ 4542552 h 10808782"/>
              <a:gd name="connsiteX454" fmla="*/ 17359372 w 25004707"/>
              <a:gd name="connsiteY454" fmla="*/ 4322756 h 10808782"/>
              <a:gd name="connsiteX455" fmla="*/ 18261488 w 25004707"/>
              <a:gd name="connsiteY455" fmla="*/ 5022254 h 10808782"/>
              <a:gd name="connsiteX456" fmla="*/ 17654520 w 25004707"/>
              <a:gd name="connsiteY456" fmla="*/ 4542536 h 10808782"/>
              <a:gd name="connsiteX457" fmla="*/ 10846386 w 25004707"/>
              <a:gd name="connsiteY457" fmla="*/ 1158336 h 10808782"/>
              <a:gd name="connsiteX458" fmla="*/ 10814575 w 25004707"/>
              <a:gd name="connsiteY458" fmla="*/ 1642772 h 10808782"/>
              <a:gd name="connsiteX459" fmla="*/ 10846386 w 25004707"/>
              <a:gd name="connsiteY459" fmla="*/ 1158336 h 10808782"/>
              <a:gd name="connsiteX460" fmla="*/ 10878229 w 25004707"/>
              <a:gd name="connsiteY460" fmla="*/ 673426 h 10808782"/>
              <a:gd name="connsiteX461" fmla="*/ 10846386 w 25004707"/>
              <a:gd name="connsiteY461" fmla="*/ 1158336 h 10808782"/>
              <a:gd name="connsiteX462" fmla="*/ 9562215 w 25004707"/>
              <a:gd name="connsiteY462" fmla="*/ 1074149 h 10808782"/>
              <a:gd name="connsiteX463" fmla="*/ 10846386 w 25004707"/>
              <a:gd name="connsiteY463" fmla="*/ 1158336 h 10808782"/>
              <a:gd name="connsiteX464" fmla="*/ 12130541 w 25004707"/>
              <a:gd name="connsiteY464" fmla="*/ 1242500 h 10808782"/>
              <a:gd name="connsiteX465" fmla="*/ 10814575 w 25004707"/>
              <a:gd name="connsiteY465" fmla="*/ 1642772 h 10808782"/>
              <a:gd name="connsiteX466" fmla="*/ 10782701 w 25004707"/>
              <a:gd name="connsiteY466" fmla="*/ 2127677 h 10808782"/>
              <a:gd name="connsiteX467" fmla="*/ 10814575 w 25004707"/>
              <a:gd name="connsiteY467" fmla="*/ 1642772 h 10808782"/>
              <a:gd name="connsiteX468" fmla="*/ 12098730 w 25004707"/>
              <a:gd name="connsiteY468" fmla="*/ 1726956 h 10808782"/>
              <a:gd name="connsiteX469" fmla="*/ 10814575 w 25004707"/>
              <a:gd name="connsiteY469" fmla="*/ 1642772 h 10808782"/>
              <a:gd name="connsiteX470" fmla="*/ 9530388 w 25004707"/>
              <a:gd name="connsiteY470" fmla="*/ 1558589 h 10808782"/>
              <a:gd name="connsiteX471" fmla="*/ 10305289 w 25004707"/>
              <a:gd name="connsiteY471" fmla="*/ 9397889 h 10808782"/>
              <a:gd name="connsiteX472" fmla="*/ 10273446 w 25004707"/>
              <a:gd name="connsiteY472" fmla="*/ 9882778 h 10808782"/>
              <a:gd name="connsiteX473" fmla="*/ 8989260 w 25004707"/>
              <a:gd name="connsiteY473" fmla="*/ 9798610 h 10808782"/>
              <a:gd name="connsiteX474" fmla="*/ 10555692 w 25004707"/>
              <a:gd name="connsiteY474" fmla="*/ 5519827 h 10808782"/>
              <a:gd name="connsiteX475" fmla="*/ 10507424 w 25004707"/>
              <a:gd name="connsiteY475" fmla="*/ 6003648 h 10808782"/>
              <a:gd name="connsiteX476" fmla="*/ 10555614 w 25004707"/>
              <a:gd name="connsiteY476" fmla="*/ 5519341 h 10808782"/>
              <a:gd name="connsiteX477" fmla="*/ 10575783 w 25004707"/>
              <a:gd name="connsiteY477" fmla="*/ 5277870 h 10808782"/>
              <a:gd name="connsiteX478" fmla="*/ 10591688 w 25004707"/>
              <a:gd name="connsiteY478" fmla="*/ 5035661 h 10808782"/>
              <a:gd name="connsiteX479" fmla="*/ 11548855 w 25004707"/>
              <a:gd name="connsiteY479" fmla="*/ 5027347 h 10808782"/>
              <a:gd name="connsiteX480" fmla="*/ 10337085 w 25004707"/>
              <a:gd name="connsiteY480" fmla="*/ 8913455 h 10808782"/>
              <a:gd name="connsiteX481" fmla="*/ 10305258 w 25004707"/>
              <a:gd name="connsiteY481" fmla="*/ 9397889 h 10808782"/>
              <a:gd name="connsiteX482" fmla="*/ 9021087 w 25004707"/>
              <a:gd name="connsiteY482" fmla="*/ 9313705 h 10808782"/>
              <a:gd name="connsiteX483" fmla="*/ 10337085 w 25004707"/>
              <a:gd name="connsiteY483" fmla="*/ 8913455 h 10808782"/>
              <a:gd name="connsiteX484" fmla="*/ 10368913 w 25004707"/>
              <a:gd name="connsiteY484" fmla="*/ 8428566 h 10808782"/>
              <a:gd name="connsiteX485" fmla="*/ 10337085 w 25004707"/>
              <a:gd name="connsiteY485" fmla="*/ 8913455 h 10808782"/>
              <a:gd name="connsiteX486" fmla="*/ 9052883 w 25004707"/>
              <a:gd name="connsiteY486" fmla="*/ 8829287 h 10808782"/>
              <a:gd name="connsiteX487" fmla="*/ 10464347 w 25004707"/>
              <a:gd name="connsiteY487" fmla="*/ 6974794 h 10808782"/>
              <a:gd name="connsiteX488" fmla="*/ 10432536 w 25004707"/>
              <a:gd name="connsiteY488" fmla="*/ 7459228 h 10808782"/>
              <a:gd name="connsiteX489" fmla="*/ 9148365 w 25004707"/>
              <a:gd name="connsiteY489" fmla="*/ 7375059 h 10808782"/>
              <a:gd name="connsiteX490" fmla="*/ 9116522 w 25004707"/>
              <a:gd name="connsiteY490" fmla="*/ 7859965 h 10808782"/>
              <a:gd name="connsiteX491" fmla="*/ 10782731 w 25004707"/>
              <a:gd name="connsiteY491" fmla="*/ 2127662 h 10808782"/>
              <a:gd name="connsiteX492" fmla="*/ 10750888 w 25004707"/>
              <a:gd name="connsiteY492" fmla="*/ 2612551 h 10808782"/>
              <a:gd name="connsiteX493" fmla="*/ 10750888 w 25004707"/>
              <a:gd name="connsiteY493" fmla="*/ 2612551 h 10808782"/>
              <a:gd name="connsiteX494" fmla="*/ 12035043 w 25004707"/>
              <a:gd name="connsiteY494" fmla="*/ 2696735 h 10808782"/>
              <a:gd name="connsiteX495" fmla="*/ 10750888 w 25004707"/>
              <a:gd name="connsiteY495" fmla="*/ 2612551 h 10808782"/>
              <a:gd name="connsiteX496" fmla="*/ 9466717 w 25004707"/>
              <a:gd name="connsiteY496" fmla="*/ 2528383 h 10808782"/>
              <a:gd name="connsiteX497" fmla="*/ 10687250 w 25004707"/>
              <a:gd name="connsiteY497" fmla="*/ 3581905 h 10808782"/>
              <a:gd name="connsiteX498" fmla="*/ 10655422 w 25004707"/>
              <a:gd name="connsiteY498" fmla="*/ 4066339 h 10808782"/>
              <a:gd name="connsiteX499" fmla="*/ 10687250 w 25004707"/>
              <a:gd name="connsiteY499" fmla="*/ 3581905 h 10808782"/>
              <a:gd name="connsiteX500" fmla="*/ 10719077 w 25004707"/>
              <a:gd name="connsiteY500" fmla="*/ 3096984 h 10808782"/>
              <a:gd name="connsiteX501" fmla="*/ 10687250 w 25004707"/>
              <a:gd name="connsiteY501" fmla="*/ 3581905 h 10808782"/>
              <a:gd name="connsiteX502" fmla="*/ 9403063 w 25004707"/>
              <a:gd name="connsiteY502" fmla="*/ 3497721 h 10808782"/>
              <a:gd name="connsiteX503" fmla="*/ 10655422 w 25004707"/>
              <a:gd name="connsiteY503" fmla="*/ 4066339 h 10808782"/>
              <a:gd name="connsiteX504" fmla="*/ 9371251 w 25004707"/>
              <a:gd name="connsiteY504" fmla="*/ 3982155 h 10808782"/>
              <a:gd name="connsiteX505" fmla="*/ 10655422 w 25004707"/>
              <a:gd name="connsiteY505" fmla="*/ 4066339 h 10808782"/>
              <a:gd name="connsiteX506" fmla="*/ 11939593 w 25004707"/>
              <a:gd name="connsiteY506" fmla="*/ 4150506 h 10808782"/>
              <a:gd name="connsiteX507" fmla="*/ 10368881 w 25004707"/>
              <a:gd name="connsiteY507" fmla="*/ 8428566 h 10808782"/>
              <a:gd name="connsiteX508" fmla="*/ 10400693 w 25004707"/>
              <a:gd name="connsiteY508" fmla="*/ 7944132 h 10808782"/>
              <a:gd name="connsiteX509" fmla="*/ 11684864 w 25004707"/>
              <a:gd name="connsiteY509" fmla="*/ 8028316 h 10808782"/>
              <a:gd name="connsiteX510" fmla="*/ 10368881 w 25004707"/>
              <a:gd name="connsiteY510" fmla="*/ 8428566 h 10808782"/>
              <a:gd name="connsiteX511" fmla="*/ 11653068 w 25004707"/>
              <a:gd name="connsiteY511" fmla="*/ 8512733 h 10808782"/>
              <a:gd name="connsiteX512" fmla="*/ 10368881 w 25004707"/>
              <a:gd name="connsiteY512" fmla="*/ 8428566 h 10808782"/>
              <a:gd name="connsiteX513" fmla="*/ 9084726 w 25004707"/>
              <a:gd name="connsiteY513" fmla="*/ 8344382 h 10808782"/>
              <a:gd name="connsiteX514" fmla="*/ 10491817 w 25004707"/>
              <a:gd name="connsiteY514" fmla="*/ 6490549 h 10808782"/>
              <a:gd name="connsiteX515" fmla="*/ 10480222 w 25004707"/>
              <a:gd name="connsiteY515" fmla="*/ 6732585 h 10808782"/>
              <a:gd name="connsiteX516" fmla="*/ 10464317 w 25004707"/>
              <a:gd name="connsiteY516" fmla="*/ 6974794 h 10808782"/>
              <a:gd name="connsiteX517" fmla="*/ 9180145 w 25004707"/>
              <a:gd name="connsiteY517" fmla="*/ 6890626 h 10808782"/>
              <a:gd name="connsiteX518" fmla="*/ 10507361 w 25004707"/>
              <a:gd name="connsiteY518" fmla="*/ 6003632 h 10808782"/>
              <a:gd name="connsiteX519" fmla="*/ 10491943 w 25004707"/>
              <a:gd name="connsiteY519" fmla="*/ 6489606 h 10808782"/>
              <a:gd name="connsiteX520" fmla="*/ 10163458 w 25004707"/>
              <a:gd name="connsiteY520" fmla="*/ 6468073 h 10808782"/>
              <a:gd name="connsiteX521" fmla="*/ 9212005 w 25004707"/>
              <a:gd name="connsiteY521" fmla="*/ 6405705 h 10808782"/>
              <a:gd name="connsiteX522" fmla="*/ 10507361 w 25004707"/>
              <a:gd name="connsiteY522" fmla="*/ 6003632 h 10808782"/>
              <a:gd name="connsiteX523" fmla="*/ 9243879 w 25004707"/>
              <a:gd name="connsiteY523" fmla="*/ 5920832 h 10808782"/>
              <a:gd name="connsiteX524" fmla="*/ 10507361 w 25004707"/>
              <a:gd name="connsiteY524" fmla="*/ 6003632 h 10808782"/>
              <a:gd name="connsiteX525" fmla="*/ 11123456 w 25004707"/>
              <a:gd name="connsiteY525" fmla="*/ 6044043 h 10808782"/>
              <a:gd name="connsiteX526" fmla="*/ 10782701 w 25004707"/>
              <a:gd name="connsiteY526" fmla="*/ 2127677 h 10808782"/>
              <a:gd name="connsiteX527" fmla="*/ 12066887 w 25004707"/>
              <a:gd name="connsiteY527" fmla="*/ 2211845 h 10808782"/>
              <a:gd name="connsiteX528" fmla="*/ 10782701 w 25004707"/>
              <a:gd name="connsiteY528" fmla="*/ 2127677 h 10808782"/>
              <a:gd name="connsiteX529" fmla="*/ 9498529 w 25004707"/>
              <a:gd name="connsiteY529" fmla="*/ 2043493 h 10808782"/>
              <a:gd name="connsiteX530" fmla="*/ 10750841 w 25004707"/>
              <a:gd name="connsiteY530" fmla="*/ 2612582 h 10808782"/>
              <a:gd name="connsiteX531" fmla="*/ 10719029 w 25004707"/>
              <a:gd name="connsiteY531" fmla="*/ 3097016 h 10808782"/>
              <a:gd name="connsiteX532" fmla="*/ 9434859 w 25004707"/>
              <a:gd name="connsiteY532" fmla="*/ 3012832 h 10808782"/>
              <a:gd name="connsiteX533" fmla="*/ 10623563 w 25004707"/>
              <a:gd name="connsiteY533" fmla="*/ 4551244 h 10808782"/>
              <a:gd name="connsiteX534" fmla="*/ 10591752 w 25004707"/>
              <a:gd name="connsiteY534" fmla="*/ 5035661 h 10808782"/>
              <a:gd name="connsiteX535" fmla="*/ 9307550 w 25004707"/>
              <a:gd name="connsiteY535" fmla="*/ 4951493 h 10808782"/>
              <a:gd name="connsiteX536" fmla="*/ 9275706 w 25004707"/>
              <a:gd name="connsiteY536" fmla="*/ 5436398 h 10808782"/>
              <a:gd name="connsiteX537" fmla="*/ 10623563 w 25004707"/>
              <a:gd name="connsiteY537" fmla="*/ 4551244 h 10808782"/>
              <a:gd name="connsiteX538" fmla="*/ 10655390 w 25004707"/>
              <a:gd name="connsiteY538" fmla="*/ 4066339 h 10808782"/>
              <a:gd name="connsiteX539" fmla="*/ 10623563 w 25004707"/>
              <a:gd name="connsiteY539" fmla="*/ 4551244 h 10808782"/>
              <a:gd name="connsiteX540" fmla="*/ 9339392 w 25004707"/>
              <a:gd name="connsiteY540" fmla="*/ 4467060 h 10808782"/>
              <a:gd name="connsiteX541" fmla="*/ 10432504 w 25004707"/>
              <a:gd name="connsiteY541" fmla="*/ 7459228 h 10808782"/>
              <a:gd name="connsiteX542" fmla="*/ 10400662 w 25004707"/>
              <a:gd name="connsiteY542" fmla="*/ 7944132 h 10808782"/>
              <a:gd name="connsiteX543" fmla="*/ 9116475 w 25004707"/>
              <a:gd name="connsiteY543" fmla="*/ 7859949 h 10808782"/>
              <a:gd name="connsiteX544" fmla="*/ 5662142 w 25004707"/>
              <a:gd name="connsiteY544" fmla="*/ 1780254 h 10808782"/>
              <a:gd name="connsiteX545" fmla="*/ 5658194 w 25004707"/>
              <a:gd name="connsiteY545" fmla="*/ 2262267 h 10808782"/>
              <a:gd name="connsiteX546" fmla="*/ 5662142 w 25004707"/>
              <a:gd name="connsiteY546" fmla="*/ 1780254 h 10808782"/>
              <a:gd name="connsiteX547" fmla="*/ 4402830 w 25004707"/>
              <a:gd name="connsiteY547" fmla="*/ 1082261 h 10808782"/>
              <a:gd name="connsiteX548" fmla="*/ 5662142 w 25004707"/>
              <a:gd name="connsiteY548" fmla="*/ 1780254 h 10808782"/>
              <a:gd name="connsiteX549" fmla="*/ 6479129 w 25004707"/>
              <a:gd name="connsiteY549" fmla="*/ 1845561 h 10808782"/>
              <a:gd name="connsiteX550" fmla="*/ 6930187 w 25004707"/>
              <a:gd name="connsiteY550" fmla="*/ 1875142 h 10808782"/>
              <a:gd name="connsiteX551" fmla="*/ 5658194 w 25004707"/>
              <a:gd name="connsiteY551" fmla="*/ 2262267 h 10808782"/>
              <a:gd name="connsiteX552" fmla="*/ 4366723 w 25004707"/>
              <a:gd name="connsiteY552" fmla="*/ 1631817 h 10808782"/>
              <a:gd name="connsiteX553" fmla="*/ 5658194 w 25004707"/>
              <a:gd name="connsiteY553" fmla="*/ 2262267 h 10808782"/>
              <a:gd name="connsiteX554" fmla="*/ 5911822 w 25004707"/>
              <a:gd name="connsiteY554" fmla="*/ 2295353 h 10808782"/>
              <a:gd name="connsiteX555" fmla="*/ 6898297 w 25004707"/>
              <a:gd name="connsiteY555" fmla="*/ 2360015 h 10808782"/>
              <a:gd name="connsiteX556" fmla="*/ 6930156 w 25004707"/>
              <a:gd name="connsiteY556" fmla="*/ 1875126 h 10808782"/>
              <a:gd name="connsiteX557" fmla="*/ 5455005 w 25004707"/>
              <a:gd name="connsiteY557" fmla="*/ 4698958 h 10808782"/>
              <a:gd name="connsiteX558" fmla="*/ 5486817 w 25004707"/>
              <a:gd name="connsiteY558" fmla="*/ 4214524 h 10808782"/>
              <a:gd name="connsiteX559" fmla="*/ 6771003 w 25004707"/>
              <a:gd name="connsiteY559" fmla="*/ 4298708 h 10808782"/>
              <a:gd name="connsiteX560" fmla="*/ 5455005 w 25004707"/>
              <a:gd name="connsiteY560" fmla="*/ 4698958 h 10808782"/>
              <a:gd name="connsiteX561" fmla="*/ 6739176 w 25004707"/>
              <a:gd name="connsiteY561" fmla="*/ 4783142 h 10808782"/>
              <a:gd name="connsiteX562" fmla="*/ 5455005 w 25004707"/>
              <a:gd name="connsiteY562" fmla="*/ 4698958 h 10808782"/>
              <a:gd name="connsiteX563" fmla="*/ 5254428 w 25004707"/>
              <a:gd name="connsiteY563" fmla="*/ 4685802 h 10808782"/>
              <a:gd name="connsiteX564" fmla="*/ 4154818 w 25004707"/>
              <a:gd name="connsiteY564" fmla="*/ 4858838 h 10808782"/>
              <a:gd name="connsiteX565" fmla="*/ 5455005 w 25004707"/>
              <a:gd name="connsiteY565" fmla="*/ 4698958 h 10808782"/>
              <a:gd name="connsiteX566" fmla="*/ 5391335 w 25004707"/>
              <a:gd name="connsiteY566" fmla="*/ 5668281 h 10808782"/>
              <a:gd name="connsiteX567" fmla="*/ 4107179 w 25004707"/>
              <a:gd name="connsiteY567" fmla="*/ 5584097 h 10808782"/>
              <a:gd name="connsiteX568" fmla="*/ 5200355 w 25004707"/>
              <a:gd name="connsiteY568" fmla="*/ 8576736 h 10808782"/>
              <a:gd name="connsiteX569" fmla="*/ 5168543 w 25004707"/>
              <a:gd name="connsiteY569" fmla="*/ 9061169 h 10808782"/>
              <a:gd name="connsiteX570" fmla="*/ 3884356 w 25004707"/>
              <a:gd name="connsiteY570" fmla="*/ 8976986 h 10808782"/>
              <a:gd name="connsiteX571" fmla="*/ 5200355 w 25004707"/>
              <a:gd name="connsiteY571" fmla="*/ 8576736 h 10808782"/>
              <a:gd name="connsiteX572" fmla="*/ 5232197 w 25004707"/>
              <a:gd name="connsiteY572" fmla="*/ 8091847 h 10808782"/>
              <a:gd name="connsiteX573" fmla="*/ 5200355 w 25004707"/>
              <a:gd name="connsiteY573" fmla="*/ 8576736 h 10808782"/>
              <a:gd name="connsiteX574" fmla="*/ 3916184 w 25004707"/>
              <a:gd name="connsiteY574" fmla="*/ 8492568 h 10808782"/>
              <a:gd name="connsiteX575" fmla="*/ 5658225 w 25004707"/>
              <a:gd name="connsiteY575" fmla="*/ 2262283 h 10808782"/>
              <a:gd name="connsiteX576" fmla="*/ 5637521 w 25004707"/>
              <a:gd name="connsiteY576" fmla="*/ 2763912 h 10808782"/>
              <a:gd name="connsiteX577" fmla="*/ 6866517 w 25004707"/>
              <a:gd name="connsiteY577" fmla="*/ 2844465 h 10808782"/>
              <a:gd name="connsiteX578" fmla="*/ 5592415 w 25004707"/>
              <a:gd name="connsiteY578" fmla="*/ 3263937 h 10808782"/>
              <a:gd name="connsiteX579" fmla="*/ 5637489 w 25004707"/>
              <a:gd name="connsiteY579" fmla="*/ 2763896 h 10808782"/>
              <a:gd name="connsiteX580" fmla="*/ 4298128 w 25004707"/>
              <a:gd name="connsiteY580" fmla="*/ 2676113 h 10808782"/>
              <a:gd name="connsiteX581" fmla="*/ 5592415 w 25004707"/>
              <a:gd name="connsiteY581" fmla="*/ 3263937 h 10808782"/>
              <a:gd name="connsiteX582" fmla="*/ 5533291 w 25004707"/>
              <a:gd name="connsiteY582" fmla="*/ 3742335 h 10808782"/>
              <a:gd name="connsiteX583" fmla="*/ 5592415 w 25004707"/>
              <a:gd name="connsiteY583" fmla="*/ 3263937 h 10808782"/>
              <a:gd name="connsiteX584" fmla="*/ 5848183 w 25004707"/>
              <a:gd name="connsiteY584" fmla="*/ 3264220 h 10808782"/>
              <a:gd name="connsiteX585" fmla="*/ 6834674 w 25004707"/>
              <a:gd name="connsiteY585" fmla="*/ 3328898 h 10808782"/>
              <a:gd name="connsiteX586" fmla="*/ 5709640 w 25004707"/>
              <a:gd name="connsiteY586" fmla="*/ 821626 h 10808782"/>
              <a:gd name="connsiteX587" fmla="*/ 5677828 w 25004707"/>
              <a:gd name="connsiteY587" fmla="*/ 1306056 h 10808782"/>
              <a:gd name="connsiteX588" fmla="*/ 5622638 w 25004707"/>
              <a:gd name="connsiteY588" fmla="*/ 1302440 h 10808782"/>
              <a:gd name="connsiteX589" fmla="*/ 5501527 w 25004707"/>
              <a:gd name="connsiteY589" fmla="*/ 1263917 h 10808782"/>
              <a:gd name="connsiteX590" fmla="*/ 4424446 w 25004707"/>
              <a:gd name="connsiteY590" fmla="*/ 752908 h 10808782"/>
              <a:gd name="connsiteX591" fmla="*/ 5709640 w 25004707"/>
              <a:gd name="connsiteY591" fmla="*/ 821626 h 10808782"/>
              <a:gd name="connsiteX592" fmla="*/ 5741483 w 25004707"/>
              <a:gd name="connsiteY592" fmla="*/ 336712 h 10808782"/>
              <a:gd name="connsiteX593" fmla="*/ 5709640 w 25004707"/>
              <a:gd name="connsiteY593" fmla="*/ 821626 h 10808782"/>
              <a:gd name="connsiteX594" fmla="*/ 5509063 w 25004707"/>
              <a:gd name="connsiteY594" fmla="*/ 808462 h 10808782"/>
              <a:gd name="connsiteX595" fmla="*/ 4441500 w 25004707"/>
              <a:gd name="connsiteY595" fmla="*/ 493335 h 10808782"/>
              <a:gd name="connsiteX596" fmla="*/ 5136715 w 25004707"/>
              <a:gd name="connsiteY596" fmla="*/ 9546074 h 10808782"/>
              <a:gd name="connsiteX597" fmla="*/ 5168575 w 25004707"/>
              <a:gd name="connsiteY597" fmla="*/ 9061169 h 10808782"/>
              <a:gd name="connsiteX598" fmla="*/ 5136715 w 25004707"/>
              <a:gd name="connsiteY598" fmla="*/ 9546074 h 10808782"/>
              <a:gd name="connsiteX599" fmla="*/ 6420871 w 25004707"/>
              <a:gd name="connsiteY599" fmla="*/ 9630242 h 10808782"/>
              <a:gd name="connsiteX600" fmla="*/ 6452730 w 25004707"/>
              <a:gd name="connsiteY600" fmla="*/ 9145353 h 10808782"/>
              <a:gd name="connsiteX601" fmla="*/ 7736885 w 25004707"/>
              <a:gd name="connsiteY601" fmla="*/ 9229521 h 10808782"/>
              <a:gd name="connsiteX602" fmla="*/ 5136715 w 25004707"/>
              <a:gd name="connsiteY602" fmla="*/ 9546074 h 10808782"/>
              <a:gd name="connsiteX603" fmla="*/ 3852544 w 25004707"/>
              <a:gd name="connsiteY603" fmla="*/ 9461890 h 10808782"/>
              <a:gd name="connsiteX604" fmla="*/ 5486801 w 25004707"/>
              <a:gd name="connsiteY604" fmla="*/ 4214981 h 10808782"/>
              <a:gd name="connsiteX605" fmla="*/ 5491773 w 25004707"/>
              <a:gd name="connsiteY605" fmla="*/ 4139080 h 10808782"/>
              <a:gd name="connsiteX606" fmla="*/ 5497892 w 25004707"/>
              <a:gd name="connsiteY606" fmla="*/ 4062315 h 10808782"/>
              <a:gd name="connsiteX607" fmla="*/ 5533276 w 25004707"/>
              <a:gd name="connsiteY607" fmla="*/ 3742335 h 10808782"/>
              <a:gd name="connsiteX608" fmla="*/ 4193442 w 25004707"/>
              <a:gd name="connsiteY608" fmla="*/ 4269945 h 10808782"/>
              <a:gd name="connsiteX609" fmla="*/ 5327633 w 25004707"/>
              <a:gd name="connsiteY609" fmla="*/ 6638091 h 10808782"/>
              <a:gd name="connsiteX610" fmla="*/ 5359476 w 25004707"/>
              <a:gd name="connsiteY610" fmla="*/ 6153186 h 10808782"/>
              <a:gd name="connsiteX611" fmla="*/ 6643678 w 25004707"/>
              <a:gd name="connsiteY611" fmla="*/ 6237369 h 10808782"/>
              <a:gd name="connsiteX612" fmla="*/ 5327633 w 25004707"/>
              <a:gd name="connsiteY612" fmla="*/ 6638091 h 10808782"/>
              <a:gd name="connsiteX613" fmla="*/ 5295821 w 25004707"/>
              <a:gd name="connsiteY613" fmla="*/ 7122508 h 10808782"/>
              <a:gd name="connsiteX614" fmla="*/ 5327633 w 25004707"/>
              <a:gd name="connsiteY614" fmla="*/ 6638091 h 10808782"/>
              <a:gd name="connsiteX615" fmla="*/ 6611819 w 25004707"/>
              <a:gd name="connsiteY615" fmla="*/ 6722259 h 10808782"/>
              <a:gd name="connsiteX616" fmla="*/ 5327633 w 25004707"/>
              <a:gd name="connsiteY616" fmla="*/ 6638091 h 10808782"/>
              <a:gd name="connsiteX617" fmla="*/ 4043446 w 25004707"/>
              <a:gd name="connsiteY617" fmla="*/ 6553891 h 10808782"/>
              <a:gd name="connsiteX618" fmla="*/ 5295821 w 25004707"/>
              <a:gd name="connsiteY618" fmla="*/ 7122508 h 10808782"/>
              <a:gd name="connsiteX619" fmla="*/ 4011634 w 25004707"/>
              <a:gd name="connsiteY619" fmla="*/ 7038325 h 10808782"/>
              <a:gd name="connsiteX620" fmla="*/ 5295821 w 25004707"/>
              <a:gd name="connsiteY620" fmla="*/ 7122508 h 10808782"/>
              <a:gd name="connsiteX621" fmla="*/ 6579992 w 25004707"/>
              <a:gd name="connsiteY621" fmla="*/ 7206692 h 10808782"/>
              <a:gd name="connsiteX622" fmla="*/ 5391303 w 25004707"/>
              <a:gd name="connsiteY622" fmla="*/ 5668281 h 10808782"/>
              <a:gd name="connsiteX623" fmla="*/ 5359460 w 25004707"/>
              <a:gd name="connsiteY623" fmla="*/ 6153186 h 10808782"/>
              <a:gd name="connsiteX624" fmla="*/ 4075304 w 25004707"/>
              <a:gd name="connsiteY624" fmla="*/ 6069002 h 10808782"/>
              <a:gd name="connsiteX625" fmla="*/ 5676774 w 25004707"/>
              <a:gd name="connsiteY625" fmla="*/ 1305997 h 10808782"/>
              <a:gd name="connsiteX626" fmla="*/ 5661592 w 25004707"/>
              <a:gd name="connsiteY626" fmla="*/ 1780223 h 10808782"/>
              <a:gd name="connsiteX627" fmla="*/ 5295774 w 25004707"/>
              <a:gd name="connsiteY627" fmla="*/ 7122508 h 10808782"/>
              <a:gd name="connsiteX628" fmla="*/ 5263931 w 25004707"/>
              <a:gd name="connsiteY628" fmla="*/ 7607414 h 10808782"/>
              <a:gd name="connsiteX629" fmla="*/ 3979775 w 25004707"/>
              <a:gd name="connsiteY629" fmla="*/ 7523230 h 10808782"/>
              <a:gd name="connsiteX630" fmla="*/ 1666131 w 25004707"/>
              <a:gd name="connsiteY630" fmla="*/ 3477068 h 10808782"/>
              <a:gd name="connsiteX631" fmla="*/ 1697943 w 25004707"/>
              <a:gd name="connsiteY631" fmla="*/ 2992651 h 10808782"/>
              <a:gd name="connsiteX632" fmla="*/ 1666131 w 25004707"/>
              <a:gd name="connsiteY632" fmla="*/ 3477068 h 10808782"/>
              <a:gd name="connsiteX633" fmla="*/ 1634272 w 25004707"/>
              <a:gd name="connsiteY633" fmla="*/ 3961989 h 10808782"/>
              <a:gd name="connsiteX634" fmla="*/ 1666131 w 25004707"/>
              <a:gd name="connsiteY634" fmla="*/ 3477068 h 10808782"/>
              <a:gd name="connsiteX635" fmla="*/ 381954 w 25004707"/>
              <a:gd name="connsiteY635" fmla="*/ 3392900 h 10808782"/>
              <a:gd name="connsiteX636" fmla="*/ 1666131 w 25004707"/>
              <a:gd name="connsiteY636" fmla="*/ 3477068 h 10808782"/>
              <a:gd name="connsiteX637" fmla="*/ 2652607 w 25004707"/>
              <a:gd name="connsiteY637" fmla="*/ 3541731 h 10808782"/>
              <a:gd name="connsiteX638" fmla="*/ 2934679 w 25004707"/>
              <a:gd name="connsiteY638" fmla="*/ 3571987 h 10808782"/>
              <a:gd name="connsiteX639" fmla="*/ 1697943 w 25004707"/>
              <a:gd name="connsiteY639" fmla="*/ 2992651 h 10808782"/>
              <a:gd name="connsiteX640" fmla="*/ 1729801 w 25004707"/>
              <a:gd name="connsiteY640" fmla="*/ 2507730 h 10808782"/>
              <a:gd name="connsiteX641" fmla="*/ 1697943 w 25004707"/>
              <a:gd name="connsiteY641" fmla="*/ 2992651 h 10808782"/>
              <a:gd name="connsiteX642" fmla="*/ 403160 w 25004707"/>
              <a:gd name="connsiteY642" fmla="*/ 2907760 h 10808782"/>
              <a:gd name="connsiteX643" fmla="*/ 1602492 w 25004707"/>
              <a:gd name="connsiteY643" fmla="*/ 4446422 h 10808782"/>
              <a:gd name="connsiteX644" fmla="*/ 1634304 w 25004707"/>
              <a:gd name="connsiteY644" fmla="*/ 3961989 h 10808782"/>
              <a:gd name="connsiteX645" fmla="*/ 1602492 w 25004707"/>
              <a:gd name="connsiteY645" fmla="*/ 4446422 h 10808782"/>
              <a:gd name="connsiteX646" fmla="*/ 2886663 w 25004707"/>
              <a:gd name="connsiteY646" fmla="*/ 4530606 h 10808782"/>
              <a:gd name="connsiteX647" fmla="*/ 1602492 w 25004707"/>
              <a:gd name="connsiteY647" fmla="*/ 4446422 h 10808782"/>
              <a:gd name="connsiteX648" fmla="*/ 318315 w 25004707"/>
              <a:gd name="connsiteY648" fmla="*/ 4362239 h 10808782"/>
              <a:gd name="connsiteX649" fmla="*/ 1347818 w 25004707"/>
              <a:gd name="connsiteY649" fmla="*/ 8324201 h 10808782"/>
              <a:gd name="connsiteX650" fmla="*/ 1379664 w 25004707"/>
              <a:gd name="connsiteY650" fmla="*/ 7839312 h 10808782"/>
              <a:gd name="connsiteX651" fmla="*/ 1347818 w 25004707"/>
              <a:gd name="connsiteY651" fmla="*/ 8324201 h 10808782"/>
              <a:gd name="connsiteX652" fmla="*/ 2631997 w 25004707"/>
              <a:gd name="connsiteY652" fmla="*/ 8408384 h 10808782"/>
              <a:gd name="connsiteX653" fmla="*/ 2663840 w 25004707"/>
              <a:gd name="connsiteY653" fmla="*/ 7923495 h 10808782"/>
              <a:gd name="connsiteX654" fmla="*/ 1347818 w 25004707"/>
              <a:gd name="connsiteY654" fmla="*/ 8324201 h 10808782"/>
              <a:gd name="connsiteX655" fmla="*/ 63640 w 25004707"/>
              <a:gd name="connsiteY655" fmla="*/ 8240033 h 10808782"/>
              <a:gd name="connsiteX656" fmla="*/ 1411411 w 25004707"/>
              <a:gd name="connsiteY656" fmla="*/ 7354878 h 10808782"/>
              <a:gd name="connsiteX657" fmla="*/ 1443258 w 25004707"/>
              <a:gd name="connsiteY657" fmla="*/ 6869973 h 10808782"/>
              <a:gd name="connsiteX658" fmla="*/ 2727447 w 25004707"/>
              <a:gd name="connsiteY658" fmla="*/ 6954157 h 10808782"/>
              <a:gd name="connsiteX659" fmla="*/ 1411411 w 25004707"/>
              <a:gd name="connsiteY659" fmla="*/ 7354878 h 10808782"/>
              <a:gd name="connsiteX660" fmla="*/ 1379615 w 25004707"/>
              <a:gd name="connsiteY660" fmla="*/ 7839312 h 10808782"/>
              <a:gd name="connsiteX661" fmla="*/ 1411411 w 25004707"/>
              <a:gd name="connsiteY661" fmla="*/ 7354878 h 10808782"/>
              <a:gd name="connsiteX662" fmla="*/ 127234 w 25004707"/>
              <a:gd name="connsiteY662" fmla="*/ 7270695 h 10808782"/>
              <a:gd name="connsiteX663" fmla="*/ 1793456 w 25004707"/>
              <a:gd name="connsiteY663" fmla="*/ 1538423 h 10808782"/>
              <a:gd name="connsiteX664" fmla="*/ 1825315 w 25004707"/>
              <a:gd name="connsiteY664" fmla="*/ 1053519 h 10808782"/>
              <a:gd name="connsiteX665" fmla="*/ 1793456 w 25004707"/>
              <a:gd name="connsiteY665" fmla="*/ 1538423 h 10808782"/>
              <a:gd name="connsiteX666" fmla="*/ 509285 w 25004707"/>
              <a:gd name="connsiteY666" fmla="*/ 1454241 h 10808782"/>
              <a:gd name="connsiteX667" fmla="*/ 1793456 w 25004707"/>
              <a:gd name="connsiteY667" fmla="*/ 1538423 h 10808782"/>
              <a:gd name="connsiteX668" fmla="*/ 2244530 w 25004707"/>
              <a:gd name="connsiteY668" fmla="*/ 1567988 h 10808782"/>
              <a:gd name="connsiteX669" fmla="*/ 3063877 w 25004707"/>
              <a:gd name="connsiteY669" fmla="*/ 1613223 h 10808782"/>
              <a:gd name="connsiteX670" fmla="*/ 1825315 w 25004707"/>
              <a:gd name="connsiteY670" fmla="*/ 1053519 h 10808782"/>
              <a:gd name="connsiteX671" fmla="*/ 1857095 w 25004707"/>
              <a:gd name="connsiteY671" fmla="*/ 569070 h 10808782"/>
              <a:gd name="connsiteX672" fmla="*/ 1825315 w 25004707"/>
              <a:gd name="connsiteY672" fmla="*/ 1053519 h 10808782"/>
              <a:gd name="connsiteX673" fmla="*/ 541117 w 25004707"/>
              <a:gd name="connsiteY673" fmla="*/ 969340 h 10808782"/>
              <a:gd name="connsiteX674" fmla="*/ 1315958 w 25004707"/>
              <a:gd name="connsiteY674" fmla="*/ 8808634 h 10808782"/>
              <a:gd name="connsiteX675" fmla="*/ 1284111 w 25004707"/>
              <a:gd name="connsiteY675" fmla="*/ 9293539 h 10808782"/>
              <a:gd name="connsiteX676" fmla="*/ 2568295 w 25004707"/>
              <a:gd name="connsiteY676" fmla="*/ 9377707 h 10808782"/>
              <a:gd name="connsiteX677" fmla="*/ 1538806 w 25004707"/>
              <a:gd name="connsiteY677" fmla="*/ 5415746 h 10808782"/>
              <a:gd name="connsiteX678" fmla="*/ 1570617 w 25004707"/>
              <a:gd name="connsiteY678" fmla="*/ 4931312 h 10808782"/>
              <a:gd name="connsiteX679" fmla="*/ 1538806 w 25004707"/>
              <a:gd name="connsiteY679" fmla="*/ 5415746 h 10808782"/>
              <a:gd name="connsiteX680" fmla="*/ 1506961 w 25004707"/>
              <a:gd name="connsiteY680" fmla="*/ 5900650 h 10808782"/>
              <a:gd name="connsiteX681" fmla="*/ 1538806 w 25004707"/>
              <a:gd name="connsiteY681" fmla="*/ 5415746 h 10808782"/>
              <a:gd name="connsiteX682" fmla="*/ 254622 w 25004707"/>
              <a:gd name="connsiteY682" fmla="*/ 5331577 h 10808782"/>
              <a:gd name="connsiteX683" fmla="*/ 1570617 w 25004707"/>
              <a:gd name="connsiteY683" fmla="*/ 4931312 h 10808782"/>
              <a:gd name="connsiteX684" fmla="*/ 1602461 w 25004707"/>
              <a:gd name="connsiteY684" fmla="*/ 4446407 h 10808782"/>
              <a:gd name="connsiteX685" fmla="*/ 1570617 w 25004707"/>
              <a:gd name="connsiteY685" fmla="*/ 4931312 h 10808782"/>
              <a:gd name="connsiteX686" fmla="*/ 286431 w 25004707"/>
              <a:gd name="connsiteY686" fmla="*/ 4847128 h 10808782"/>
              <a:gd name="connsiteX687" fmla="*/ 1729786 w 25004707"/>
              <a:gd name="connsiteY687" fmla="*/ 2507761 h 10808782"/>
              <a:gd name="connsiteX688" fmla="*/ 1761597 w 25004707"/>
              <a:gd name="connsiteY688" fmla="*/ 2023328 h 10808782"/>
              <a:gd name="connsiteX689" fmla="*/ 2414287 w 25004707"/>
              <a:gd name="connsiteY689" fmla="*/ 2066111 h 10808782"/>
              <a:gd name="connsiteX690" fmla="*/ 2740663 w 25004707"/>
              <a:gd name="connsiteY690" fmla="*/ 2087031 h 10808782"/>
              <a:gd name="connsiteX691" fmla="*/ 3004360 w 25004707"/>
              <a:gd name="connsiteY691" fmla="*/ 2088776 h 10808782"/>
              <a:gd name="connsiteX692" fmla="*/ 1729786 w 25004707"/>
              <a:gd name="connsiteY692" fmla="*/ 2507761 h 10808782"/>
              <a:gd name="connsiteX693" fmla="*/ 2958782 w 25004707"/>
              <a:gd name="connsiteY693" fmla="*/ 2588330 h 10808782"/>
              <a:gd name="connsiteX694" fmla="*/ 1729786 w 25004707"/>
              <a:gd name="connsiteY694" fmla="*/ 2507761 h 10808782"/>
              <a:gd name="connsiteX695" fmla="*/ 434989 w 25004707"/>
              <a:gd name="connsiteY695" fmla="*/ 2422886 h 10808782"/>
              <a:gd name="connsiteX696" fmla="*/ 1475135 w 25004707"/>
              <a:gd name="connsiteY696" fmla="*/ 6385540 h 10808782"/>
              <a:gd name="connsiteX697" fmla="*/ 1443319 w 25004707"/>
              <a:gd name="connsiteY697" fmla="*/ 6869973 h 10808782"/>
              <a:gd name="connsiteX698" fmla="*/ 159142 w 25004707"/>
              <a:gd name="connsiteY698" fmla="*/ 6785789 h 10808782"/>
              <a:gd name="connsiteX699" fmla="*/ 1475135 w 25004707"/>
              <a:gd name="connsiteY699" fmla="*/ 6385540 h 10808782"/>
              <a:gd name="connsiteX700" fmla="*/ 1506961 w 25004707"/>
              <a:gd name="connsiteY700" fmla="*/ 5900650 h 10808782"/>
              <a:gd name="connsiteX701" fmla="*/ 1475135 w 25004707"/>
              <a:gd name="connsiteY701" fmla="*/ 6385540 h 10808782"/>
              <a:gd name="connsiteX702" fmla="*/ 190938 w 25004707"/>
              <a:gd name="connsiteY702" fmla="*/ 6301372 h 10808782"/>
              <a:gd name="connsiteX703" fmla="*/ 1857095 w 25004707"/>
              <a:gd name="connsiteY703" fmla="*/ 569070 h 10808782"/>
              <a:gd name="connsiteX704" fmla="*/ 1888954 w 25004707"/>
              <a:gd name="connsiteY704" fmla="*/ 84169 h 10808782"/>
              <a:gd name="connsiteX705" fmla="*/ 1857095 w 25004707"/>
              <a:gd name="connsiteY705" fmla="*/ 569070 h 10808782"/>
              <a:gd name="connsiteX706" fmla="*/ 3141266 w 25004707"/>
              <a:gd name="connsiteY706" fmla="*/ 653251 h 10808782"/>
              <a:gd name="connsiteX707" fmla="*/ 3173109 w 25004707"/>
              <a:gd name="connsiteY707" fmla="*/ 168350 h 10808782"/>
              <a:gd name="connsiteX708" fmla="*/ 1857095 w 25004707"/>
              <a:gd name="connsiteY708" fmla="*/ 569070 h 10808782"/>
              <a:gd name="connsiteX709" fmla="*/ 572924 w 25004707"/>
              <a:gd name="connsiteY709" fmla="*/ 484891 h 10808782"/>
              <a:gd name="connsiteX710" fmla="*/ 1379615 w 25004707"/>
              <a:gd name="connsiteY710" fmla="*/ 7839312 h 10808782"/>
              <a:gd name="connsiteX711" fmla="*/ 95437 w 25004707"/>
              <a:gd name="connsiteY711" fmla="*/ 7755128 h 10808782"/>
              <a:gd name="connsiteX712" fmla="*/ 1379615 w 25004707"/>
              <a:gd name="connsiteY712" fmla="*/ 7839312 h 10808782"/>
              <a:gd name="connsiteX713" fmla="*/ 2663793 w 25004707"/>
              <a:gd name="connsiteY713" fmla="*/ 7923495 h 10808782"/>
              <a:gd name="connsiteX714" fmla="*/ 1634272 w 25004707"/>
              <a:gd name="connsiteY714" fmla="*/ 3961989 h 10808782"/>
              <a:gd name="connsiteX715" fmla="*/ 2918475 w 25004707"/>
              <a:gd name="connsiteY715" fmla="*/ 4046173 h 10808782"/>
              <a:gd name="connsiteX716" fmla="*/ 1634272 w 25004707"/>
              <a:gd name="connsiteY716" fmla="*/ 3961989 h 10808782"/>
              <a:gd name="connsiteX717" fmla="*/ 350101 w 25004707"/>
              <a:gd name="connsiteY717" fmla="*/ 3877805 h 10808782"/>
              <a:gd name="connsiteX718" fmla="*/ 1506961 w 25004707"/>
              <a:gd name="connsiteY718" fmla="*/ 5900650 h 10808782"/>
              <a:gd name="connsiteX719" fmla="*/ 222779 w 25004707"/>
              <a:gd name="connsiteY719" fmla="*/ 5816467 h 10808782"/>
              <a:gd name="connsiteX720" fmla="*/ 1506961 w 25004707"/>
              <a:gd name="connsiteY720" fmla="*/ 5900650 h 10808782"/>
              <a:gd name="connsiteX721" fmla="*/ 2791118 w 25004707"/>
              <a:gd name="connsiteY721" fmla="*/ 5984834 h 10808782"/>
              <a:gd name="connsiteX722" fmla="*/ 1793441 w 25004707"/>
              <a:gd name="connsiteY722" fmla="*/ 1538407 h 10808782"/>
              <a:gd name="connsiteX723" fmla="*/ 1761597 w 25004707"/>
              <a:gd name="connsiteY723" fmla="*/ 2023296 h 10808782"/>
              <a:gd name="connsiteX724" fmla="*/ 477423 w 25004707"/>
              <a:gd name="connsiteY724" fmla="*/ 1939128 h 10808782"/>
              <a:gd name="connsiteX725" fmla="*/ 1347747 w 25004707"/>
              <a:gd name="connsiteY725" fmla="*/ 8324185 h 10808782"/>
              <a:gd name="connsiteX726" fmla="*/ 1315932 w 25004707"/>
              <a:gd name="connsiteY726" fmla="*/ 8808618 h 10808782"/>
              <a:gd name="connsiteX727" fmla="*/ 31754 w 25004707"/>
              <a:gd name="connsiteY727" fmla="*/ 8724434 h 10808782"/>
              <a:gd name="connsiteX728" fmla="*/ 2918475 w 25004707"/>
              <a:gd name="connsiteY728" fmla="*/ 4046173 h 10808782"/>
              <a:gd name="connsiteX729" fmla="*/ 2886663 w 25004707"/>
              <a:gd name="connsiteY729" fmla="*/ 4530606 h 10808782"/>
              <a:gd name="connsiteX730" fmla="*/ 2918475 w 25004707"/>
              <a:gd name="connsiteY730" fmla="*/ 4046173 h 10808782"/>
              <a:gd name="connsiteX731" fmla="*/ 2923446 w 25004707"/>
              <a:gd name="connsiteY731" fmla="*/ 3970272 h 10808782"/>
              <a:gd name="connsiteX732" fmla="*/ 2934176 w 25004707"/>
              <a:gd name="connsiteY732" fmla="*/ 3571956 h 10808782"/>
              <a:gd name="connsiteX733" fmla="*/ 2886663 w 25004707"/>
              <a:gd name="connsiteY733" fmla="*/ 4530606 h 10808782"/>
              <a:gd name="connsiteX734" fmla="*/ 3087240 w 25004707"/>
              <a:gd name="connsiteY734" fmla="*/ 4543731 h 10808782"/>
              <a:gd name="connsiteX735" fmla="*/ 4154818 w 25004707"/>
              <a:gd name="connsiteY735" fmla="*/ 4858838 h 10808782"/>
              <a:gd name="connsiteX736" fmla="*/ 2958782 w 25004707"/>
              <a:gd name="connsiteY736" fmla="*/ 2588330 h 10808782"/>
              <a:gd name="connsiteX737" fmla="*/ 3003841 w 25004707"/>
              <a:gd name="connsiteY737" fmla="*/ 2088289 h 10808782"/>
              <a:gd name="connsiteX738" fmla="*/ 3062980 w 25004707"/>
              <a:gd name="connsiteY738" fmla="*/ 1609875 h 10808782"/>
              <a:gd name="connsiteX739" fmla="*/ 2958782 w 25004707"/>
              <a:gd name="connsiteY739" fmla="*/ 2588330 h 10808782"/>
              <a:gd name="connsiteX740" fmla="*/ 2938062 w 25004707"/>
              <a:gd name="connsiteY740" fmla="*/ 3089943 h 10808782"/>
              <a:gd name="connsiteX741" fmla="*/ 4229533 w 25004707"/>
              <a:gd name="connsiteY741" fmla="*/ 3720409 h 10808782"/>
              <a:gd name="connsiteX742" fmla="*/ 4298128 w 25004707"/>
              <a:gd name="connsiteY742" fmla="*/ 2676113 h 10808782"/>
              <a:gd name="connsiteX743" fmla="*/ 2958782 w 25004707"/>
              <a:gd name="connsiteY743" fmla="*/ 2588330 h 10808782"/>
              <a:gd name="connsiteX744" fmla="*/ 4298128 w 25004707"/>
              <a:gd name="connsiteY744" fmla="*/ 2676113 h 10808782"/>
              <a:gd name="connsiteX745" fmla="*/ 3141329 w 25004707"/>
              <a:gd name="connsiteY745" fmla="*/ 653273 h 10808782"/>
              <a:gd name="connsiteX746" fmla="*/ 3109502 w 25004707"/>
              <a:gd name="connsiteY746" fmla="*/ 1137705 h 10808782"/>
              <a:gd name="connsiteX747" fmla="*/ 3109502 w 25004707"/>
              <a:gd name="connsiteY747" fmla="*/ 1137705 h 10808782"/>
              <a:gd name="connsiteX748" fmla="*/ 3063043 w 25004707"/>
              <a:gd name="connsiteY748" fmla="*/ 1609891 h 10808782"/>
              <a:gd name="connsiteX749" fmla="*/ 4402830 w 25004707"/>
              <a:gd name="connsiteY749" fmla="*/ 1082261 h 10808782"/>
              <a:gd name="connsiteX750" fmla="*/ 3109502 w 25004707"/>
              <a:gd name="connsiteY750" fmla="*/ 1137705 h 10808782"/>
              <a:gd name="connsiteX751" fmla="*/ 1825331 w 25004707"/>
              <a:gd name="connsiteY751" fmla="*/ 1053526 h 10808782"/>
              <a:gd name="connsiteX752" fmla="*/ 2938125 w 25004707"/>
              <a:gd name="connsiteY752" fmla="*/ 3089943 h 10808782"/>
              <a:gd name="connsiteX753" fmla="*/ 2934176 w 25004707"/>
              <a:gd name="connsiteY753" fmla="*/ 3571956 h 10808782"/>
              <a:gd name="connsiteX754" fmla="*/ 2934176 w 25004707"/>
              <a:gd name="connsiteY754" fmla="*/ 3571956 h 10808782"/>
              <a:gd name="connsiteX755" fmla="*/ 4193489 w 25004707"/>
              <a:gd name="connsiteY755" fmla="*/ 4269945 h 10808782"/>
              <a:gd name="connsiteX756" fmla="*/ 4229580 w 25004707"/>
              <a:gd name="connsiteY756" fmla="*/ 3720393 h 10808782"/>
              <a:gd name="connsiteX757" fmla="*/ 2854836 w 25004707"/>
              <a:gd name="connsiteY757" fmla="*/ 5015496 h 10808782"/>
              <a:gd name="connsiteX758" fmla="*/ 2823024 w 25004707"/>
              <a:gd name="connsiteY758" fmla="*/ 5499929 h 10808782"/>
              <a:gd name="connsiteX759" fmla="*/ 2854836 w 25004707"/>
              <a:gd name="connsiteY759" fmla="*/ 5015496 h 10808782"/>
              <a:gd name="connsiteX760" fmla="*/ 2886695 w 25004707"/>
              <a:gd name="connsiteY760" fmla="*/ 4530606 h 10808782"/>
              <a:gd name="connsiteX761" fmla="*/ 2854836 w 25004707"/>
              <a:gd name="connsiteY761" fmla="*/ 5015496 h 10808782"/>
              <a:gd name="connsiteX762" fmla="*/ 1570665 w 25004707"/>
              <a:gd name="connsiteY762" fmla="*/ 4931328 h 10808782"/>
              <a:gd name="connsiteX763" fmla="*/ 2823024 w 25004707"/>
              <a:gd name="connsiteY763" fmla="*/ 5499929 h 10808782"/>
              <a:gd name="connsiteX764" fmla="*/ 4107179 w 25004707"/>
              <a:gd name="connsiteY764" fmla="*/ 5584097 h 10808782"/>
              <a:gd name="connsiteX765" fmla="*/ 2823024 w 25004707"/>
              <a:gd name="connsiteY765" fmla="*/ 5499929 h 10808782"/>
              <a:gd name="connsiteX766" fmla="*/ 1538853 w 25004707"/>
              <a:gd name="connsiteY766" fmla="*/ 5415746 h 10808782"/>
              <a:gd name="connsiteX767" fmla="*/ 2663793 w 25004707"/>
              <a:gd name="connsiteY767" fmla="*/ 7923495 h 10808782"/>
              <a:gd name="connsiteX768" fmla="*/ 2695604 w 25004707"/>
              <a:gd name="connsiteY768" fmla="*/ 7439062 h 10808782"/>
              <a:gd name="connsiteX769" fmla="*/ 3979775 w 25004707"/>
              <a:gd name="connsiteY769" fmla="*/ 7523230 h 10808782"/>
              <a:gd name="connsiteX770" fmla="*/ 2663793 w 25004707"/>
              <a:gd name="connsiteY770" fmla="*/ 7923495 h 10808782"/>
              <a:gd name="connsiteX771" fmla="*/ 3947948 w 25004707"/>
              <a:gd name="connsiteY771" fmla="*/ 8007663 h 10808782"/>
              <a:gd name="connsiteX772" fmla="*/ 3979775 w 25004707"/>
              <a:gd name="connsiteY772" fmla="*/ 7523230 h 10808782"/>
              <a:gd name="connsiteX773" fmla="*/ 2568295 w 25004707"/>
              <a:gd name="connsiteY773" fmla="*/ 9377707 h 10808782"/>
              <a:gd name="connsiteX774" fmla="*/ 2600138 w 25004707"/>
              <a:gd name="connsiteY774" fmla="*/ 8892802 h 10808782"/>
              <a:gd name="connsiteX775" fmla="*/ 3884340 w 25004707"/>
              <a:gd name="connsiteY775" fmla="*/ 8976986 h 10808782"/>
              <a:gd name="connsiteX776" fmla="*/ 3916152 w 25004707"/>
              <a:gd name="connsiteY776" fmla="*/ 8492552 h 10808782"/>
              <a:gd name="connsiteX777" fmla="*/ 2568295 w 25004707"/>
              <a:gd name="connsiteY777" fmla="*/ 9377707 h 10808782"/>
              <a:gd name="connsiteX778" fmla="*/ 3852450 w 25004707"/>
              <a:gd name="connsiteY778" fmla="*/ 9461875 h 10808782"/>
              <a:gd name="connsiteX779" fmla="*/ 3884293 w 25004707"/>
              <a:gd name="connsiteY779" fmla="*/ 8976986 h 10808782"/>
              <a:gd name="connsiteX780" fmla="*/ 2822961 w 25004707"/>
              <a:gd name="connsiteY780" fmla="*/ 5499929 h 10808782"/>
              <a:gd name="connsiteX781" fmla="*/ 2791118 w 25004707"/>
              <a:gd name="connsiteY781" fmla="*/ 5984834 h 10808782"/>
              <a:gd name="connsiteX782" fmla="*/ 2791118 w 25004707"/>
              <a:gd name="connsiteY782" fmla="*/ 5984834 h 10808782"/>
              <a:gd name="connsiteX783" fmla="*/ 2759275 w 25004707"/>
              <a:gd name="connsiteY783" fmla="*/ 6469723 h 10808782"/>
              <a:gd name="connsiteX784" fmla="*/ 2791118 w 25004707"/>
              <a:gd name="connsiteY784" fmla="*/ 5984834 h 10808782"/>
              <a:gd name="connsiteX785" fmla="*/ 4075304 w 25004707"/>
              <a:gd name="connsiteY785" fmla="*/ 6069002 h 10808782"/>
              <a:gd name="connsiteX786" fmla="*/ 2759275 w 25004707"/>
              <a:gd name="connsiteY786" fmla="*/ 6469723 h 10808782"/>
              <a:gd name="connsiteX787" fmla="*/ 2727447 w 25004707"/>
              <a:gd name="connsiteY787" fmla="*/ 6954157 h 10808782"/>
              <a:gd name="connsiteX788" fmla="*/ 2759275 w 25004707"/>
              <a:gd name="connsiteY788" fmla="*/ 6469723 h 10808782"/>
              <a:gd name="connsiteX789" fmla="*/ 1475099 w 25004707"/>
              <a:gd name="connsiteY789" fmla="*/ 6385555 h 10808782"/>
              <a:gd name="connsiteX790" fmla="*/ 2759275 w 25004707"/>
              <a:gd name="connsiteY790" fmla="*/ 6469723 h 10808782"/>
              <a:gd name="connsiteX791" fmla="*/ 4043446 w 25004707"/>
              <a:gd name="connsiteY791" fmla="*/ 6553891 h 10808782"/>
              <a:gd name="connsiteX792" fmla="*/ 2727479 w 25004707"/>
              <a:gd name="connsiteY792" fmla="*/ 6954157 h 10808782"/>
              <a:gd name="connsiteX793" fmla="*/ 2695636 w 25004707"/>
              <a:gd name="connsiteY793" fmla="*/ 7439062 h 10808782"/>
              <a:gd name="connsiteX794" fmla="*/ 1411460 w 25004707"/>
              <a:gd name="connsiteY794" fmla="*/ 7354878 h 10808782"/>
              <a:gd name="connsiteX795" fmla="*/ 2727447 w 25004707"/>
              <a:gd name="connsiteY795" fmla="*/ 6954157 h 10808782"/>
              <a:gd name="connsiteX796" fmla="*/ 4011634 w 25004707"/>
              <a:gd name="connsiteY796" fmla="*/ 7038325 h 10808782"/>
              <a:gd name="connsiteX797" fmla="*/ 4298128 w 25004707"/>
              <a:gd name="connsiteY797" fmla="*/ 2676113 h 10808782"/>
              <a:gd name="connsiteX798" fmla="*/ 4366723 w 25004707"/>
              <a:gd name="connsiteY798" fmla="*/ 1631817 h 10808782"/>
              <a:gd name="connsiteX799" fmla="*/ 4043446 w 25004707"/>
              <a:gd name="connsiteY799" fmla="*/ 6553891 h 10808782"/>
              <a:gd name="connsiteX800" fmla="*/ 4011634 w 25004707"/>
              <a:gd name="connsiteY800" fmla="*/ 7038325 h 10808782"/>
              <a:gd name="connsiteX801" fmla="*/ 4043446 w 25004707"/>
              <a:gd name="connsiteY801" fmla="*/ 6553891 h 10808782"/>
              <a:gd name="connsiteX802" fmla="*/ 4075304 w 25004707"/>
              <a:gd name="connsiteY802" fmla="*/ 6069002 h 10808782"/>
              <a:gd name="connsiteX803" fmla="*/ 4011634 w 25004707"/>
              <a:gd name="connsiteY803" fmla="*/ 7038325 h 10808782"/>
              <a:gd name="connsiteX804" fmla="*/ 3979775 w 25004707"/>
              <a:gd name="connsiteY804" fmla="*/ 7523230 h 10808782"/>
              <a:gd name="connsiteX805" fmla="*/ 4457312 w 25004707"/>
              <a:gd name="connsiteY805" fmla="*/ 252523 h 10808782"/>
              <a:gd name="connsiteX806" fmla="*/ 4441500 w 25004707"/>
              <a:gd name="connsiteY806" fmla="*/ 493335 h 10808782"/>
              <a:gd name="connsiteX807" fmla="*/ 4441500 w 25004707"/>
              <a:gd name="connsiteY807" fmla="*/ 493335 h 10808782"/>
              <a:gd name="connsiteX808" fmla="*/ 3341890 w 25004707"/>
              <a:gd name="connsiteY808" fmla="*/ 666397 h 10808782"/>
              <a:gd name="connsiteX809" fmla="*/ 3141314 w 25004707"/>
              <a:gd name="connsiteY809" fmla="*/ 653248 h 10808782"/>
              <a:gd name="connsiteX810" fmla="*/ 4193505 w 25004707"/>
              <a:gd name="connsiteY810" fmla="*/ 4269945 h 10808782"/>
              <a:gd name="connsiteX811" fmla="*/ 4171904 w 25004707"/>
              <a:gd name="connsiteY811" fmla="*/ 4598837 h 10808782"/>
              <a:gd name="connsiteX812" fmla="*/ 4402830 w 25004707"/>
              <a:gd name="connsiteY812" fmla="*/ 1082261 h 10808782"/>
              <a:gd name="connsiteX813" fmla="*/ 4424415 w 25004707"/>
              <a:gd name="connsiteY813" fmla="*/ 753372 h 10808782"/>
              <a:gd name="connsiteX814" fmla="*/ 3289752 w 25004707"/>
              <a:gd name="connsiteY814" fmla="*/ 1119395 h 10808782"/>
              <a:gd name="connsiteX815" fmla="*/ 3109439 w 25004707"/>
              <a:gd name="connsiteY815" fmla="*/ 1138162 h 10808782"/>
              <a:gd name="connsiteX816" fmla="*/ 4366723 w 25004707"/>
              <a:gd name="connsiteY816" fmla="*/ 1631817 h 10808782"/>
              <a:gd name="connsiteX817" fmla="*/ 3003872 w 25004707"/>
              <a:gd name="connsiteY817" fmla="*/ 2088273 h 10808782"/>
              <a:gd name="connsiteX818" fmla="*/ 4402766 w 25004707"/>
              <a:gd name="connsiteY818" fmla="*/ 1082272 h 10808782"/>
              <a:gd name="connsiteX819" fmla="*/ 4366676 w 25004707"/>
              <a:gd name="connsiteY819" fmla="*/ 1631817 h 10808782"/>
              <a:gd name="connsiteX820" fmla="*/ 4107148 w 25004707"/>
              <a:gd name="connsiteY820" fmla="*/ 5584097 h 10808782"/>
              <a:gd name="connsiteX821" fmla="*/ 4075304 w 25004707"/>
              <a:gd name="connsiteY821" fmla="*/ 6069002 h 10808782"/>
              <a:gd name="connsiteX822" fmla="*/ 4136254 w 25004707"/>
              <a:gd name="connsiteY822" fmla="*/ 5141363 h 10808782"/>
              <a:gd name="connsiteX823" fmla="*/ 4107179 w 25004707"/>
              <a:gd name="connsiteY823" fmla="*/ 5584097 h 10808782"/>
              <a:gd name="connsiteX824" fmla="*/ 4136254 w 25004707"/>
              <a:gd name="connsiteY824" fmla="*/ 5141363 h 10808782"/>
              <a:gd name="connsiteX825" fmla="*/ 4154818 w 25004707"/>
              <a:gd name="connsiteY825" fmla="*/ 4858838 h 10808782"/>
              <a:gd name="connsiteX826" fmla="*/ 4136254 w 25004707"/>
              <a:gd name="connsiteY826" fmla="*/ 5141363 h 10808782"/>
              <a:gd name="connsiteX827" fmla="*/ 4901023 w 25004707"/>
              <a:gd name="connsiteY827" fmla="*/ 5149598 h 10808782"/>
              <a:gd name="connsiteX828" fmla="*/ 5423193 w 25004707"/>
              <a:gd name="connsiteY828" fmla="*/ 5183816 h 10808782"/>
              <a:gd name="connsiteX829" fmla="*/ 4136254 w 25004707"/>
              <a:gd name="connsiteY829" fmla="*/ 5141363 h 10808782"/>
              <a:gd name="connsiteX830" fmla="*/ 3509586 w 25004707"/>
              <a:gd name="connsiteY830" fmla="*/ 5059317 h 10808782"/>
              <a:gd name="connsiteX831" fmla="*/ 2854836 w 25004707"/>
              <a:gd name="connsiteY831" fmla="*/ 5015464 h 10808782"/>
              <a:gd name="connsiteX832" fmla="*/ 3948026 w 25004707"/>
              <a:gd name="connsiteY832" fmla="*/ 8007663 h 10808782"/>
              <a:gd name="connsiteX833" fmla="*/ 3916184 w 25004707"/>
              <a:gd name="connsiteY833" fmla="*/ 8492568 h 10808782"/>
              <a:gd name="connsiteX834" fmla="*/ 3916184 w 25004707"/>
              <a:gd name="connsiteY834" fmla="*/ 8492568 h 10808782"/>
              <a:gd name="connsiteX835" fmla="*/ 2632012 w 25004707"/>
              <a:gd name="connsiteY835" fmla="*/ 8408369 h 10808782"/>
              <a:gd name="connsiteX836" fmla="*/ 2600201 w 25004707"/>
              <a:gd name="connsiteY836" fmla="*/ 8892802 h 10808782"/>
              <a:gd name="connsiteX837" fmla="*/ 1316024 w 25004707"/>
              <a:gd name="connsiteY837" fmla="*/ 8808634 h 10808782"/>
              <a:gd name="connsiteX838" fmla="*/ 4154818 w 25004707"/>
              <a:gd name="connsiteY838" fmla="*/ 4858838 h 10808782"/>
              <a:gd name="connsiteX839" fmla="*/ 4171888 w 25004707"/>
              <a:gd name="connsiteY839" fmla="*/ 4598837 h 10808782"/>
              <a:gd name="connsiteX840" fmla="*/ 4441469 w 25004707"/>
              <a:gd name="connsiteY840" fmla="*/ 493350 h 10808782"/>
              <a:gd name="connsiteX841" fmla="*/ 4424383 w 25004707"/>
              <a:gd name="connsiteY841" fmla="*/ 753369 h 10808782"/>
              <a:gd name="connsiteX842" fmla="*/ 4171888 w 25004707"/>
              <a:gd name="connsiteY842" fmla="*/ 4598837 h 10808782"/>
              <a:gd name="connsiteX843" fmla="*/ 5486817 w 25004707"/>
              <a:gd name="connsiteY843" fmla="*/ 4214493 h 10808782"/>
              <a:gd name="connsiteX844" fmla="*/ 4171888 w 25004707"/>
              <a:gd name="connsiteY844" fmla="*/ 4598837 h 10808782"/>
              <a:gd name="connsiteX845" fmla="*/ 2918475 w 25004707"/>
              <a:gd name="connsiteY845" fmla="*/ 4046141 h 10808782"/>
              <a:gd name="connsiteX846" fmla="*/ 6516337 w 25004707"/>
              <a:gd name="connsiteY846" fmla="*/ 8176030 h 10808782"/>
              <a:gd name="connsiteX847" fmla="*/ 6484494 w 25004707"/>
              <a:gd name="connsiteY847" fmla="*/ 8660920 h 10808782"/>
              <a:gd name="connsiteX848" fmla="*/ 5200323 w 25004707"/>
              <a:gd name="connsiteY848" fmla="*/ 8576751 h 10808782"/>
              <a:gd name="connsiteX849" fmla="*/ 6516337 w 25004707"/>
              <a:gd name="connsiteY849" fmla="*/ 8176030 h 10808782"/>
              <a:gd name="connsiteX850" fmla="*/ 6548180 w 25004707"/>
              <a:gd name="connsiteY850" fmla="*/ 7691597 h 10808782"/>
              <a:gd name="connsiteX851" fmla="*/ 7832335 w 25004707"/>
              <a:gd name="connsiteY851" fmla="*/ 7775781 h 10808782"/>
              <a:gd name="connsiteX852" fmla="*/ 6516337 w 25004707"/>
              <a:gd name="connsiteY852" fmla="*/ 8176030 h 10808782"/>
              <a:gd name="connsiteX853" fmla="*/ 5232182 w 25004707"/>
              <a:gd name="connsiteY853" fmla="*/ 8091847 h 10808782"/>
              <a:gd name="connsiteX854" fmla="*/ 6516337 w 25004707"/>
              <a:gd name="connsiteY854" fmla="*/ 8176030 h 10808782"/>
              <a:gd name="connsiteX855" fmla="*/ 7800540 w 25004707"/>
              <a:gd name="connsiteY855" fmla="*/ 8260199 h 10808782"/>
              <a:gd name="connsiteX856" fmla="*/ 6484447 w 25004707"/>
              <a:gd name="connsiteY856" fmla="*/ 8660904 h 10808782"/>
              <a:gd name="connsiteX857" fmla="*/ 6452635 w 25004707"/>
              <a:gd name="connsiteY857" fmla="*/ 9145338 h 10808782"/>
              <a:gd name="connsiteX858" fmla="*/ 5168449 w 25004707"/>
              <a:gd name="connsiteY858" fmla="*/ 9061154 h 10808782"/>
              <a:gd name="connsiteX859" fmla="*/ 6707364 w 25004707"/>
              <a:gd name="connsiteY859" fmla="*/ 5268031 h 10808782"/>
              <a:gd name="connsiteX860" fmla="*/ 6675537 w 25004707"/>
              <a:gd name="connsiteY860" fmla="*/ 5752465 h 10808782"/>
              <a:gd name="connsiteX861" fmla="*/ 6675537 w 25004707"/>
              <a:gd name="connsiteY861" fmla="*/ 5752465 h 10808782"/>
              <a:gd name="connsiteX862" fmla="*/ 6643678 w 25004707"/>
              <a:gd name="connsiteY862" fmla="*/ 6237369 h 10808782"/>
              <a:gd name="connsiteX863" fmla="*/ 6675537 w 25004707"/>
              <a:gd name="connsiteY863" fmla="*/ 5752465 h 10808782"/>
              <a:gd name="connsiteX864" fmla="*/ 7959724 w 25004707"/>
              <a:gd name="connsiteY864" fmla="*/ 5836648 h 10808782"/>
              <a:gd name="connsiteX865" fmla="*/ 6675537 w 25004707"/>
              <a:gd name="connsiteY865" fmla="*/ 5752465 h 10808782"/>
              <a:gd name="connsiteX866" fmla="*/ 5391366 w 25004707"/>
              <a:gd name="connsiteY866" fmla="*/ 5668297 h 10808782"/>
              <a:gd name="connsiteX867" fmla="*/ 6739145 w 25004707"/>
              <a:gd name="connsiteY867" fmla="*/ 4783126 h 10808782"/>
              <a:gd name="connsiteX868" fmla="*/ 6707301 w 25004707"/>
              <a:gd name="connsiteY868" fmla="*/ 5268031 h 10808782"/>
              <a:gd name="connsiteX869" fmla="*/ 5423115 w 25004707"/>
              <a:gd name="connsiteY869" fmla="*/ 5183847 h 10808782"/>
              <a:gd name="connsiteX870" fmla="*/ 6771003 w 25004707"/>
              <a:gd name="connsiteY870" fmla="*/ 4298708 h 10808782"/>
              <a:gd name="connsiteX871" fmla="*/ 6802846 w 25004707"/>
              <a:gd name="connsiteY871" fmla="*/ 3813819 h 10808782"/>
              <a:gd name="connsiteX872" fmla="*/ 8087017 w 25004707"/>
              <a:gd name="connsiteY872" fmla="*/ 3897971 h 10808782"/>
              <a:gd name="connsiteX873" fmla="*/ 8118845 w 25004707"/>
              <a:gd name="connsiteY873" fmla="*/ 3413538 h 10808782"/>
              <a:gd name="connsiteX874" fmla="*/ 6771003 w 25004707"/>
              <a:gd name="connsiteY874" fmla="*/ 4298708 h 10808782"/>
              <a:gd name="connsiteX875" fmla="*/ 6739176 w 25004707"/>
              <a:gd name="connsiteY875" fmla="*/ 4783142 h 10808782"/>
              <a:gd name="connsiteX876" fmla="*/ 6962031 w 25004707"/>
              <a:gd name="connsiteY876" fmla="*/ 1390234 h 10808782"/>
              <a:gd name="connsiteX877" fmla="*/ 6930187 w 25004707"/>
              <a:gd name="connsiteY877" fmla="*/ 1875142 h 10808782"/>
              <a:gd name="connsiteX878" fmla="*/ 6962031 w 25004707"/>
              <a:gd name="connsiteY878" fmla="*/ 1390234 h 10808782"/>
              <a:gd name="connsiteX879" fmla="*/ 6993842 w 25004707"/>
              <a:gd name="connsiteY879" fmla="*/ 905794 h 10808782"/>
              <a:gd name="connsiteX880" fmla="*/ 6962031 w 25004707"/>
              <a:gd name="connsiteY880" fmla="*/ 1390234 h 10808782"/>
              <a:gd name="connsiteX881" fmla="*/ 5677875 w 25004707"/>
              <a:gd name="connsiteY881" fmla="*/ 1306052 h 10808782"/>
              <a:gd name="connsiteX882" fmla="*/ 6962031 w 25004707"/>
              <a:gd name="connsiteY882" fmla="*/ 1390234 h 10808782"/>
              <a:gd name="connsiteX883" fmla="*/ 8246217 w 25004707"/>
              <a:gd name="connsiteY883" fmla="*/ 1474414 h 10808782"/>
              <a:gd name="connsiteX884" fmla="*/ 6930187 w 25004707"/>
              <a:gd name="connsiteY884" fmla="*/ 1875142 h 10808782"/>
              <a:gd name="connsiteX885" fmla="*/ 8214374 w 25004707"/>
              <a:gd name="connsiteY885" fmla="*/ 1959310 h 10808782"/>
              <a:gd name="connsiteX886" fmla="*/ 8246217 w 25004707"/>
              <a:gd name="connsiteY886" fmla="*/ 1474414 h 10808782"/>
              <a:gd name="connsiteX887" fmla="*/ 7025685 w 25004707"/>
              <a:gd name="connsiteY887" fmla="*/ 420894 h 10808782"/>
              <a:gd name="connsiteX888" fmla="*/ 6993842 w 25004707"/>
              <a:gd name="connsiteY888" fmla="*/ 905794 h 10808782"/>
              <a:gd name="connsiteX889" fmla="*/ 6993842 w 25004707"/>
              <a:gd name="connsiteY889" fmla="*/ 905794 h 10808782"/>
              <a:gd name="connsiteX890" fmla="*/ 5709671 w 25004707"/>
              <a:gd name="connsiteY890" fmla="*/ 821615 h 10808782"/>
              <a:gd name="connsiteX891" fmla="*/ 6993842 w 25004707"/>
              <a:gd name="connsiteY891" fmla="*/ 905794 h 10808782"/>
              <a:gd name="connsiteX892" fmla="*/ 8278013 w 25004707"/>
              <a:gd name="connsiteY892" fmla="*/ 989967 h 10808782"/>
              <a:gd name="connsiteX893" fmla="*/ 8309856 w 25004707"/>
              <a:gd name="connsiteY893" fmla="*/ 505066 h 10808782"/>
              <a:gd name="connsiteX894" fmla="*/ 6739176 w 25004707"/>
              <a:gd name="connsiteY894" fmla="*/ 4783142 h 10808782"/>
              <a:gd name="connsiteX895" fmla="*/ 8023347 w 25004707"/>
              <a:gd name="connsiteY895" fmla="*/ 4867310 h 10808782"/>
              <a:gd name="connsiteX896" fmla="*/ 6611819 w 25004707"/>
              <a:gd name="connsiteY896" fmla="*/ 6722259 h 10808782"/>
              <a:gd name="connsiteX897" fmla="*/ 6579992 w 25004707"/>
              <a:gd name="connsiteY897" fmla="*/ 7206692 h 10808782"/>
              <a:gd name="connsiteX898" fmla="*/ 6611819 w 25004707"/>
              <a:gd name="connsiteY898" fmla="*/ 6722259 h 10808782"/>
              <a:gd name="connsiteX899" fmla="*/ 6643647 w 25004707"/>
              <a:gd name="connsiteY899" fmla="*/ 6237369 h 10808782"/>
              <a:gd name="connsiteX900" fmla="*/ 6611819 w 25004707"/>
              <a:gd name="connsiteY900" fmla="*/ 6722259 h 10808782"/>
              <a:gd name="connsiteX901" fmla="*/ 7895990 w 25004707"/>
              <a:gd name="connsiteY901" fmla="*/ 6806442 h 10808782"/>
              <a:gd name="connsiteX902" fmla="*/ 6579992 w 25004707"/>
              <a:gd name="connsiteY902" fmla="*/ 7206692 h 10808782"/>
              <a:gd name="connsiteX903" fmla="*/ 6548133 w 25004707"/>
              <a:gd name="connsiteY903" fmla="*/ 7691613 h 10808782"/>
              <a:gd name="connsiteX904" fmla="*/ 5263978 w 25004707"/>
              <a:gd name="connsiteY904" fmla="*/ 7607414 h 10808782"/>
              <a:gd name="connsiteX905" fmla="*/ 5232150 w 25004707"/>
              <a:gd name="connsiteY905" fmla="*/ 8091847 h 10808782"/>
              <a:gd name="connsiteX906" fmla="*/ 3947979 w 25004707"/>
              <a:gd name="connsiteY906" fmla="*/ 8007663 h 10808782"/>
              <a:gd name="connsiteX907" fmla="*/ 6643678 w 25004707"/>
              <a:gd name="connsiteY907" fmla="*/ 6237369 h 10808782"/>
              <a:gd name="connsiteX908" fmla="*/ 7927849 w 25004707"/>
              <a:gd name="connsiteY908" fmla="*/ 6321553 h 10808782"/>
              <a:gd name="connsiteX909" fmla="*/ 6898344 w 25004707"/>
              <a:gd name="connsiteY909" fmla="*/ 2360031 h 10808782"/>
              <a:gd name="connsiteX910" fmla="*/ 6866517 w 25004707"/>
              <a:gd name="connsiteY910" fmla="*/ 2844465 h 10808782"/>
              <a:gd name="connsiteX911" fmla="*/ 6866517 w 25004707"/>
              <a:gd name="connsiteY911" fmla="*/ 2844465 h 10808782"/>
              <a:gd name="connsiteX912" fmla="*/ 8150688 w 25004707"/>
              <a:gd name="connsiteY912" fmla="*/ 2928648 h 10808782"/>
              <a:gd name="connsiteX913" fmla="*/ 6866517 w 25004707"/>
              <a:gd name="connsiteY913" fmla="*/ 2844465 h 10808782"/>
              <a:gd name="connsiteX914" fmla="*/ 6802862 w 25004707"/>
              <a:gd name="connsiteY914" fmla="*/ 3813787 h 10808782"/>
              <a:gd name="connsiteX915" fmla="*/ 7832335 w 25004707"/>
              <a:gd name="connsiteY915" fmla="*/ 7775781 h 10808782"/>
              <a:gd name="connsiteX916" fmla="*/ 7864178 w 25004707"/>
              <a:gd name="connsiteY916" fmla="*/ 7290876 h 10808782"/>
              <a:gd name="connsiteX917" fmla="*/ 7832335 w 25004707"/>
              <a:gd name="connsiteY917" fmla="*/ 7775781 h 10808782"/>
              <a:gd name="connsiteX918" fmla="*/ 7800540 w 25004707"/>
              <a:gd name="connsiteY918" fmla="*/ 8260199 h 10808782"/>
              <a:gd name="connsiteX919" fmla="*/ 7832335 w 25004707"/>
              <a:gd name="connsiteY919" fmla="*/ 7775781 h 10808782"/>
              <a:gd name="connsiteX920" fmla="*/ 9116522 w 25004707"/>
              <a:gd name="connsiteY920" fmla="*/ 7859965 h 10808782"/>
              <a:gd name="connsiteX921" fmla="*/ 7864178 w 25004707"/>
              <a:gd name="connsiteY921" fmla="*/ 7290876 h 10808782"/>
              <a:gd name="connsiteX922" fmla="*/ 7895990 w 25004707"/>
              <a:gd name="connsiteY922" fmla="*/ 6806442 h 10808782"/>
              <a:gd name="connsiteX923" fmla="*/ 7864178 w 25004707"/>
              <a:gd name="connsiteY923" fmla="*/ 7290876 h 10808782"/>
              <a:gd name="connsiteX924" fmla="*/ 6580023 w 25004707"/>
              <a:gd name="connsiteY924" fmla="*/ 7206692 h 10808782"/>
              <a:gd name="connsiteX925" fmla="*/ 7864178 w 25004707"/>
              <a:gd name="connsiteY925" fmla="*/ 7290876 h 10808782"/>
              <a:gd name="connsiteX926" fmla="*/ 9148365 w 25004707"/>
              <a:gd name="connsiteY926" fmla="*/ 7375028 h 10808782"/>
              <a:gd name="connsiteX927" fmla="*/ 9180177 w 25004707"/>
              <a:gd name="connsiteY927" fmla="*/ 6890626 h 10808782"/>
              <a:gd name="connsiteX928" fmla="*/ 8023347 w 25004707"/>
              <a:gd name="connsiteY928" fmla="*/ 4867310 h 10808782"/>
              <a:gd name="connsiteX929" fmla="*/ 7991504 w 25004707"/>
              <a:gd name="connsiteY929" fmla="*/ 5352199 h 10808782"/>
              <a:gd name="connsiteX930" fmla="*/ 6707317 w 25004707"/>
              <a:gd name="connsiteY930" fmla="*/ 5268031 h 10808782"/>
              <a:gd name="connsiteX931" fmla="*/ 8023347 w 25004707"/>
              <a:gd name="connsiteY931" fmla="*/ 4867310 h 10808782"/>
              <a:gd name="connsiteX932" fmla="*/ 8055159 w 25004707"/>
              <a:gd name="connsiteY932" fmla="*/ 4382892 h 10808782"/>
              <a:gd name="connsiteX933" fmla="*/ 8023347 w 25004707"/>
              <a:gd name="connsiteY933" fmla="*/ 4867310 h 10808782"/>
              <a:gd name="connsiteX934" fmla="*/ 9307518 w 25004707"/>
              <a:gd name="connsiteY934" fmla="*/ 4951493 h 10808782"/>
              <a:gd name="connsiteX935" fmla="*/ 9339345 w 25004707"/>
              <a:gd name="connsiteY935" fmla="*/ 4467060 h 10808782"/>
              <a:gd name="connsiteX936" fmla="*/ 8150735 w 25004707"/>
              <a:gd name="connsiteY936" fmla="*/ 2928633 h 10808782"/>
              <a:gd name="connsiteX937" fmla="*/ 8118892 w 25004707"/>
              <a:gd name="connsiteY937" fmla="*/ 3413522 h 10808782"/>
              <a:gd name="connsiteX938" fmla="*/ 8118892 w 25004707"/>
              <a:gd name="connsiteY938" fmla="*/ 3413522 h 10808782"/>
              <a:gd name="connsiteX939" fmla="*/ 6834705 w 25004707"/>
              <a:gd name="connsiteY939" fmla="*/ 3329354 h 10808782"/>
              <a:gd name="connsiteX940" fmla="*/ 8118892 w 25004707"/>
              <a:gd name="connsiteY940" fmla="*/ 3413522 h 10808782"/>
              <a:gd name="connsiteX941" fmla="*/ 9403063 w 25004707"/>
              <a:gd name="connsiteY941" fmla="*/ 3497721 h 10808782"/>
              <a:gd name="connsiteX942" fmla="*/ 7927849 w 25004707"/>
              <a:gd name="connsiteY942" fmla="*/ 6321553 h 10808782"/>
              <a:gd name="connsiteX943" fmla="*/ 7895990 w 25004707"/>
              <a:gd name="connsiteY943" fmla="*/ 6806442 h 10808782"/>
              <a:gd name="connsiteX944" fmla="*/ 7927849 w 25004707"/>
              <a:gd name="connsiteY944" fmla="*/ 6321553 h 10808782"/>
              <a:gd name="connsiteX945" fmla="*/ 7959692 w 25004707"/>
              <a:gd name="connsiteY945" fmla="*/ 5836632 h 10808782"/>
              <a:gd name="connsiteX946" fmla="*/ 7895990 w 25004707"/>
              <a:gd name="connsiteY946" fmla="*/ 6806442 h 10808782"/>
              <a:gd name="connsiteX947" fmla="*/ 9180177 w 25004707"/>
              <a:gd name="connsiteY947" fmla="*/ 6890626 h 10808782"/>
              <a:gd name="connsiteX948" fmla="*/ 7736885 w 25004707"/>
              <a:gd name="connsiteY948" fmla="*/ 9229521 h 10808782"/>
              <a:gd name="connsiteX949" fmla="*/ 7705010 w 25004707"/>
              <a:gd name="connsiteY949" fmla="*/ 9714426 h 10808782"/>
              <a:gd name="connsiteX950" fmla="*/ 7736885 w 25004707"/>
              <a:gd name="connsiteY950" fmla="*/ 9229521 h 10808782"/>
              <a:gd name="connsiteX951" fmla="*/ 9021040 w 25004707"/>
              <a:gd name="connsiteY951" fmla="*/ 9313690 h 10808782"/>
              <a:gd name="connsiteX952" fmla="*/ 7736885 w 25004707"/>
              <a:gd name="connsiteY952" fmla="*/ 9229521 h 10808782"/>
              <a:gd name="connsiteX953" fmla="*/ 7800540 w 25004707"/>
              <a:gd name="connsiteY953" fmla="*/ 8260199 h 10808782"/>
              <a:gd name="connsiteX954" fmla="*/ 8087049 w 25004707"/>
              <a:gd name="connsiteY954" fmla="*/ 3897987 h 10808782"/>
              <a:gd name="connsiteX955" fmla="*/ 8055206 w 25004707"/>
              <a:gd name="connsiteY955" fmla="*/ 4382892 h 10808782"/>
              <a:gd name="connsiteX956" fmla="*/ 8055206 w 25004707"/>
              <a:gd name="connsiteY956" fmla="*/ 4382892 h 10808782"/>
              <a:gd name="connsiteX957" fmla="*/ 6771019 w 25004707"/>
              <a:gd name="connsiteY957" fmla="*/ 4298708 h 10808782"/>
              <a:gd name="connsiteX958" fmla="*/ 8055206 w 25004707"/>
              <a:gd name="connsiteY958" fmla="*/ 4382892 h 10808782"/>
              <a:gd name="connsiteX959" fmla="*/ 9339392 w 25004707"/>
              <a:gd name="connsiteY959" fmla="*/ 4467060 h 10808782"/>
              <a:gd name="connsiteX960" fmla="*/ 7959724 w 25004707"/>
              <a:gd name="connsiteY960" fmla="*/ 5836648 h 10808782"/>
              <a:gd name="connsiteX961" fmla="*/ 7991535 w 25004707"/>
              <a:gd name="connsiteY961" fmla="*/ 5352214 h 10808782"/>
              <a:gd name="connsiteX962" fmla="*/ 9275706 w 25004707"/>
              <a:gd name="connsiteY962" fmla="*/ 5436398 h 10808782"/>
              <a:gd name="connsiteX963" fmla="*/ 7959724 w 25004707"/>
              <a:gd name="connsiteY963" fmla="*/ 5836648 h 10808782"/>
              <a:gd name="connsiteX964" fmla="*/ 9243879 w 25004707"/>
              <a:gd name="connsiteY964" fmla="*/ 5920832 h 10808782"/>
              <a:gd name="connsiteX965" fmla="*/ 7705010 w 25004707"/>
              <a:gd name="connsiteY965" fmla="*/ 9714426 h 10808782"/>
              <a:gd name="connsiteX966" fmla="*/ 6420839 w 25004707"/>
              <a:gd name="connsiteY966" fmla="*/ 9630242 h 10808782"/>
              <a:gd name="connsiteX967" fmla="*/ 7705010 w 25004707"/>
              <a:gd name="connsiteY967" fmla="*/ 9714426 h 10808782"/>
              <a:gd name="connsiteX968" fmla="*/ 8989196 w 25004707"/>
              <a:gd name="connsiteY968" fmla="*/ 9798594 h 10808782"/>
              <a:gd name="connsiteX969" fmla="*/ 9021040 w 25004707"/>
              <a:gd name="connsiteY969" fmla="*/ 9313690 h 10808782"/>
              <a:gd name="connsiteX970" fmla="*/ 8246217 w 25004707"/>
              <a:gd name="connsiteY970" fmla="*/ 1474414 h 10808782"/>
              <a:gd name="connsiteX971" fmla="*/ 8278029 w 25004707"/>
              <a:gd name="connsiteY971" fmla="*/ 989981 h 10808782"/>
              <a:gd name="connsiteX972" fmla="*/ 9562184 w 25004707"/>
              <a:gd name="connsiteY972" fmla="*/ 1074155 h 10808782"/>
              <a:gd name="connsiteX973" fmla="*/ 7800540 w 25004707"/>
              <a:gd name="connsiteY973" fmla="*/ 8260199 h 10808782"/>
              <a:gd name="connsiteX974" fmla="*/ 9084726 w 25004707"/>
              <a:gd name="connsiteY974" fmla="*/ 8344382 h 10808782"/>
              <a:gd name="connsiteX975" fmla="*/ 8182500 w 25004707"/>
              <a:gd name="connsiteY975" fmla="*/ 2444199 h 10808782"/>
              <a:gd name="connsiteX976" fmla="*/ 8214343 w 25004707"/>
              <a:gd name="connsiteY976" fmla="*/ 1959294 h 10808782"/>
              <a:gd name="connsiteX977" fmla="*/ 9498529 w 25004707"/>
              <a:gd name="connsiteY977" fmla="*/ 2043493 h 10808782"/>
              <a:gd name="connsiteX978" fmla="*/ 8182500 w 25004707"/>
              <a:gd name="connsiteY978" fmla="*/ 2444199 h 10808782"/>
              <a:gd name="connsiteX979" fmla="*/ 8150688 w 25004707"/>
              <a:gd name="connsiteY979" fmla="*/ 2928648 h 10808782"/>
              <a:gd name="connsiteX980" fmla="*/ 8182500 w 25004707"/>
              <a:gd name="connsiteY980" fmla="*/ 2444199 h 10808782"/>
              <a:gd name="connsiteX981" fmla="*/ 9466686 w 25004707"/>
              <a:gd name="connsiteY981" fmla="*/ 2528399 h 10808782"/>
              <a:gd name="connsiteX982" fmla="*/ 8182500 w 25004707"/>
              <a:gd name="connsiteY982" fmla="*/ 2444199 h 10808782"/>
              <a:gd name="connsiteX983" fmla="*/ 6898329 w 25004707"/>
              <a:gd name="connsiteY983" fmla="*/ 2360015 h 10808782"/>
              <a:gd name="connsiteX984" fmla="*/ 8150688 w 25004707"/>
              <a:gd name="connsiteY984" fmla="*/ 2928648 h 10808782"/>
              <a:gd name="connsiteX985" fmla="*/ 9434859 w 25004707"/>
              <a:gd name="connsiteY985" fmla="*/ 3012832 h 10808782"/>
              <a:gd name="connsiteX986" fmla="*/ 9275706 w 25004707"/>
              <a:gd name="connsiteY986" fmla="*/ 5436398 h 10808782"/>
              <a:gd name="connsiteX987" fmla="*/ 9243879 w 25004707"/>
              <a:gd name="connsiteY987" fmla="*/ 5920832 h 10808782"/>
              <a:gd name="connsiteX988" fmla="*/ 9243879 w 25004707"/>
              <a:gd name="connsiteY988" fmla="*/ 5920832 h 10808782"/>
              <a:gd name="connsiteX989" fmla="*/ 9212035 w 25004707"/>
              <a:gd name="connsiteY989" fmla="*/ 6405721 h 10808782"/>
              <a:gd name="connsiteX990" fmla="*/ 9212035 w 25004707"/>
              <a:gd name="connsiteY990" fmla="*/ 6405721 h 10808782"/>
              <a:gd name="connsiteX991" fmla="*/ 9180177 w 25004707"/>
              <a:gd name="connsiteY991" fmla="*/ 6890626 h 10808782"/>
              <a:gd name="connsiteX992" fmla="*/ 9212035 w 25004707"/>
              <a:gd name="connsiteY992" fmla="*/ 6405721 h 10808782"/>
              <a:gd name="connsiteX993" fmla="*/ 7927865 w 25004707"/>
              <a:gd name="connsiteY993" fmla="*/ 6321538 h 10808782"/>
              <a:gd name="connsiteX994" fmla="*/ 9371235 w 25004707"/>
              <a:gd name="connsiteY994" fmla="*/ 3982171 h 10808782"/>
              <a:gd name="connsiteX995" fmla="*/ 9339392 w 25004707"/>
              <a:gd name="connsiteY995" fmla="*/ 4467060 h 10808782"/>
              <a:gd name="connsiteX996" fmla="*/ 9562184 w 25004707"/>
              <a:gd name="connsiteY996" fmla="*/ 1074155 h 10808782"/>
              <a:gd name="connsiteX997" fmla="*/ 9530372 w 25004707"/>
              <a:gd name="connsiteY997" fmla="*/ 1558589 h 10808782"/>
              <a:gd name="connsiteX998" fmla="*/ 9562184 w 25004707"/>
              <a:gd name="connsiteY998" fmla="*/ 1074155 h 10808782"/>
              <a:gd name="connsiteX999" fmla="*/ 9594027 w 25004707"/>
              <a:gd name="connsiteY999" fmla="*/ 589247 h 10808782"/>
              <a:gd name="connsiteX1000" fmla="*/ 9530372 w 25004707"/>
              <a:gd name="connsiteY1000" fmla="*/ 1558589 h 10808782"/>
              <a:gd name="connsiteX1001" fmla="*/ 9498529 w 25004707"/>
              <a:gd name="connsiteY1001" fmla="*/ 2043493 h 10808782"/>
              <a:gd name="connsiteX1002" fmla="*/ 9530372 w 25004707"/>
              <a:gd name="connsiteY1002" fmla="*/ 1558589 h 10808782"/>
              <a:gd name="connsiteX1003" fmla="*/ 8246186 w 25004707"/>
              <a:gd name="connsiteY1003" fmla="*/ 1474408 h 10808782"/>
              <a:gd name="connsiteX1004" fmla="*/ 9116522 w 25004707"/>
              <a:gd name="connsiteY1004" fmla="*/ 7859965 h 10808782"/>
              <a:gd name="connsiteX1005" fmla="*/ 9084726 w 25004707"/>
              <a:gd name="connsiteY1005" fmla="*/ 8344382 h 10808782"/>
              <a:gd name="connsiteX1006" fmla="*/ 9403063 w 25004707"/>
              <a:gd name="connsiteY1006" fmla="*/ 3497721 h 10808782"/>
              <a:gd name="connsiteX1007" fmla="*/ 9371251 w 25004707"/>
              <a:gd name="connsiteY1007" fmla="*/ 3982155 h 10808782"/>
              <a:gd name="connsiteX1008" fmla="*/ 9403063 w 25004707"/>
              <a:gd name="connsiteY1008" fmla="*/ 3497721 h 10808782"/>
              <a:gd name="connsiteX1009" fmla="*/ 9434921 w 25004707"/>
              <a:gd name="connsiteY1009" fmla="*/ 3012801 h 10808782"/>
              <a:gd name="connsiteX1010" fmla="*/ 9371251 w 25004707"/>
              <a:gd name="connsiteY1010" fmla="*/ 3982155 h 10808782"/>
              <a:gd name="connsiteX1011" fmla="*/ 8087081 w 25004707"/>
              <a:gd name="connsiteY1011" fmla="*/ 3897971 h 10808782"/>
              <a:gd name="connsiteX1012" fmla="*/ 9498529 w 25004707"/>
              <a:gd name="connsiteY1012" fmla="*/ 2043493 h 10808782"/>
              <a:gd name="connsiteX1013" fmla="*/ 9466686 w 25004707"/>
              <a:gd name="connsiteY1013" fmla="*/ 2528399 h 10808782"/>
              <a:gd name="connsiteX1014" fmla="*/ 9466686 w 25004707"/>
              <a:gd name="connsiteY1014" fmla="*/ 2528399 h 10808782"/>
              <a:gd name="connsiteX1015" fmla="*/ 9434859 w 25004707"/>
              <a:gd name="connsiteY1015" fmla="*/ 3012832 h 10808782"/>
              <a:gd name="connsiteX1016" fmla="*/ 9021040 w 25004707"/>
              <a:gd name="connsiteY1016" fmla="*/ 9313690 h 10808782"/>
              <a:gd name="connsiteX1017" fmla="*/ 9052851 w 25004707"/>
              <a:gd name="connsiteY1017" fmla="*/ 8829272 h 10808782"/>
              <a:gd name="connsiteX1018" fmla="*/ 9084726 w 25004707"/>
              <a:gd name="connsiteY1018" fmla="*/ 8344382 h 10808782"/>
              <a:gd name="connsiteX1019" fmla="*/ 9052883 w 25004707"/>
              <a:gd name="connsiteY1019" fmla="*/ 8829287 h 10808782"/>
              <a:gd name="connsiteX1020" fmla="*/ 9052883 w 25004707"/>
              <a:gd name="connsiteY1020" fmla="*/ 8829287 h 10808782"/>
              <a:gd name="connsiteX1021" fmla="*/ 6484525 w 25004707"/>
              <a:gd name="connsiteY1021" fmla="*/ 8660920 h 10808782"/>
              <a:gd name="connsiteX1022" fmla="*/ 11589397 w 25004707"/>
              <a:gd name="connsiteY1022" fmla="*/ 9482057 h 10808782"/>
              <a:gd name="connsiteX1023" fmla="*/ 11621209 w 25004707"/>
              <a:gd name="connsiteY1023" fmla="*/ 8997623 h 10808782"/>
              <a:gd name="connsiteX1024" fmla="*/ 11589397 w 25004707"/>
              <a:gd name="connsiteY1024" fmla="*/ 9482057 h 10808782"/>
              <a:gd name="connsiteX1025" fmla="*/ 11557539 w 25004707"/>
              <a:gd name="connsiteY1025" fmla="*/ 9966962 h 10808782"/>
              <a:gd name="connsiteX1026" fmla="*/ 10273352 w 25004707"/>
              <a:gd name="connsiteY1026" fmla="*/ 9882778 h 10808782"/>
              <a:gd name="connsiteX1027" fmla="*/ 11589397 w 25004707"/>
              <a:gd name="connsiteY1027" fmla="*/ 9482057 h 10808782"/>
              <a:gd name="connsiteX1028" fmla="*/ 12873584 w 25004707"/>
              <a:gd name="connsiteY1028" fmla="*/ 9566240 h 10808782"/>
              <a:gd name="connsiteX1029" fmla="*/ 11589397 w 25004707"/>
              <a:gd name="connsiteY1029" fmla="*/ 9482057 h 10808782"/>
              <a:gd name="connsiteX1030" fmla="*/ 10305227 w 25004707"/>
              <a:gd name="connsiteY1030" fmla="*/ 9397873 h 10808782"/>
              <a:gd name="connsiteX1031" fmla="*/ 11621209 w 25004707"/>
              <a:gd name="connsiteY1031" fmla="*/ 8997623 h 10808782"/>
              <a:gd name="connsiteX1032" fmla="*/ 11653068 w 25004707"/>
              <a:gd name="connsiteY1032" fmla="*/ 8512733 h 10808782"/>
              <a:gd name="connsiteX1033" fmla="*/ 11621209 w 25004707"/>
              <a:gd name="connsiteY1033" fmla="*/ 8997623 h 10808782"/>
              <a:gd name="connsiteX1034" fmla="*/ 10337038 w 25004707"/>
              <a:gd name="connsiteY1034" fmla="*/ 8913455 h 10808782"/>
              <a:gd name="connsiteX1035" fmla="*/ 12098730 w 25004707"/>
              <a:gd name="connsiteY1035" fmla="*/ 1726956 h 10808782"/>
              <a:gd name="connsiteX1036" fmla="*/ 12066887 w 25004707"/>
              <a:gd name="connsiteY1036" fmla="*/ 2211845 h 10808782"/>
              <a:gd name="connsiteX1037" fmla="*/ 12098730 w 25004707"/>
              <a:gd name="connsiteY1037" fmla="*/ 1726956 h 10808782"/>
              <a:gd name="connsiteX1038" fmla="*/ 12130541 w 25004707"/>
              <a:gd name="connsiteY1038" fmla="*/ 1242500 h 10808782"/>
              <a:gd name="connsiteX1039" fmla="*/ 12098730 w 25004707"/>
              <a:gd name="connsiteY1039" fmla="*/ 1726956 h 10808782"/>
              <a:gd name="connsiteX1040" fmla="*/ 13382917 w 25004707"/>
              <a:gd name="connsiteY1040" fmla="*/ 1811140 h 10808782"/>
              <a:gd name="connsiteX1041" fmla="*/ 12066887 w 25004707"/>
              <a:gd name="connsiteY1041" fmla="*/ 2211845 h 10808782"/>
              <a:gd name="connsiteX1042" fmla="*/ 12035043 w 25004707"/>
              <a:gd name="connsiteY1042" fmla="*/ 2696735 h 10808782"/>
              <a:gd name="connsiteX1043" fmla="*/ 12066887 w 25004707"/>
              <a:gd name="connsiteY1043" fmla="*/ 2211845 h 10808782"/>
              <a:gd name="connsiteX1044" fmla="*/ 13351074 w 25004707"/>
              <a:gd name="connsiteY1044" fmla="*/ 2296029 h 10808782"/>
              <a:gd name="connsiteX1045" fmla="*/ 13382917 w 25004707"/>
              <a:gd name="connsiteY1045" fmla="*/ 1811140 h 10808782"/>
              <a:gd name="connsiteX1046" fmla="*/ 11684864 w 25004707"/>
              <a:gd name="connsiteY1046" fmla="*/ 8028316 h 10808782"/>
              <a:gd name="connsiteX1047" fmla="*/ 11700769 w 25004707"/>
              <a:gd name="connsiteY1047" fmla="*/ 7786092 h 10808782"/>
              <a:gd name="connsiteX1048" fmla="*/ 11645721 w 25004707"/>
              <a:gd name="connsiteY1048" fmla="*/ 7561345 h 10808782"/>
              <a:gd name="connsiteX1049" fmla="*/ 11684864 w 25004707"/>
              <a:gd name="connsiteY1049" fmla="*/ 8028316 h 10808782"/>
              <a:gd name="connsiteX1050" fmla="*/ 11653068 w 25004707"/>
              <a:gd name="connsiteY1050" fmla="*/ 8512733 h 10808782"/>
              <a:gd name="connsiteX1051" fmla="*/ 12162401 w 25004707"/>
              <a:gd name="connsiteY1051" fmla="*/ 757600 h 10808782"/>
              <a:gd name="connsiteX1052" fmla="*/ 12130541 w 25004707"/>
              <a:gd name="connsiteY1052" fmla="*/ 1242500 h 10808782"/>
              <a:gd name="connsiteX1053" fmla="*/ 12130541 w 25004707"/>
              <a:gd name="connsiteY1053" fmla="*/ 1242500 h 10808782"/>
              <a:gd name="connsiteX1054" fmla="*/ 13414713 w 25004707"/>
              <a:gd name="connsiteY1054" fmla="*/ 1326681 h 10808782"/>
              <a:gd name="connsiteX1055" fmla="*/ 11971389 w 25004707"/>
              <a:gd name="connsiteY1055" fmla="*/ 3666073 h 10808782"/>
              <a:gd name="connsiteX1056" fmla="*/ 11939593 w 25004707"/>
              <a:gd name="connsiteY1056" fmla="*/ 4150506 h 10808782"/>
              <a:gd name="connsiteX1057" fmla="*/ 11971389 w 25004707"/>
              <a:gd name="connsiteY1057" fmla="*/ 3666073 h 10808782"/>
              <a:gd name="connsiteX1058" fmla="*/ 10687203 w 25004707"/>
              <a:gd name="connsiteY1058" fmla="*/ 3581889 h 10808782"/>
              <a:gd name="connsiteX1059" fmla="*/ 11971389 w 25004707"/>
              <a:gd name="connsiteY1059" fmla="*/ 3666073 h 10808782"/>
              <a:gd name="connsiteX1060" fmla="*/ 12035043 w 25004707"/>
              <a:gd name="connsiteY1060" fmla="*/ 2696750 h 10808782"/>
              <a:gd name="connsiteX1061" fmla="*/ 11939562 w 25004707"/>
              <a:gd name="connsiteY1061" fmla="*/ 4150506 h 10808782"/>
              <a:gd name="connsiteX1062" fmla="*/ 11923656 w 25004707"/>
              <a:gd name="connsiteY1062" fmla="*/ 4392731 h 10808782"/>
              <a:gd name="connsiteX1063" fmla="*/ 11839674 w 25004707"/>
              <a:gd name="connsiteY1063" fmla="*/ 4608362 h 10808782"/>
              <a:gd name="connsiteX1064" fmla="*/ 11939593 w 25004707"/>
              <a:gd name="connsiteY1064" fmla="*/ 4150506 h 10808782"/>
              <a:gd name="connsiteX1065" fmla="*/ 12272294 w 25004707"/>
              <a:gd name="connsiteY1065" fmla="*/ 4172322 h 10808782"/>
              <a:gd name="connsiteX1066" fmla="*/ 13140632 w 25004707"/>
              <a:gd name="connsiteY1066" fmla="*/ 4177462 h 10808782"/>
              <a:gd name="connsiteX1067" fmla="*/ 11123456 w 25004707"/>
              <a:gd name="connsiteY1067" fmla="*/ 6044043 h 10808782"/>
              <a:gd name="connsiteX1068" fmla="*/ 11191500 w 25004707"/>
              <a:gd name="connsiteY1068" fmla="*/ 6598074 h 10808782"/>
              <a:gd name="connsiteX1069" fmla="*/ 10491927 w 25004707"/>
              <a:gd name="connsiteY1069" fmla="*/ 6490078 h 10808782"/>
              <a:gd name="connsiteX1070" fmla="*/ 11123456 w 25004707"/>
              <a:gd name="connsiteY1070" fmla="*/ 6044043 h 10808782"/>
              <a:gd name="connsiteX1071" fmla="*/ 11503937 w 25004707"/>
              <a:gd name="connsiteY1071" fmla="*/ 6068971 h 10808782"/>
              <a:gd name="connsiteX1072" fmla="*/ 11646287 w 25004707"/>
              <a:gd name="connsiteY1072" fmla="*/ 7561361 h 10808782"/>
              <a:gd name="connsiteX1073" fmla="*/ 11412797 w 25004707"/>
              <a:gd name="connsiteY1073" fmla="*/ 7108001 h 10808782"/>
              <a:gd name="connsiteX1074" fmla="*/ 11130048 w 25004707"/>
              <a:gd name="connsiteY1074" fmla="*/ 7039111 h 10808782"/>
              <a:gd name="connsiteX1075" fmla="*/ 10846071 w 25004707"/>
              <a:gd name="connsiteY1075" fmla="*/ 7005444 h 10808782"/>
              <a:gd name="connsiteX1076" fmla="*/ 10464379 w 25004707"/>
              <a:gd name="connsiteY1076" fmla="*/ 6974779 h 10808782"/>
              <a:gd name="connsiteX1077" fmla="*/ 11191531 w 25004707"/>
              <a:gd name="connsiteY1077" fmla="*/ 6598058 h 10808782"/>
              <a:gd name="connsiteX1078" fmla="*/ 11412813 w 25004707"/>
              <a:gd name="connsiteY1078" fmla="*/ 7107545 h 10808782"/>
              <a:gd name="connsiteX1079" fmla="*/ 12088126 w 25004707"/>
              <a:gd name="connsiteY1079" fmla="*/ 7357425 h 10808782"/>
              <a:gd name="connsiteX1080" fmla="*/ 12035043 w 25004707"/>
              <a:gd name="connsiteY1080" fmla="*/ 2696735 h 10808782"/>
              <a:gd name="connsiteX1081" fmla="*/ 13319230 w 25004707"/>
              <a:gd name="connsiteY1081" fmla="*/ 2780918 h 10808782"/>
              <a:gd name="connsiteX1082" fmla="*/ 11840162 w 25004707"/>
              <a:gd name="connsiteY1082" fmla="*/ 4608393 h 10808782"/>
              <a:gd name="connsiteX1083" fmla="*/ 11549389 w 25004707"/>
              <a:gd name="connsiteY1083" fmla="*/ 5027378 h 10808782"/>
              <a:gd name="connsiteX1084" fmla="*/ 11263368 w 25004707"/>
              <a:gd name="connsiteY1084" fmla="*/ 5504110 h 10808782"/>
              <a:gd name="connsiteX1085" fmla="*/ 11123440 w 25004707"/>
              <a:gd name="connsiteY1085" fmla="*/ 6044498 h 10808782"/>
              <a:gd name="connsiteX1086" fmla="*/ 11549436 w 25004707"/>
              <a:gd name="connsiteY1086" fmla="*/ 5027394 h 10808782"/>
              <a:gd name="connsiteX1087" fmla="*/ 11263415 w 25004707"/>
              <a:gd name="connsiteY1087" fmla="*/ 5503623 h 10808782"/>
              <a:gd name="connsiteX1088" fmla="*/ 11752593 w 25004707"/>
              <a:gd name="connsiteY1088" fmla="*/ 5391241 h 10808782"/>
              <a:gd name="connsiteX1089" fmla="*/ 12251684 w 25004707"/>
              <a:gd name="connsiteY1089" fmla="*/ 4867812 h 10808782"/>
              <a:gd name="connsiteX1090" fmla="*/ 13275399 w 25004707"/>
              <a:gd name="connsiteY1090" fmla="*/ 4617321 h 10808782"/>
              <a:gd name="connsiteX1091" fmla="*/ 13140664 w 25004707"/>
              <a:gd name="connsiteY1091" fmla="*/ 4177494 h 10808782"/>
              <a:gd name="connsiteX1092" fmla="*/ 12761818 w 25004707"/>
              <a:gd name="connsiteY1092" fmla="*/ 4492837 h 10808782"/>
              <a:gd name="connsiteX1093" fmla="*/ 11661721 w 25004707"/>
              <a:gd name="connsiteY1093" fmla="*/ 6773813 h 10808782"/>
              <a:gd name="connsiteX1094" fmla="*/ 11503858 w 25004707"/>
              <a:gd name="connsiteY1094" fmla="*/ 6069442 h 10808782"/>
              <a:gd name="connsiteX1095" fmla="*/ 12905427 w 25004707"/>
              <a:gd name="connsiteY1095" fmla="*/ 9081823 h 10808782"/>
              <a:gd name="connsiteX1096" fmla="*/ 12937271 w 25004707"/>
              <a:gd name="connsiteY1096" fmla="*/ 8596917 h 10808782"/>
              <a:gd name="connsiteX1097" fmla="*/ 12905427 w 25004707"/>
              <a:gd name="connsiteY1097" fmla="*/ 9081823 h 10808782"/>
              <a:gd name="connsiteX1098" fmla="*/ 14190133 w 25004707"/>
              <a:gd name="connsiteY1098" fmla="*/ 9166037 h 10808782"/>
              <a:gd name="connsiteX1099" fmla="*/ 12905427 w 25004707"/>
              <a:gd name="connsiteY1099" fmla="*/ 9081823 h 10808782"/>
              <a:gd name="connsiteX1100" fmla="*/ 11621240 w 25004707"/>
              <a:gd name="connsiteY1100" fmla="*/ 8997639 h 10808782"/>
              <a:gd name="connsiteX1101" fmla="*/ 12251620 w 25004707"/>
              <a:gd name="connsiteY1101" fmla="*/ 4868269 h 10808782"/>
              <a:gd name="connsiteX1102" fmla="*/ 12762275 w 25004707"/>
              <a:gd name="connsiteY1102" fmla="*/ 4493340 h 10808782"/>
              <a:gd name="connsiteX1103" fmla="*/ 11503937 w 25004707"/>
              <a:gd name="connsiteY1103" fmla="*/ 6068971 h 10808782"/>
              <a:gd name="connsiteX1104" fmla="*/ 11752562 w 25004707"/>
              <a:gd name="connsiteY1104" fmla="*/ 5391257 h 10808782"/>
              <a:gd name="connsiteX1105" fmla="*/ 11503937 w 25004707"/>
              <a:gd name="connsiteY1105" fmla="*/ 6068971 h 10808782"/>
              <a:gd name="connsiteX1106" fmla="*/ 11995302 w 25004707"/>
              <a:gd name="connsiteY1106" fmla="*/ 6101176 h 10808782"/>
              <a:gd name="connsiteX1107" fmla="*/ 13319215 w 25004707"/>
              <a:gd name="connsiteY1107" fmla="*/ 2780934 h 10808782"/>
              <a:gd name="connsiteX1108" fmla="*/ 13287403 w 25004707"/>
              <a:gd name="connsiteY1108" fmla="*/ 3265368 h 10808782"/>
              <a:gd name="connsiteX1109" fmla="*/ 10719045 w 25004707"/>
              <a:gd name="connsiteY1109" fmla="*/ 3097000 h 10808782"/>
              <a:gd name="connsiteX1110" fmla="*/ 12879185 w 25004707"/>
              <a:gd name="connsiteY1110" fmla="*/ 8157877 h 10808782"/>
              <a:gd name="connsiteX1111" fmla="*/ 12953113 w 25004707"/>
              <a:gd name="connsiteY1111" fmla="*/ 8354693 h 10808782"/>
              <a:gd name="connsiteX1112" fmla="*/ 12937192 w 25004707"/>
              <a:gd name="connsiteY1112" fmla="*/ 8596917 h 10808782"/>
              <a:gd name="connsiteX1113" fmla="*/ 11653021 w 25004707"/>
              <a:gd name="connsiteY1113" fmla="*/ 8512733 h 10808782"/>
              <a:gd name="connsiteX1114" fmla="*/ 13351074 w 25004707"/>
              <a:gd name="connsiteY1114" fmla="*/ 2296013 h 10808782"/>
              <a:gd name="connsiteX1115" fmla="*/ 13319230 w 25004707"/>
              <a:gd name="connsiteY1115" fmla="*/ 2780918 h 10808782"/>
              <a:gd name="connsiteX1116" fmla="*/ 13319230 w 25004707"/>
              <a:gd name="connsiteY1116" fmla="*/ 2780918 h 10808782"/>
              <a:gd name="connsiteX1117" fmla="*/ 14603952 w 25004707"/>
              <a:gd name="connsiteY1117" fmla="*/ 2865118 h 10808782"/>
              <a:gd name="connsiteX1118" fmla="*/ 14635795 w 25004707"/>
              <a:gd name="connsiteY1118" fmla="*/ 2380244 h 10808782"/>
              <a:gd name="connsiteX1119" fmla="*/ 13382917 w 25004707"/>
              <a:gd name="connsiteY1119" fmla="*/ 1811140 h 10808782"/>
              <a:gd name="connsiteX1120" fmla="*/ 13414713 w 25004707"/>
              <a:gd name="connsiteY1120" fmla="*/ 1326681 h 10808782"/>
              <a:gd name="connsiteX1121" fmla="*/ 13382917 w 25004707"/>
              <a:gd name="connsiteY1121" fmla="*/ 1811140 h 10808782"/>
              <a:gd name="connsiteX1122" fmla="*/ 14667607 w 25004707"/>
              <a:gd name="connsiteY1122" fmla="*/ 1895339 h 10808782"/>
              <a:gd name="connsiteX1123" fmla="*/ 13287451 w 25004707"/>
              <a:gd name="connsiteY1123" fmla="*/ 3265336 h 10808782"/>
              <a:gd name="connsiteX1124" fmla="*/ 13255607 w 25004707"/>
              <a:gd name="connsiteY1124" fmla="*/ 3750241 h 10808782"/>
              <a:gd name="connsiteX1125" fmla="*/ 11971436 w 25004707"/>
              <a:gd name="connsiteY1125" fmla="*/ 3666057 h 10808782"/>
              <a:gd name="connsiteX1126" fmla="*/ 13140585 w 25004707"/>
              <a:gd name="connsiteY1126" fmla="*/ 4177934 h 10808782"/>
              <a:gd name="connsiteX1127" fmla="*/ 13239622 w 25004707"/>
              <a:gd name="connsiteY1127" fmla="*/ 3992450 h 10808782"/>
              <a:gd name="connsiteX1128" fmla="*/ 13255529 w 25004707"/>
              <a:gd name="connsiteY1128" fmla="*/ 3750241 h 10808782"/>
              <a:gd name="connsiteX1129" fmla="*/ 14206023 w 25004707"/>
              <a:gd name="connsiteY1129" fmla="*/ 3811147 h 10808782"/>
              <a:gd name="connsiteX1130" fmla="*/ 14533910 w 25004707"/>
              <a:gd name="connsiteY1130" fmla="*/ 3825576 h 10808782"/>
              <a:gd name="connsiteX1131" fmla="*/ 14311810 w 25004707"/>
              <a:gd name="connsiteY1131" fmla="*/ 4099440 h 10808782"/>
              <a:gd name="connsiteX1132" fmla="*/ 12544864 w 25004707"/>
              <a:gd name="connsiteY1132" fmla="*/ 7795774 h 10808782"/>
              <a:gd name="connsiteX1133" fmla="*/ 12879217 w 25004707"/>
              <a:gd name="connsiteY1133" fmla="*/ 8157877 h 10808782"/>
              <a:gd name="connsiteX1134" fmla="*/ 14029580 w 25004707"/>
              <a:gd name="connsiteY1134" fmla="*/ 8388549 h 10808782"/>
              <a:gd name="connsiteX1135" fmla="*/ 12545383 w 25004707"/>
              <a:gd name="connsiteY1135" fmla="*/ 7795805 h 10808782"/>
              <a:gd name="connsiteX1136" fmla="*/ 12088126 w 25004707"/>
              <a:gd name="connsiteY1136" fmla="*/ 7357425 h 10808782"/>
              <a:gd name="connsiteX1137" fmla="*/ 12088126 w 25004707"/>
              <a:gd name="connsiteY1137" fmla="*/ 7357425 h 10808782"/>
              <a:gd name="connsiteX1138" fmla="*/ 11661799 w 25004707"/>
              <a:gd name="connsiteY1138" fmla="*/ 6773325 h 10808782"/>
              <a:gd name="connsiteX1139" fmla="*/ 12088126 w 25004707"/>
              <a:gd name="connsiteY1139" fmla="*/ 7357425 h 10808782"/>
              <a:gd name="connsiteX1140" fmla="*/ 13070307 w 25004707"/>
              <a:gd name="connsiteY1140" fmla="*/ 7739410 h 10808782"/>
              <a:gd name="connsiteX1141" fmla="*/ 12873584 w 25004707"/>
              <a:gd name="connsiteY1141" fmla="*/ 9566240 h 10808782"/>
              <a:gd name="connsiteX1142" fmla="*/ 12905396 w 25004707"/>
              <a:gd name="connsiteY1142" fmla="*/ 9081806 h 10808782"/>
              <a:gd name="connsiteX1143" fmla="*/ 12873584 w 25004707"/>
              <a:gd name="connsiteY1143" fmla="*/ 9566240 h 10808782"/>
              <a:gd name="connsiteX1144" fmla="*/ 14158290 w 25004707"/>
              <a:gd name="connsiteY1144" fmla="*/ 9650455 h 10808782"/>
              <a:gd name="connsiteX1145" fmla="*/ 12873631 w 25004707"/>
              <a:gd name="connsiteY1145" fmla="*/ 9566240 h 10808782"/>
              <a:gd name="connsiteX1146" fmla="*/ 12841773 w 25004707"/>
              <a:gd name="connsiteY1146" fmla="*/ 10051145 h 10808782"/>
              <a:gd name="connsiteX1147" fmla="*/ 11557601 w 25004707"/>
              <a:gd name="connsiteY1147" fmla="*/ 9966962 h 10808782"/>
              <a:gd name="connsiteX1148" fmla="*/ 13446556 w 25004707"/>
              <a:gd name="connsiteY1148" fmla="*/ 841781 h 10808782"/>
              <a:gd name="connsiteX1149" fmla="*/ 13414713 w 25004707"/>
              <a:gd name="connsiteY1149" fmla="*/ 1326681 h 10808782"/>
              <a:gd name="connsiteX1150" fmla="*/ 14190133 w 25004707"/>
              <a:gd name="connsiteY1150" fmla="*/ 9166037 h 10808782"/>
              <a:gd name="connsiteX1151" fmla="*/ 14206039 w 25004707"/>
              <a:gd name="connsiteY1151" fmla="*/ 8923813 h 10808782"/>
              <a:gd name="connsiteX1152" fmla="*/ 14214503 w 25004707"/>
              <a:gd name="connsiteY1152" fmla="*/ 8689589 h 10808782"/>
              <a:gd name="connsiteX1153" fmla="*/ 14190133 w 25004707"/>
              <a:gd name="connsiteY1153" fmla="*/ 9166037 h 10808782"/>
              <a:gd name="connsiteX1154" fmla="*/ 14158290 w 25004707"/>
              <a:gd name="connsiteY1154" fmla="*/ 9650455 h 10808782"/>
              <a:gd name="connsiteX1155" fmla="*/ 14190133 w 25004707"/>
              <a:gd name="connsiteY1155" fmla="*/ 9166037 h 10808782"/>
              <a:gd name="connsiteX1156" fmla="*/ 15474273 w 25004707"/>
              <a:gd name="connsiteY1156" fmla="*/ 9250206 h 10808782"/>
              <a:gd name="connsiteX1157" fmla="*/ 14603889 w 25004707"/>
              <a:gd name="connsiteY1157" fmla="*/ 2865133 h 10808782"/>
              <a:gd name="connsiteX1158" fmla="*/ 14572062 w 25004707"/>
              <a:gd name="connsiteY1158" fmla="*/ 3349567 h 10808782"/>
              <a:gd name="connsiteX1159" fmla="*/ 14572062 w 25004707"/>
              <a:gd name="connsiteY1159" fmla="*/ 3349567 h 10808782"/>
              <a:gd name="connsiteX1160" fmla="*/ 13287355 w 25004707"/>
              <a:gd name="connsiteY1160" fmla="*/ 3265352 h 10808782"/>
              <a:gd name="connsiteX1161" fmla="*/ 14572062 w 25004707"/>
              <a:gd name="connsiteY1161" fmla="*/ 3349567 h 10808782"/>
              <a:gd name="connsiteX1162" fmla="*/ 15856264 w 25004707"/>
              <a:gd name="connsiteY1162" fmla="*/ 3433766 h 10808782"/>
              <a:gd name="connsiteX1163" fmla="*/ 14731277 w 25004707"/>
              <a:gd name="connsiteY1163" fmla="*/ 925990 h 10808782"/>
              <a:gd name="connsiteX1164" fmla="*/ 14699434 w 25004707"/>
              <a:gd name="connsiteY1164" fmla="*/ 1410890 h 10808782"/>
              <a:gd name="connsiteX1165" fmla="*/ 14699434 w 25004707"/>
              <a:gd name="connsiteY1165" fmla="*/ 1410890 h 10808782"/>
              <a:gd name="connsiteX1166" fmla="*/ 14667607 w 25004707"/>
              <a:gd name="connsiteY1166" fmla="*/ 1895339 h 10808782"/>
              <a:gd name="connsiteX1167" fmla="*/ 14699434 w 25004707"/>
              <a:gd name="connsiteY1167" fmla="*/ 1410890 h 10808782"/>
              <a:gd name="connsiteX1168" fmla="*/ 15983542 w 25004707"/>
              <a:gd name="connsiteY1168" fmla="*/ 1495075 h 10808782"/>
              <a:gd name="connsiteX1169" fmla="*/ 14699434 w 25004707"/>
              <a:gd name="connsiteY1169" fmla="*/ 1410890 h 10808782"/>
              <a:gd name="connsiteX1170" fmla="*/ 13414728 w 25004707"/>
              <a:gd name="connsiteY1170" fmla="*/ 1326676 h 10808782"/>
              <a:gd name="connsiteX1171" fmla="*/ 14029580 w 25004707"/>
              <a:gd name="connsiteY1171" fmla="*/ 8388549 h 10808782"/>
              <a:gd name="connsiteX1172" fmla="*/ 13647070 w 25004707"/>
              <a:gd name="connsiteY1172" fmla="*/ 8118803 h 10808782"/>
              <a:gd name="connsiteX1173" fmla="*/ 14029580 w 25004707"/>
              <a:gd name="connsiteY1173" fmla="*/ 8388549 h 10808782"/>
              <a:gd name="connsiteX1174" fmla="*/ 15397386 w 25004707"/>
              <a:gd name="connsiteY1174" fmla="*/ 8603361 h 10808782"/>
              <a:gd name="connsiteX1175" fmla="*/ 14126447 w 25004707"/>
              <a:gd name="connsiteY1175" fmla="*/ 10135345 h 10808782"/>
              <a:gd name="connsiteX1176" fmla="*/ 14158290 w 25004707"/>
              <a:gd name="connsiteY1176" fmla="*/ 9650455 h 10808782"/>
              <a:gd name="connsiteX1177" fmla="*/ 14126447 w 25004707"/>
              <a:gd name="connsiteY1177" fmla="*/ 10135345 h 10808782"/>
              <a:gd name="connsiteX1178" fmla="*/ 15410602 w 25004707"/>
              <a:gd name="connsiteY1178" fmla="*/ 10219528 h 10808782"/>
              <a:gd name="connsiteX1179" fmla="*/ 14126447 w 25004707"/>
              <a:gd name="connsiteY1179" fmla="*/ 10135345 h 10808782"/>
              <a:gd name="connsiteX1180" fmla="*/ 12841741 w 25004707"/>
              <a:gd name="connsiteY1180" fmla="*/ 10051145 h 10808782"/>
              <a:gd name="connsiteX1181" fmla="*/ 14158290 w 25004707"/>
              <a:gd name="connsiteY1181" fmla="*/ 9650455 h 10808782"/>
              <a:gd name="connsiteX1182" fmla="*/ 15442445 w 25004707"/>
              <a:gd name="connsiteY1182" fmla="*/ 9734623 h 10808782"/>
              <a:gd name="connsiteX1183" fmla="*/ 14667607 w 25004707"/>
              <a:gd name="connsiteY1183" fmla="*/ 1895339 h 10808782"/>
              <a:gd name="connsiteX1184" fmla="*/ 15951762 w 25004707"/>
              <a:gd name="connsiteY1184" fmla="*/ 1979523 h 10808782"/>
              <a:gd name="connsiteX1185" fmla="*/ 14667638 w 25004707"/>
              <a:gd name="connsiteY1185" fmla="*/ 1895339 h 10808782"/>
              <a:gd name="connsiteX1186" fmla="*/ 14635795 w 25004707"/>
              <a:gd name="connsiteY1186" fmla="*/ 2380244 h 10808782"/>
              <a:gd name="connsiteX1187" fmla="*/ 14635795 w 25004707"/>
              <a:gd name="connsiteY1187" fmla="*/ 2380244 h 10808782"/>
              <a:gd name="connsiteX1188" fmla="*/ 13351089 w 25004707"/>
              <a:gd name="connsiteY1188" fmla="*/ 2296029 h 10808782"/>
              <a:gd name="connsiteX1189" fmla="*/ 14030052 w 25004707"/>
              <a:gd name="connsiteY1189" fmla="*/ 8388596 h 10808782"/>
              <a:gd name="connsiteX1190" fmla="*/ 14214425 w 25004707"/>
              <a:gd name="connsiteY1190" fmla="*/ 8689101 h 10808782"/>
              <a:gd name="connsiteX1191" fmla="*/ 12937176 w 25004707"/>
              <a:gd name="connsiteY1191" fmla="*/ 8596886 h 10808782"/>
              <a:gd name="connsiteX1192" fmla="*/ 14572109 w 25004707"/>
              <a:gd name="connsiteY1192" fmla="*/ 3349551 h 10808782"/>
              <a:gd name="connsiteX1193" fmla="*/ 14556188 w 25004707"/>
              <a:gd name="connsiteY1193" fmla="*/ 3591776 h 10808782"/>
              <a:gd name="connsiteX1194" fmla="*/ 14533957 w 25004707"/>
              <a:gd name="connsiteY1194" fmla="*/ 3825104 h 10808782"/>
              <a:gd name="connsiteX1195" fmla="*/ 15812999 w 25004707"/>
              <a:gd name="connsiteY1195" fmla="*/ 3865656 h 10808782"/>
              <a:gd name="connsiteX1196" fmla="*/ 15695947 w 25004707"/>
              <a:gd name="connsiteY1196" fmla="*/ 4065002 h 10808782"/>
              <a:gd name="connsiteX1197" fmla="*/ 14311842 w 25004707"/>
              <a:gd name="connsiteY1197" fmla="*/ 4099440 h 10808782"/>
              <a:gd name="connsiteX1198" fmla="*/ 11994799 w 25004707"/>
              <a:gd name="connsiteY1198" fmla="*/ 6101616 h 10808782"/>
              <a:gd name="connsiteX1199" fmla="*/ 12359705 w 25004707"/>
              <a:gd name="connsiteY1199" fmla="*/ 7093871 h 10808782"/>
              <a:gd name="connsiteX1200" fmla="*/ 13070307 w 25004707"/>
              <a:gd name="connsiteY1200" fmla="*/ 7739882 h 10808782"/>
              <a:gd name="connsiteX1201" fmla="*/ 12486354 w 25004707"/>
              <a:gd name="connsiteY1201" fmla="*/ 5165033 h 10808782"/>
              <a:gd name="connsiteX1202" fmla="*/ 13275368 w 25004707"/>
              <a:gd name="connsiteY1202" fmla="*/ 4617305 h 10808782"/>
              <a:gd name="connsiteX1203" fmla="*/ 12486354 w 25004707"/>
              <a:gd name="connsiteY1203" fmla="*/ 5165033 h 10808782"/>
              <a:gd name="connsiteX1204" fmla="*/ 11752027 w 25004707"/>
              <a:gd name="connsiteY1204" fmla="*/ 5391210 h 10808782"/>
              <a:gd name="connsiteX1205" fmla="*/ 13275368 w 25004707"/>
              <a:gd name="connsiteY1205" fmla="*/ 4617305 h 10808782"/>
              <a:gd name="connsiteX1206" fmla="*/ 13897330 w 25004707"/>
              <a:gd name="connsiteY1206" fmla="*/ 4316485 h 10808782"/>
              <a:gd name="connsiteX1207" fmla="*/ 13275368 w 25004707"/>
              <a:gd name="connsiteY1207" fmla="*/ 4617305 h 10808782"/>
              <a:gd name="connsiteX1208" fmla="*/ 15121623 w 25004707"/>
              <a:gd name="connsiteY1208" fmla="*/ 4395796 h 10808782"/>
              <a:gd name="connsiteX1209" fmla="*/ 11995302 w 25004707"/>
              <a:gd name="connsiteY1209" fmla="*/ 6101176 h 10808782"/>
              <a:gd name="connsiteX1210" fmla="*/ 12486872 w 25004707"/>
              <a:gd name="connsiteY1210" fmla="*/ 5165065 h 10808782"/>
              <a:gd name="connsiteX1211" fmla="*/ 11995302 w 25004707"/>
              <a:gd name="connsiteY1211" fmla="*/ 6101176 h 10808782"/>
              <a:gd name="connsiteX1212" fmla="*/ 13443441 w 25004707"/>
              <a:gd name="connsiteY1212" fmla="*/ 6196111 h 10808782"/>
              <a:gd name="connsiteX1213" fmla="*/ 14385691 w 25004707"/>
              <a:gd name="connsiteY1213" fmla="*/ 4808195 h 10808782"/>
              <a:gd name="connsiteX1214" fmla="*/ 15121623 w 25004707"/>
              <a:gd name="connsiteY1214" fmla="*/ 4395796 h 10808782"/>
              <a:gd name="connsiteX1215" fmla="*/ 13897330 w 25004707"/>
              <a:gd name="connsiteY1215" fmla="*/ 4316485 h 10808782"/>
              <a:gd name="connsiteX1216" fmla="*/ 14311857 w 25004707"/>
              <a:gd name="connsiteY1216" fmla="*/ 4098984 h 10808782"/>
              <a:gd name="connsiteX1217" fmla="*/ 13897330 w 25004707"/>
              <a:gd name="connsiteY1217" fmla="*/ 4316485 h 10808782"/>
              <a:gd name="connsiteX1218" fmla="*/ 12762306 w 25004707"/>
              <a:gd name="connsiteY1218" fmla="*/ 4492884 h 10808782"/>
              <a:gd name="connsiteX1219" fmla="*/ 11840209 w 25004707"/>
              <a:gd name="connsiteY1219" fmla="*/ 4608409 h 10808782"/>
              <a:gd name="connsiteX1220" fmla="*/ 13647557 w 25004707"/>
              <a:gd name="connsiteY1220" fmla="*/ 8119305 h 10808782"/>
              <a:gd name="connsiteX1221" fmla="*/ 13070260 w 25004707"/>
              <a:gd name="connsiteY1221" fmla="*/ 7739866 h 10808782"/>
              <a:gd name="connsiteX1222" fmla="*/ 15121623 w 25004707"/>
              <a:gd name="connsiteY1222" fmla="*/ 4395796 h 10808782"/>
              <a:gd name="connsiteX1223" fmla="*/ 15490320 w 25004707"/>
              <a:gd name="connsiteY1223" fmla="*/ 4210579 h 10808782"/>
              <a:gd name="connsiteX1224" fmla="*/ 15121623 w 25004707"/>
              <a:gd name="connsiteY1224" fmla="*/ 4395796 h 10808782"/>
              <a:gd name="connsiteX1225" fmla="*/ 17654676 w 25004707"/>
              <a:gd name="connsiteY1225" fmla="*/ 4542536 h 10808782"/>
              <a:gd name="connsiteX1226" fmla="*/ 15489786 w 25004707"/>
              <a:gd name="connsiteY1226" fmla="*/ 4210564 h 10808782"/>
              <a:gd name="connsiteX1227" fmla="*/ 15695475 w 25004707"/>
              <a:gd name="connsiteY1227" fmla="*/ 4065002 h 10808782"/>
              <a:gd name="connsiteX1228" fmla="*/ 14871157 w 25004707"/>
              <a:gd name="connsiteY1228" fmla="*/ 8200471 h 10808782"/>
              <a:gd name="connsiteX1229" fmla="*/ 15212479 w 25004707"/>
              <a:gd name="connsiteY1229" fmla="*/ 8432228 h 10808782"/>
              <a:gd name="connsiteX1230" fmla="*/ 17080274 w 25004707"/>
              <a:gd name="connsiteY1230" fmla="*/ 8565010 h 10808782"/>
              <a:gd name="connsiteX1231" fmla="*/ 14196065 w 25004707"/>
              <a:gd name="connsiteY1231" fmla="*/ 7695574 h 10808782"/>
              <a:gd name="connsiteX1232" fmla="*/ 13443425 w 25004707"/>
              <a:gd name="connsiteY1232" fmla="*/ 6196566 h 10808782"/>
              <a:gd name="connsiteX1233" fmla="*/ 14196065 w 25004707"/>
              <a:gd name="connsiteY1233" fmla="*/ 7695574 h 10808782"/>
              <a:gd name="connsiteX1234" fmla="*/ 12359657 w 25004707"/>
              <a:gd name="connsiteY1234" fmla="*/ 7093855 h 10808782"/>
              <a:gd name="connsiteX1235" fmla="*/ 14196065 w 25004707"/>
              <a:gd name="connsiteY1235" fmla="*/ 7695574 h 10808782"/>
              <a:gd name="connsiteX1236" fmla="*/ 18066716 w 25004707"/>
              <a:gd name="connsiteY1236" fmla="*/ 7989289 h 10808782"/>
              <a:gd name="connsiteX1237" fmla="*/ 14196048 w 25004707"/>
              <a:gd name="connsiteY1237" fmla="*/ 7695558 h 10808782"/>
              <a:gd name="connsiteX1238" fmla="*/ 14871692 w 25004707"/>
              <a:gd name="connsiteY1238" fmla="*/ 8200488 h 10808782"/>
              <a:gd name="connsiteX1239" fmla="*/ 13070244 w 25004707"/>
              <a:gd name="connsiteY1239" fmla="*/ 7739850 h 10808782"/>
              <a:gd name="connsiteX1240" fmla="*/ 15397921 w 25004707"/>
              <a:gd name="connsiteY1240" fmla="*/ 8603409 h 10808782"/>
              <a:gd name="connsiteX1241" fmla="*/ 15213046 w 25004707"/>
              <a:gd name="connsiteY1241" fmla="*/ 8432244 h 10808782"/>
              <a:gd name="connsiteX1242" fmla="*/ 15397921 w 25004707"/>
              <a:gd name="connsiteY1242" fmla="*/ 8603409 h 10808782"/>
              <a:gd name="connsiteX1243" fmla="*/ 15487834 w 25004707"/>
              <a:gd name="connsiteY1243" fmla="*/ 8816336 h 10808782"/>
              <a:gd name="connsiteX1244" fmla="*/ 14214487 w 25004707"/>
              <a:gd name="connsiteY1244" fmla="*/ 8689086 h 10808782"/>
              <a:gd name="connsiteX1245" fmla="*/ 15397921 w 25004707"/>
              <a:gd name="connsiteY1245" fmla="*/ 8603409 h 10808782"/>
              <a:gd name="connsiteX1246" fmla="*/ 16902492 w 25004707"/>
              <a:gd name="connsiteY1246" fmla="*/ 8707695 h 10808782"/>
              <a:gd name="connsiteX1247" fmla="*/ 15410602 w 25004707"/>
              <a:gd name="connsiteY1247" fmla="*/ 10219528 h 10808782"/>
              <a:gd name="connsiteX1248" fmla="*/ 15442445 w 25004707"/>
              <a:gd name="connsiteY1248" fmla="*/ 9734623 h 10808782"/>
              <a:gd name="connsiteX1249" fmla="*/ 15442445 w 25004707"/>
              <a:gd name="connsiteY1249" fmla="*/ 9734623 h 10808782"/>
              <a:gd name="connsiteX1250" fmla="*/ 15474273 w 25004707"/>
              <a:gd name="connsiteY1250" fmla="*/ 9250206 h 10808782"/>
              <a:gd name="connsiteX1251" fmla="*/ 15474273 w 25004707"/>
              <a:gd name="connsiteY1251" fmla="*/ 9250206 h 10808782"/>
              <a:gd name="connsiteX1252" fmla="*/ 15487866 w 25004707"/>
              <a:gd name="connsiteY1252" fmla="*/ 8816336 h 10808782"/>
              <a:gd name="connsiteX1253" fmla="*/ 15888044 w 25004707"/>
              <a:gd name="connsiteY1253" fmla="*/ 2949333 h 10808782"/>
              <a:gd name="connsiteX1254" fmla="*/ 15856264 w 25004707"/>
              <a:gd name="connsiteY1254" fmla="*/ 3433766 h 10808782"/>
              <a:gd name="connsiteX1255" fmla="*/ 15856264 w 25004707"/>
              <a:gd name="connsiteY1255" fmla="*/ 3433766 h 10808782"/>
              <a:gd name="connsiteX1256" fmla="*/ 15812999 w 25004707"/>
              <a:gd name="connsiteY1256" fmla="*/ 3865671 h 10808782"/>
              <a:gd name="connsiteX1257" fmla="*/ 17124954 w 25004707"/>
              <a:gd name="connsiteY1257" fmla="*/ 3949352 h 10808782"/>
              <a:gd name="connsiteX1258" fmla="*/ 15919982 w 25004707"/>
              <a:gd name="connsiteY1258" fmla="*/ 2464396 h 10808782"/>
              <a:gd name="connsiteX1259" fmla="*/ 15888044 w 25004707"/>
              <a:gd name="connsiteY1259" fmla="*/ 2949301 h 10808782"/>
              <a:gd name="connsiteX1260" fmla="*/ 14603921 w 25004707"/>
              <a:gd name="connsiteY1260" fmla="*/ 2865118 h 10808782"/>
              <a:gd name="connsiteX1261" fmla="*/ 15919982 w 25004707"/>
              <a:gd name="connsiteY1261" fmla="*/ 2464396 h 10808782"/>
              <a:gd name="connsiteX1262" fmla="*/ 15951762 w 25004707"/>
              <a:gd name="connsiteY1262" fmla="*/ 1979523 h 10808782"/>
              <a:gd name="connsiteX1263" fmla="*/ 15919982 w 25004707"/>
              <a:gd name="connsiteY1263" fmla="*/ 2464396 h 10808782"/>
              <a:gd name="connsiteX1264" fmla="*/ 14635747 w 25004707"/>
              <a:gd name="connsiteY1264" fmla="*/ 2380244 h 10808782"/>
              <a:gd name="connsiteX1265" fmla="*/ 16015479 w 25004707"/>
              <a:gd name="connsiteY1265" fmla="*/ 1010175 h 10808782"/>
              <a:gd name="connsiteX1266" fmla="*/ 15983542 w 25004707"/>
              <a:gd name="connsiteY1266" fmla="*/ 1495075 h 10808782"/>
              <a:gd name="connsiteX1267" fmla="*/ 15951762 w 25004707"/>
              <a:gd name="connsiteY1267" fmla="*/ 1979523 h 10808782"/>
              <a:gd name="connsiteX1268" fmla="*/ 15983542 w 25004707"/>
              <a:gd name="connsiteY1268" fmla="*/ 1495086 h 10808782"/>
              <a:gd name="connsiteX1269" fmla="*/ 24431722 w 25004707"/>
              <a:gd name="connsiteY1269" fmla="*/ 10323878 h 10808782"/>
              <a:gd name="connsiteX1270" fmla="*/ 24442890 w 25004707"/>
              <a:gd name="connsiteY1270" fmla="*/ 10324617 h 10808782"/>
              <a:gd name="connsiteX1271" fmla="*/ 24474672 w 25004707"/>
              <a:gd name="connsiteY1271" fmla="*/ 9840199 h 10808782"/>
              <a:gd name="connsiteX1272" fmla="*/ 24463658 w 25004707"/>
              <a:gd name="connsiteY1272" fmla="*/ 9839460 h 10808782"/>
              <a:gd name="connsiteX1273" fmla="*/ 11684880 w 25004707"/>
              <a:gd name="connsiteY1273" fmla="*/ 8028300 h 10808782"/>
              <a:gd name="connsiteX1274" fmla="*/ 12879185 w 25004707"/>
              <a:gd name="connsiteY1274" fmla="*/ 8158364 h 10808782"/>
              <a:gd name="connsiteX1275" fmla="*/ 20674580 w 25004707"/>
              <a:gd name="connsiteY1275" fmla="*/ 8617586 h 10808782"/>
              <a:gd name="connsiteX1276" fmla="*/ 20341988 w 25004707"/>
              <a:gd name="connsiteY1276" fmla="*/ 8595770 h 10808782"/>
              <a:gd name="connsiteX1277" fmla="*/ 19488328 w 25004707"/>
              <a:gd name="connsiteY1277" fmla="*/ 8602418 h 10808782"/>
              <a:gd name="connsiteX1278" fmla="*/ 11646271 w 25004707"/>
              <a:gd name="connsiteY1278" fmla="*/ 7561376 h 10808782"/>
              <a:gd name="connsiteX1279" fmla="*/ 12545352 w 25004707"/>
              <a:gd name="connsiteY1279" fmla="*/ 7796293 h 10808782"/>
              <a:gd name="connsiteX1280" fmla="*/ 10432568 w 25004707"/>
              <a:gd name="connsiteY1280" fmla="*/ 7459228 h 10808782"/>
              <a:gd name="connsiteX1281" fmla="*/ 11645783 w 25004707"/>
              <a:gd name="connsiteY1281" fmla="*/ 7560874 h 10808782"/>
              <a:gd name="connsiteX1282" fmla="*/ 19877714 w 25004707"/>
              <a:gd name="connsiteY1282" fmla="*/ 8295736 h 10808782"/>
              <a:gd name="connsiteX1283" fmla="*/ 18710818 w 25004707"/>
              <a:gd name="connsiteY1283" fmla="*/ 8471900 h 10808782"/>
              <a:gd name="connsiteX1284" fmla="*/ 12545414 w 25004707"/>
              <a:gd name="connsiteY1284" fmla="*/ 7795821 h 10808782"/>
              <a:gd name="connsiteX1285" fmla="*/ 13647621 w 25004707"/>
              <a:gd name="connsiteY1285" fmla="*/ 8118850 h 10808782"/>
              <a:gd name="connsiteX1286" fmla="*/ 18710188 w 25004707"/>
              <a:gd name="connsiteY1286" fmla="*/ 8471883 h 10808782"/>
              <a:gd name="connsiteX1287" fmla="*/ 17080274 w 25004707"/>
              <a:gd name="connsiteY1287" fmla="*/ 8564539 h 10808782"/>
              <a:gd name="connsiteX1288" fmla="*/ 20800442 w 25004707"/>
              <a:gd name="connsiteY1288" fmla="*/ 8170357 h 10808782"/>
              <a:gd name="connsiteX1289" fmla="*/ 19877714 w 25004707"/>
              <a:gd name="connsiteY1289" fmla="*/ 8295264 h 10808782"/>
              <a:gd name="connsiteX1290" fmla="*/ 13647557 w 25004707"/>
              <a:gd name="connsiteY1290" fmla="*/ 8119337 h 10808782"/>
              <a:gd name="connsiteX1291" fmla="*/ 15213031 w 25004707"/>
              <a:gd name="connsiteY1291" fmla="*/ 8432275 h 10808782"/>
              <a:gd name="connsiteX1292" fmla="*/ 24570168 w 25004707"/>
              <a:gd name="connsiteY1292" fmla="*/ 8385956 h 10808782"/>
              <a:gd name="connsiteX1293" fmla="*/ 24558998 w 25004707"/>
              <a:gd name="connsiteY1293" fmla="*/ 8385217 h 10808782"/>
              <a:gd name="connsiteX1294" fmla="*/ 11191453 w 25004707"/>
              <a:gd name="connsiteY1294" fmla="*/ 6598058 h 10808782"/>
              <a:gd name="connsiteX1295" fmla="*/ 11661705 w 25004707"/>
              <a:gd name="connsiteY1295" fmla="*/ 6773325 h 10808782"/>
              <a:gd name="connsiteX1296" fmla="*/ 11661752 w 25004707"/>
              <a:gd name="connsiteY1296" fmla="*/ 6773797 h 10808782"/>
              <a:gd name="connsiteX1297" fmla="*/ 12360192 w 25004707"/>
              <a:gd name="connsiteY1297" fmla="*/ 7093886 h 10808782"/>
              <a:gd name="connsiteX1298" fmla="*/ 21415434 w 25004707"/>
              <a:gd name="connsiteY1298" fmla="*/ 7277170 h 10808782"/>
              <a:gd name="connsiteX1299" fmla="*/ 20922056 w 25004707"/>
              <a:gd name="connsiteY1299" fmla="*/ 7397268 h 10808782"/>
              <a:gd name="connsiteX1300" fmla="*/ 20922686 w 25004707"/>
              <a:gd name="connsiteY1300" fmla="*/ 7397316 h 10808782"/>
              <a:gd name="connsiteX1301" fmla="*/ 20142814 w 25004707"/>
              <a:gd name="connsiteY1301" fmla="*/ 7635564 h 10808782"/>
              <a:gd name="connsiteX1302" fmla="*/ 24622718 w 25004707"/>
              <a:gd name="connsiteY1302" fmla="*/ 7415894 h 10808782"/>
              <a:gd name="connsiteX1303" fmla="*/ 24633886 w 25004707"/>
              <a:gd name="connsiteY1303" fmla="*/ 7416633 h 10808782"/>
              <a:gd name="connsiteX1304" fmla="*/ 20142814 w 25004707"/>
              <a:gd name="connsiteY1304" fmla="*/ 7635108 h 10808782"/>
              <a:gd name="connsiteX1305" fmla="*/ 18066244 w 25004707"/>
              <a:gd name="connsiteY1305" fmla="*/ 7988802 h 10808782"/>
              <a:gd name="connsiteX1306" fmla="*/ 24665668 w 25004707"/>
              <a:gd name="connsiteY1306" fmla="*/ 6931728 h 10808782"/>
              <a:gd name="connsiteX1307" fmla="*/ 24654654 w 25004707"/>
              <a:gd name="connsiteY1307" fmla="*/ 6931005 h 10808782"/>
              <a:gd name="connsiteX1308" fmla="*/ 18998254 w 25004707"/>
              <a:gd name="connsiteY1308" fmla="*/ 6560194 h 10808782"/>
              <a:gd name="connsiteX1309" fmla="*/ 13443409 w 25004707"/>
              <a:gd name="connsiteY1309" fmla="*/ 6196079 h 10808782"/>
              <a:gd name="connsiteX1310" fmla="*/ 9275737 w 25004707"/>
              <a:gd name="connsiteY1310" fmla="*/ 5436398 h 10808782"/>
              <a:gd name="connsiteX1311" fmla="*/ 10227192 w 25004707"/>
              <a:gd name="connsiteY1311" fmla="*/ 5498766 h 10808782"/>
              <a:gd name="connsiteX1312" fmla="*/ 10555661 w 25004707"/>
              <a:gd name="connsiteY1312" fmla="*/ 5520299 h 10808782"/>
              <a:gd name="connsiteX1313" fmla="*/ 10555676 w 25004707"/>
              <a:gd name="connsiteY1313" fmla="*/ 5519796 h 10808782"/>
              <a:gd name="connsiteX1314" fmla="*/ 11263383 w 25004707"/>
              <a:gd name="connsiteY1314" fmla="*/ 5504063 h 10808782"/>
              <a:gd name="connsiteX1315" fmla="*/ 24761164 w 25004707"/>
              <a:gd name="connsiteY1315" fmla="*/ 5477971 h 10808782"/>
              <a:gd name="connsiteX1316" fmla="*/ 24749994 w 25004707"/>
              <a:gd name="connsiteY1316" fmla="*/ 5477249 h 10808782"/>
              <a:gd name="connsiteX1317" fmla="*/ 15489769 w 25004707"/>
              <a:gd name="connsiteY1317" fmla="*/ 4210548 h 10808782"/>
              <a:gd name="connsiteX1318" fmla="*/ 13896795 w 25004707"/>
              <a:gd name="connsiteY1318" fmla="*/ 4316454 h 10808782"/>
              <a:gd name="connsiteX1319" fmla="*/ 11840225 w 25004707"/>
              <a:gd name="connsiteY1319" fmla="*/ 4608393 h 10808782"/>
              <a:gd name="connsiteX1320" fmla="*/ 11564650 w 25004707"/>
              <a:gd name="connsiteY1320" fmla="*/ 4609163 h 10808782"/>
              <a:gd name="connsiteX1321" fmla="*/ 10623579 w 25004707"/>
              <a:gd name="connsiteY1321" fmla="*/ 4550772 h 10808782"/>
              <a:gd name="connsiteX1322" fmla="*/ 17200786 w 25004707"/>
              <a:gd name="connsiteY1322" fmla="*/ 4157957 h 10808782"/>
              <a:gd name="connsiteX1323" fmla="*/ 15695475 w 25004707"/>
              <a:gd name="connsiteY1323" fmla="*/ 4064971 h 10808782"/>
              <a:gd name="connsiteX1324" fmla="*/ 24792944 w 25004707"/>
              <a:gd name="connsiteY1324" fmla="*/ 4993051 h 10808782"/>
              <a:gd name="connsiteX1325" fmla="*/ 24781932 w 25004707"/>
              <a:gd name="connsiteY1325" fmla="*/ 4992328 h 10808782"/>
              <a:gd name="connsiteX1326" fmla="*/ 14311291 w 25004707"/>
              <a:gd name="connsiteY1326" fmla="*/ 4099408 h 10808782"/>
              <a:gd name="connsiteX1327" fmla="*/ 13140600 w 25004707"/>
              <a:gd name="connsiteY1327" fmla="*/ 4177934 h 10808782"/>
              <a:gd name="connsiteX1328" fmla="*/ 5533323 w 25004707"/>
              <a:gd name="connsiteY1328" fmla="*/ 3742335 h 10808782"/>
              <a:gd name="connsiteX1329" fmla="*/ 5816937 w 25004707"/>
              <a:gd name="connsiteY1329" fmla="*/ 3749157 h 10808782"/>
              <a:gd name="connsiteX1330" fmla="*/ 6803413 w 25004707"/>
              <a:gd name="connsiteY1330" fmla="*/ 3813819 h 10808782"/>
              <a:gd name="connsiteX1331" fmla="*/ 17402166 w 25004707"/>
              <a:gd name="connsiteY1331" fmla="*/ 8385657 h 10808782"/>
              <a:gd name="connsiteX1332" fmla="*/ 14871708 w 25004707"/>
              <a:gd name="connsiteY1332" fmla="*/ 8200471 h 10808782"/>
              <a:gd name="connsiteX1333" fmla="*/ 21113996 w 25004707"/>
              <a:gd name="connsiteY1333" fmla="*/ 7756165 h 10808782"/>
              <a:gd name="connsiteX1334" fmla="*/ 20402560 w 25004707"/>
              <a:gd name="connsiteY1334" fmla="*/ 7924564 h 10808782"/>
              <a:gd name="connsiteX1335" fmla="*/ 24729384 w 25004707"/>
              <a:gd name="connsiteY1335" fmla="*/ 5962405 h 10808782"/>
              <a:gd name="connsiteX1336" fmla="*/ 24718214 w 25004707"/>
              <a:gd name="connsiteY1336" fmla="*/ 5961666 h 10808782"/>
              <a:gd name="connsiteX1337" fmla="*/ 12251605 w 25004707"/>
              <a:gd name="connsiteY1337" fmla="*/ 4868284 h 10808782"/>
              <a:gd name="connsiteX1338" fmla="*/ 11549373 w 25004707"/>
              <a:gd name="connsiteY1338" fmla="*/ 5027865 h 10808782"/>
              <a:gd name="connsiteX1339" fmla="*/ 4229596 w 25004707"/>
              <a:gd name="connsiteY1339" fmla="*/ 3720409 h 10808782"/>
              <a:gd name="connsiteX1340" fmla="*/ 5592446 w 25004707"/>
              <a:gd name="connsiteY1340" fmla="*/ 3263937 h 10808782"/>
              <a:gd name="connsiteX1341" fmla="*/ 1697927 w 25004707"/>
              <a:gd name="connsiteY1341" fmla="*/ 2992635 h 10808782"/>
              <a:gd name="connsiteX1342" fmla="*/ 2684403 w 25004707"/>
              <a:gd name="connsiteY1342" fmla="*/ 3057297 h 10808782"/>
              <a:gd name="connsiteX1343" fmla="*/ 2938046 w 25004707"/>
              <a:gd name="connsiteY1343" fmla="*/ 3090399 h 10808782"/>
              <a:gd name="connsiteX1344" fmla="*/ 24824882 w 25004707"/>
              <a:gd name="connsiteY1344" fmla="*/ 4508602 h 10808782"/>
              <a:gd name="connsiteX1345" fmla="*/ 24813712 w 25004707"/>
              <a:gd name="connsiteY1345" fmla="*/ 4507879 h 10808782"/>
              <a:gd name="connsiteX1346" fmla="*/ 24888442 w 25004707"/>
              <a:gd name="connsiteY1346" fmla="*/ 3539279 h 10808782"/>
              <a:gd name="connsiteX1347" fmla="*/ 24877430 w 25004707"/>
              <a:gd name="connsiteY1347" fmla="*/ 3538556 h 10808782"/>
              <a:gd name="connsiteX1348" fmla="*/ 24920380 w 25004707"/>
              <a:gd name="connsiteY1348" fmla="*/ 3054405 h 10808782"/>
              <a:gd name="connsiteX1349" fmla="*/ 24909210 w 25004707"/>
              <a:gd name="connsiteY1349" fmla="*/ 3053682 h 10808782"/>
              <a:gd name="connsiteX1350" fmla="*/ 24984098 w 25004707"/>
              <a:gd name="connsiteY1350" fmla="*/ 2085067 h 10808782"/>
              <a:gd name="connsiteX1351" fmla="*/ 24972926 w 25004707"/>
              <a:gd name="connsiteY1351" fmla="*/ 2084328 h 10808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</a:cxnLst>
            <a:rect l="l" t="t" r="r" b="b"/>
            <a:pathLst>
              <a:path w="25004707" h="10808782">
                <a:moveTo>
                  <a:pt x="24781932" y="4992328"/>
                </a:moveTo>
                <a:lnTo>
                  <a:pt x="24813712" y="4507894"/>
                </a:lnTo>
                <a:moveTo>
                  <a:pt x="24781932" y="4992328"/>
                </a:moveTo>
                <a:lnTo>
                  <a:pt x="24749994" y="5477249"/>
                </a:lnTo>
                <a:moveTo>
                  <a:pt x="24781932" y="4992328"/>
                </a:moveTo>
                <a:lnTo>
                  <a:pt x="23497668" y="4908160"/>
                </a:lnTo>
                <a:lnTo>
                  <a:pt x="23465886" y="5393065"/>
                </a:lnTo>
                <a:moveTo>
                  <a:pt x="24813712" y="4507894"/>
                </a:moveTo>
                <a:lnTo>
                  <a:pt x="24845492" y="4022989"/>
                </a:lnTo>
                <a:moveTo>
                  <a:pt x="24813712" y="4507894"/>
                </a:moveTo>
                <a:lnTo>
                  <a:pt x="23529446" y="4423711"/>
                </a:lnTo>
                <a:moveTo>
                  <a:pt x="24718214" y="5961666"/>
                </a:moveTo>
                <a:lnTo>
                  <a:pt x="24686276" y="6446571"/>
                </a:lnTo>
                <a:lnTo>
                  <a:pt x="23402168" y="6362388"/>
                </a:lnTo>
                <a:moveTo>
                  <a:pt x="24718214" y="5961666"/>
                </a:moveTo>
                <a:lnTo>
                  <a:pt x="24749994" y="5477249"/>
                </a:lnTo>
                <a:moveTo>
                  <a:pt x="24718214" y="5961666"/>
                </a:moveTo>
                <a:lnTo>
                  <a:pt x="23433948" y="5877498"/>
                </a:lnTo>
                <a:moveTo>
                  <a:pt x="24749994" y="5477249"/>
                </a:moveTo>
                <a:lnTo>
                  <a:pt x="23465886" y="5393065"/>
                </a:lnTo>
                <a:moveTo>
                  <a:pt x="24940990" y="2568777"/>
                </a:moveTo>
                <a:lnTo>
                  <a:pt x="24909210" y="3053682"/>
                </a:lnTo>
                <a:lnTo>
                  <a:pt x="23624944" y="2969499"/>
                </a:lnTo>
                <a:moveTo>
                  <a:pt x="24877430" y="3538571"/>
                </a:moveTo>
                <a:lnTo>
                  <a:pt x="24845492" y="4023005"/>
                </a:lnTo>
                <a:moveTo>
                  <a:pt x="24845492" y="4023005"/>
                </a:moveTo>
                <a:lnTo>
                  <a:pt x="24856664" y="4023744"/>
                </a:lnTo>
                <a:moveTo>
                  <a:pt x="24845492" y="4023005"/>
                </a:moveTo>
                <a:lnTo>
                  <a:pt x="23561384" y="3938837"/>
                </a:lnTo>
                <a:moveTo>
                  <a:pt x="24940990" y="2568777"/>
                </a:moveTo>
                <a:lnTo>
                  <a:pt x="23656882" y="2484594"/>
                </a:lnTo>
                <a:lnTo>
                  <a:pt x="23624944" y="2969499"/>
                </a:lnTo>
                <a:moveTo>
                  <a:pt x="24940990" y="2568777"/>
                </a:moveTo>
                <a:lnTo>
                  <a:pt x="24952160" y="2569500"/>
                </a:lnTo>
                <a:moveTo>
                  <a:pt x="24940990" y="2568777"/>
                </a:moveTo>
                <a:lnTo>
                  <a:pt x="25004708" y="1599423"/>
                </a:lnTo>
                <a:lnTo>
                  <a:pt x="5763304" y="338142"/>
                </a:lnTo>
                <a:cubicBezTo>
                  <a:pt x="5433766" y="316539"/>
                  <a:pt x="631905" y="1774"/>
                  <a:pt x="631905" y="1774"/>
                </a:cubicBezTo>
                <a:lnTo>
                  <a:pt x="604841" y="0"/>
                </a:lnTo>
                <a:lnTo>
                  <a:pt x="0" y="9209356"/>
                </a:lnTo>
                <a:lnTo>
                  <a:pt x="1284177" y="9293539"/>
                </a:lnTo>
                <a:moveTo>
                  <a:pt x="24909210" y="3053651"/>
                </a:moveTo>
                <a:lnTo>
                  <a:pt x="24877430" y="3538556"/>
                </a:lnTo>
                <a:lnTo>
                  <a:pt x="23593164" y="3454388"/>
                </a:lnTo>
                <a:moveTo>
                  <a:pt x="24590780" y="7900799"/>
                </a:moveTo>
                <a:lnTo>
                  <a:pt x="24622718" y="7415910"/>
                </a:lnTo>
                <a:moveTo>
                  <a:pt x="24590780" y="7900799"/>
                </a:moveTo>
                <a:lnTo>
                  <a:pt x="23306672" y="7816615"/>
                </a:lnTo>
                <a:lnTo>
                  <a:pt x="23274890" y="8301049"/>
                </a:lnTo>
                <a:lnTo>
                  <a:pt x="21990782" y="8216849"/>
                </a:lnTo>
                <a:cubicBezTo>
                  <a:pt x="21990782" y="8216849"/>
                  <a:pt x="21573078" y="8189485"/>
                  <a:pt x="21466882" y="8182522"/>
                </a:cubicBezTo>
                <a:cubicBezTo>
                  <a:pt x="21222396" y="8166490"/>
                  <a:pt x="20955724" y="8169257"/>
                  <a:pt x="20799970" y="8169870"/>
                </a:cubicBezTo>
                <a:moveTo>
                  <a:pt x="24590780" y="7900799"/>
                </a:moveTo>
                <a:lnTo>
                  <a:pt x="24601948" y="7901538"/>
                </a:lnTo>
                <a:moveTo>
                  <a:pt x="24622718" y="7415910"/>
                </a:moveTo>
                <a:lnTo>
                  <a:pt x="24654496" y="6931005"/>
                </a:lnTo>
                <a:moveTo>
                  <a:pt x="24622718" y="7415910"/>
                </a:moveTo>
                <a:lnTo>
                  <a:pt x="23338452" y="7331710"/>
                </a:lnTo>
                <a:moveTo>
                  <a:pt x="24558998" y="8385232"/>
                </a:moveTo>
                <a:lnTo>
                  <a:pt x="24527218" y="8870137"/>
                </a:lnTo>
                <a:lnTo>
                  <a:pt x="23242952" y="8785953"/>
                </a:lnTo>
                <a:moveTo>
                  <a:pt x="24558998" y="8385232"/>
                </a:moveTo>
                <a:lnTo>
                  <a:pt x="24590780" y="7900799"/>
                </a:lnTo>
                <a:moveTo>
                  <a:pt x="24558998" y="8385232"/>
                </a:moveTo>
                <a:lnTo>
                  <a:pt x="23274890" y="8301049"/>
                </a:lnTo>
                <a:lnTo>
                  <a:pt x="23242952" y="8785953"/>
                </a:lnTo>
                <a:moveTo>
                  <a:pt x="24654496" y="6931005"/>
                </a:moveTo>
                <a:lnTo>
                  <a:pt x="24686434" y="6446571"/>
                </a:lnTo>
                <a:lnTo>
                  <a:pt x="24697448" y="6447294"/>
                </a:lnTo>
                <a:moveTo>
                  <a:pt x="24654496" y="6931005"/>
                </a:moveTo>
                <a:lnTo>
                  <a:pt x="23370388" y="6846837"/>
                </a:lnTo>
                <a:moveTo>
                  <a:pt x="24463500" y="9839444"/>
                </a:moveTo>
                <a:lnTo>
                  <a:pt x="24431722" y="10323878"/>
                </a:lnTo>
                <a:lnTo>
                  <a:pt x="23147614" y="10239694"/>
                </a:lnTo>
                <a:moveTo>
                  <a:pt x="23338608" y="7331726"/>
                </a:moveTo>
                <a:lnTo>
                  <a:pt x="23306672" y="7816631"/>
                </a:lnTo>
                <a:lnTo>
                  <a:pt x="22022564" y="7732447"/>
                </a:lnTo>
                <a:moveTo>
                  <a:pt x="23242952" y="8785953"/>
                </a:moveTo>
                <a:lnTo>
                  <a:pt x="23211172" y="9270371"/>
                </a:lnTo>
                <a:moveTo>
                  <a:pt x="23242952" y="8785953"/>
                </a:moveTo>
                <a:lnTo>
                  <a:pt x="21958844" y="8701770"/>
                </a:lnTo>
                <a:moveTo>
                  <a:pt x="23433948" y="5877498"/>
                </a:moveTo>
                <a:lnTo>
                  <a:pt x="23465886" y="5393065"/>
                </a:lnTo>
                <a:moveTo>
                  <a:pt x="23433948" y="5877498"/>
                </a:moveTo>
                <a:lnTo>
                  <a:pt x="22149840" y="5793299"/>
                </a:lnTo>
                <a:cubicBezTo>
                  <a:pt x="22139300" y="5953996"/>
                  <a:pt x="22133164" y="6038761"/>
                  <a:pt x="22138828" y="6277685"/>
                </a:cubicBezTo>
                <a:moveTo>
                  <a:pt x="23465886" y="5393065"/>
                </a:moveTo>
                <a:lnTo>
                  <a:pt x="22181622" y="5308881"/>
                </a:lnTo>
                <a:moveTo>
                  <a:pt x="23115676" y="10724599"/>
                </a:moveTo>
                <a:lnTo>
                  <a:pt x="23147614" y="10239709"/>
                </a:lnTo>
                <a:moveTo>
                  <a:pt x="23115676" y="10724599"/>
                </a:moveTo>
                <a:lnTo>
                  <a:pt x="24399940" y="10808782"/>
                </a:lnTo>
                <a:lnTo>
                  <a:pt x="24431722" y="10323878"/>
                </a:lnTo>
                <a:moveTo>
                  <a:pt x="23115676" y="10724599"/>
                </a:moveTo>
                <a:lnTo>
                  <a:pt x="21831568" y="10640431"/>
                </a:lnTo>
                <a:moveTo>
                  <a:pt x="23147614" y="10239709"/>
                </a:moveTo>
                <a:lnTo>
                  <a:pt x="23179392" y="9755261"/>
                </a:lnTo>
                <a:moveTo>
                  <a:pt x="23147614" y="10239709"/>
                </a:moveTo>
                <a:lnTo>
                  <a:pt x="21863348" y="10155526"/>
                </a:lnTo>
                <a:moveTo>
                  <a:pt x="23720600" y="1515244"/>
                </a:moveTo>
                <a:lnTo>
                  <a:pt x="23688662" y="2000144"/>
                </a:lnTo>
                <a:moveTo>
                  <a:pt x="23688662" y="2000144"/>
                </a:moveTo>
                <a:lnTo>
                  <a:pt x="24972772" y="2084312"/>
                </a:lnTo>
                <a:moveTo>
                  <a:pt x="23688662" y="2000144"/>
                </a:moveTo>
                <a:lnTo>
                  <a:pt x="22404554" y="1915976"/>
                </a:lnTo>
                <a:moveTo>
                  <a:pt x="23179392" y="9755261"/>
                </a:moveTo>
                <a:lnTo>
                  <a:pt x="23211172" y="9270387"/>
                </a:lnTo>
                <a:moveTo>
                  <a:pt x="23179392" y="9755261"/>
                </a:moveTo>
                <a:lnTo>
                  <a:pt x="21895126" y="9671092"/>
                </a:lnTo>
                <a:lnTo>
                  <a:pt x="21863348" y="10155526"/>
                </a:lnTo>
                <a:moveTo>
                  <a:pt x="23179392" y="9755261"/>
                </a:moveTo>
                <a:lnTo>
                  <a:pt x="24463500" y="9839460"/>
                </a:lnTo>
                <a:lnTo>
                  <a:pt x="24495438" y="9354555"/>
                </a:lnTo>
                <a:lnTo>
                  <a:pt x="24506452" y="9355294"/>
                </a:lnTo>
                <a:moveTo>
                  <a:pt x="23593164" y="3454388"/>
                </a:moveTo>
                <a:lnTo>
                  <a:pt x="23625102" y="2969483"/>
                </a:lnTo>
                <a:moveTo>
                  <a:pt x="23593164" y="3454388"/>
                </a:moveTo>
                <a:lnTo>
                  <a:pt x="22309056" y="3370204"/>
                </a:lnTo>
                <a:moveTo>
                  <a:pt x="23624944" y="2969499"/>
                </a:moveTo>
                <a:lnTo>
                  <a:pt x="22340836" y="2885315"/>
                </a:lnTo>
                <a:moveTo>
                  <a:pt x="23593164" y="3454388"/>
                </a:moveTo>
                <a:lnTo>
                  <a:pt x="23561384" y="3938821"/>
                </a:lnTo>
                <a:lnTo>
                  <a:pt x="22277118" y="3854653"/>
                </a:lnTo>
                <a:moveTo>
                  <a:pt x="23434106" y="5877482"/>
                </a:moveTo>
                <a:lnTo>
                  <a:pt x="23402168" y="6362388"/>
                </a:lnTo>
                <a:lnTo>
                  <a:pt x="22450808" y="6300020"/>
                </a:lnTo>
                <a:cubicBezTo>
                  <a:pt x="22261858" y="6287634"/>
                  <a:pt x="22138828" y="6277685"/>
                  <a:pt x="22138828" y="6277685"/>
                </a:cubicBezTo>
                <a:moveTo>
                  <a:pt x="23370388" y="6846837"/>
                </a:moveTo>
                <a:lnTo>
                  <a:pt x="23402168" y="6362404"/>
                </a:lnTo>
                <a:moveTo>
                  <a:pt x="23370388" y="6846837"/>
                </a:moveTo>
                <a:lnTo>
                  <a:pt x="23338452" y="7331710"/>
                </a:lnTo>
                <a:moveTo>
                  <a:pt x="23370388" y="6846837"/>
                </a:moveTo>
                <a:lnTo>
                  <a:pt x="22133950" y="6765781"/>
                </a:lnTo>
                <a:moveTo>
                  <a:pt x="23529604" y="4423711"/>
                </a:moveTo>
                <a:lnTo>
                  <a:pt x="23561384" y="3938806"/>
                </a:lnTo>
                <a:moveTo>
                  <a:pt x="23529604" y="4423711"/>
                </a:moveTo>
                <a:lnTo>
                  <a:pt x="23497668" y="4908160"/>
                </a:lnTo>
                <a:lnTo>
                  <a:pt x="22213560" y="4823976"/>
                </a:lnTo>
                <a:moveTo>
                  <a:pt x="23529604" y="4423711"/>
                </a:moveTo>
                <a:lnTo>
                  <a:pt x="22245338" y="4339527"/>
                </a:lnTo>
                <a:moveTo>
                  <a:pt x="23338452" y="7331710"/>
                </a:moveTo>
                <a:lnTo>
                  <a:pt x="22387090" y="7269358"/>
                </a:lnTo>
                <a:cubicBezTo>
                  <a:pt x="22198140" y="7256973"/>
                  <a:pt x="22074952" y="7250780"/>
                  <a:pt x="22074952" y="7250780"/>
                </a:cubicBezTo>
                <a:moveTo>
                  <a:pt x="23688662" y="2000160"/>
                </a:moveTo>
                <a:lnTo>
                  <a:pt x="23656882" y="2484594"/>
                </a:lnTo>
                <a:lnTo>
                  <a:pt x="22372618" y="2400410"/>
                </a:lnTo>
                <a:moveTo>
                  <a:pt x="23211172" y="9270371"/>
                </a:moveTo>
                <a:lnTo>
                  <a:pt x="24495438" y="9354555"/>
                </a:lnTo>
                <a:lnTo>
                  <a:pt x="24527218" y="8870122"/>
                </a:lnTo>
                <a:lnTo>
                  <a:pt x="24538388" y="8870860"/>
                </a:lnTo>
                <a:moveTo>
                  <a:pt x="23211172" y="9270371"/>
                </a:moveTo>
                <a:lnTo>
                  <a:pt x="21927064" y="9186203"/>
                </a:lnTo>
                <a:moveTo>
                  <a:pt x="21831568" y="10640431"/>
                </a:moveTo>
                <a:lnTo>
                  <a:pt x="21863348" y="10155526"/>
                </a:lnTo>
                <a:moveTo>
                  <a:pt x="21831568" y="10640431"/>
                </a:moveTo>
                <a:lnTo>
                  <a:pt x="20547302" y="10556248"/>
                </a:lnTo>
                <a:moveTo>
                  <a:pt x="21863348" y="10155526"/>
                </a:moveTo>
                <a:lnTo>
                  <a:pt x="20579240" y="10071342"/>
                </a:lnTo>
                <a:moveTo>
                  <a:pt x="22340836" y="2885299"/>
                </a:moveTo>
                <a:lnTo>
                  <a:pt x="22308898" y="3370204"/>
                </a:lnTo>
                <a:lnTo>
                  <a:pt x="21024790" y="3286020"/>
                </a:lnTo>
                <a:moveTo>
                  <a:pt x="22277118" y="3854653"/>
                </a:moveTo>
                <a:lnTo>
                  <a:pt x="22308898" y="3370220"/>
                </a:lnTo>
                <a:moveTo>
                  <a:pt x="22277118" y="3854653"/>
                </a:moveTo>
                <a:lnTo>
                  <a:pt x="20993010" y="3770469"/>
                </a:lnTo>
                <a:moveTo>
                  <a:pt x="21927064" y="9186203"/>
                </a:moveTo>
                <a:lnTo>
                  <a:pt x="21895126" y="9671109"/>
                </a:lnTo>
                <a:lnTo>
                  <a:pt x="20611018" y="9586925"/>
                </a:lnTo>
                <a:moveTo>
                  <a:pt x="21927064" y="9186203"/>
                </a:moveTo>
                <a:lnTo>
                  <a:pt x="21958844" y="8701770"/>
                </a:lnTo>
                <a:moveTo>
                  <a:pt x="21927064" y="9186203"/>
                </a:moveTo>
                <a:lnTo>
                  <a:pt x="20642800" y="9102019"/>
                </a:lnTo>
                <a:moveTo>
                  <a:pt x="22436334" y="1431070"/>
                </a:moveTo>
                <a:lnTo>
                  <a:pt x="22404554" y="1915976"/>
                </a:lnTo>
                <a:moveTo>
                  <a:pt x="22404554" y="1915976"/>
                </a:moveTo>
                <a:lnTo>
                  <a:pt x="21120288" y="1831793"/>
                </a:lnTo>
                <a:moveTo>
                  <a:pt x="22022564" y="7732431"/>
                </a:moveTo>
                <a:lnTo>
                  <a:pt x="22074952" y="7250780"/>
                </a:lnTo>
                <a:moveTo>
                  <a:pt x="22022564" y="7732431"/>
                </a:moveTo>
                <a:cubicBezTo>
                  <a:pt x="21593216" y="7704297"/>
                  <a:pt x="21304678" y="7722561"/>
                  <a:pt x="21113838" y="7756637"/>
                </a:cubicBezTo>
                <a:moveTo>
                  <a:pt x="22022564" y="7732431"/>
                </a:moveTo>
                <a:lnTo>
                  <a:pt x="21958844" y="8701770"/>
                </a:lnTo>
                <a:moveTo>
                  <a:pt x="22181622" y="5308897"/>
                </a:moveTo>
                <a:lnTo>
                  <a:pt x="22149840" y="5793330"/>
                </a:lnTo>
                <a:cubicBezTo>
                  <a:pt x="21856424" y="5773620"/>
                  <a:pt x="21532644" y="5736873"/>
                  <a:pt x="21252128" y="5650708"/>
                </a:cubicBezTo>
                <a:cubicBezTo>
                  <a:pt x="21357540" y="5840185"/>
                  <a:pt x="21418582" y="5988638"/>
                  <a:pt x="21488592" y="6165430"/>
                </a:cubicBezTo>
                <a:cubicBezTo>
                  <a:pt x="21381138" y="6137688"/>
                  <a:pt x="21161352" y="6067761"/>
                  <a:pt x="21015036" y="5981942"/>
                </a:cubicBezTo>
                <a:moveTo>
                  <a:pt x="22074952" y="7250780"/>
                </a:moveTo>
                <a:cubicBezTo>
                  <a:pt x="22082190" y="7163280"/>
                  <a:pt x="22118848" y="6995808"/>
                  <a:pt x="22133950" y="6766253"/>
                </a:cubicBezTo>
                <a:moveTo>
                  <a:pt x="22138828" y="6277685"/>
                </a:moveTo>
                <a:cubicBezTo>
                  <a:pt x="22133478" y="6440143"/>
                  <a:pt x="22152202" y="6487956"/>
                  <a:pt x="22133950" y="6765781"/>
                </a:cubicBezTo>
                <a:lnTo>
                  <a:pt x="21562380" y="6728310"/>
                </a:lnTo>
                <a:moveTo>
                  <a:pt x="22138828" y="6277685"/>
                </a:moveTo>
                <a:cubicBezTo>
                  <a:pt x="21841164" y="6258180"/>
                  <a:pt x="21640728" y="6210209"/>
                  <a:pt x="21488592" y="6165414"/>
                </a:cubicBezTo>
                <a:moveTo>
                  <a:pt x="22245338" y="4339527"/>
                </a:moveTo>
                <a:lnTo>
                  <a:pt x="22277276" y="3854622"/>
                </a:lnTo>
                <a:moveTo>
                  <a:pt x="22245338" y="4339527"/>
                </a:moveTo>
                <a:lnTo>
                  <a:pt x="20961230" y="4255359"/>
                </a:lnTo>
                <a:moveTo>
                  <a:pt x="21958844" y="8701770"/>
                </a:moveTo>
                <a:lnTo>
                  <a:pt x="20674580" y="8617586"/>
                </a:lnTo>
                <a:lnTo>
                  <a:pt x="20642800" y="9102019"/>
                </a:lnTo>
                <a:moveTo>
                  <a:pt x="22181622" y="5308881"/>
                </a:moveTo>
                <a:lnTo>
                  <a:pt x="22213560" y="4823992"/>
                </a:lnTo>
                <a:moveTo>
                  <a:pt x="22181622" y="5308881"/>
                </a:moveTo>
                <a:lnTo>
                  <a:pt x="21849030" y="5287081"/>
                </a:lnTo>
                <a:cubicBezTo>
                  <a:pt x="21563480" y="5268361"/>
                  <a:pt x="21279506" y="5234222"/>
                  <a:pt x="20995686" y="5199596"/>
                </a:cubicBezTo>
                <a:cubicBezTo>
                  <a:pt x="21087250" y="5355233"/>
                  <a:pt x="21157262" y="5465209"/>
                  <a:pt x="21252128" y="5651180"/>
                </a:cubicBezTo>
                <a:cubicBezTo>
                  <a:pt x="21018026" y="5564309"/>
                  <a:pt x="20878162" y="5518916"/>
                  <a:pt x="20568856" y="5391367"/>
                </a:cubicBezTo>
                <a:cubicBezTo>
                  <a:pt x="20753400" y="5568599"/>
                  <a:pt x="20900344" y="5766437"/>
                  <a:pt x="21015666" y="5981974"/>
                </a:cubicBezTo>
                <a:moveTo>
                  <a:pt x="22245338" y="4339543"/>
                </a:moveTo>
                <a:lnTo>
                  <a:pt x="22213560" y="4823976"/>
                </a:lnTo>
                <a:lnTo>
                  <a:pt x="20929452" y="4739792"/>
                </a:lnTo>
                <a:moveTo>
                  <a:pt x="22372774" y="2400425"/>
                </a:moveTo>
                <a:lnTo>
                  <a:pt x="22340836" y="2885315"/>
                </a:lnTo>
                <a:moveTo>
                  <a:pt x="22340836" y="2885315"/>
                </a:moveTo>
                <a:lnTo>
                  <a:pt x="21056728" y="2801147"/>
                </a:lnTo>
                <a:moveTo>
                  <a:pt x="22404398" y="1915976"/>
                </a:moveTo>
                <a:lnTo>
                  <a:pt x="22372618" y="2400410"/>
                </a:lnTo>
                <a:moveTo>
                  <a:pt x="22372618" y="2400410"/>
                </a:moveTo>
                <a:lnTo>
                  <a:pt x="21088510" y="2316226"/>
                </a:lnTo>
                <a:moveTo>
                  <a:pt x="20579240" y="10071342"/>
                </a:moveTo>
                <a:lnTo>
                  <a:pt x="20611018" y="9586909"/>
                </a:lnTo>
                <a:moveTo>
                  <a:pt x="20579240" y="10071342"/>
                </a:moveTo>
                <a:lnTo>
                  <a:pt x="19294974" y="9987158"/>
                </a:lnTo>
                <a:moveTo>
                  <a:pt x="21562380" y="6728766"/>
                </a:moveTo>
                <a:cubicBezTo>
                  <a:pt x="21551366" y="6897903"/>
                  <a:pt x="21513608" y="7106696"/>
                  <a:pt x="21415592" y="7277186"/>
                </a:cubicBezTo>
                <a:cubicBezTo>
                  <a:pt x="21613040" y="7231777"/>
                  <a:pt x="21816462" y="7233821"/>
                  <a:pt x="22074952" y="7250749"/>
                </a:cubicBezTo>
                <a:moveTo>
                  <a:pt x="20993010" y="3770469"/>
                </a:moveTo>
                <a:lnTo>
                  <a:pt x="21024790" y="3286052"/>
                </a:lnTo>
                <a:moveTo>
                  <a:pt x="20993010" y="3770469"/>
                </a:moveTo>
                <a:lnTo>
                  <a:pt x="19708746" y="3686286"/>
                </a:lnTo>
                <a:moveTo>
                  <a:pt x="20929294" y="4739792"/>
                </a:moveTo>
                <a:cubicBezTo>
                  <a:pt x="20917964" y="4912199"/>
                  <a:pt x="20908998" y="5049006"/>
                  <a:pt x="20995528" y="5199596"/>
                </a:cubicBezTo>
                <a:cubicBezTo>
                  <a:pt x="20674894" y="5140467"/>
                  <a:pt x="20423800" y="5069423"/>
                  <a:pt x="20097030" y="4955313"/>
                </a:cubicBezTo>
                <a:moveTo>
                  <a:pt x="20642800" y="9102019"/>
                </a:moveTo>
                <a:lnTo>
                  <a:pt x="20611018" y="9586925"/>
                </a:lnTo>
                <a:lnTo>
                  <a:pt x="19326754" y="9502741"/>
                </a:lnTo>
                <a:moveTo>
                  <a:pt x="20642800" y="9102019"/>
                </a:moveTo>
                <a:lnTo>
                  <a:pt x="19358692" y="9017836"/>
                </a:lnTo>
                <a:moveTo>
                  <a:pt x="20961230" y="4255359"/>
                </a:moveTo>
                <a:lnTo>
                  <a:pt x="20929294" y="4739792"/>
                </a:lnTo>
                <a:cubicBezTo>
                  <a:pt x="20497428" y="4711469"/>
                  <a:pt x="19951818" y="4635710"/>
                  <a:pt x="19750594" y="4599921"/>
                </a:cubicBezTo>
                <a:moveTo>
                  <a:pt x="20961230" y="4255359"/>
                </a:moveTo>
                <a:lnTo>
                  <a:pt x="20993010" y="3770454"/>
                </a:lnTo>
                <a:moveTo>
                  <a:pt x="20961230" y="4255359"/>
                </a:moveTo>
                <a:lnTo>
                  <a:pt x="19676964" y="4171175"/>
                </a:lnTo>
                <a:moveTo>
                  <a:pt x="21120288" y="1831808"/>
                </a:moveTo>
                <a:lnTo>
                  <a:pt x="21088510" y="2316226"/>
                </a:lnTo>
                <a:moveTo>
                  <a:pt x="21088510" y="2316226"/>
                </a:moveTo>
                <a:lnTo>
                  <a:pt x="21056728" y="2801131"/>
                </a:lnTo>
                <a:moveTo>
                  <a:pt x="21088510" y="2316226"/>
                </a:moveTo>
                <a:lnTo>
                  <a:pt x="19804244" y="2232058"/>
                </a:lnTo>
                <a:moveTo>
                  <a:pt x="21152226" y="1346888"/>
                </a:moveTo>
                <a:lnTo>
                  <a:pt x="21120288" y="1831793"/>
                </a:lnTo>
                <a:moveTo>
                  <a:pt x="21120288" y="1831793"/>
                </a:moveTo>
                <a:lnTo>
                  <a:pt x="19836180" y="1747609"/>
                </a:lnTo>
                <a:moveTo>
                  <a:pt x="21056728" y="2801131"/>
                </a:moveTo>
                <a:lnTo>
                  <a:pt x="21024790" y="3286020"/>
                </a:lnTo>
                <a:moveTo>
                  <a:pt x="21056728" y="2801131"/>
                </a:moveTo>
                <a:lnTo>
                  <a:pt x="19772464" y="2716963"/>
                </a:lnTo>
                <a:moveTo>
                  <a:pt x="21024790" y="3286020"/>
                </a:moveTo>
                <a:lnTo>
                  <a:pt x="19740684" y="3201853"/>
                </a:lnTo>
                <a:moveTo>
                  <a:pt x="21488592" y="6165430"/>
                </a:moveTo>
                <a:cubicBezTo>
                  <a:pt x="21553254" y="6373877"/>
                  <a:pt x="21574808" y="6539981"/>
                  <a:pt x="21562380" y="6728310"/>
                </a:cubicBezTo>
                <a:lnTo>
                  <a:pt x="21184006" y="6703508"/>
                </a:lnTo>
                <a:moveTo>
                  <a:pt x="20674736" y="8617602"/>
                </a:moveTo>
                <a:lnTo>
                  <a:pt x="20690628" y="8375378"/>
                </a:lnTo>
                <a:cubicBezTo>
                  <a:pt x="20698494" y="8254037"/>
                  <a:pt x="20800442" y="8170860"/>
                  <a:pt x="20800442" y="8170860"/>
                </a:cubicBezTo>
                <a:moveTo>
                  <a:pt x="21113838" y="7756165"/>
                </a:moveTo>
                <a:cubicBezTo>
                  <a:pt x="21242846" y="7593346"/>
                  <a:pt x="21324500" y="7452846"/>
                  <a:pt x="21415434" y="7276714"/>
                </a:cubicBezTo>
                <a:moveTo>
                  <a:pt x="20579240" y="10071342"/>
                </a:moveTo>
                <a:lnTo>
                  <a:pt x="20547302" y="10556248"/>
                </a:lnTo>
                <a:lnTo>
                  <a:pt x="19263194" y="10472064"/>
                </a:lnTo>
                <a:moveTo>
                  <a:pt x="20800442" y="8170372"/>
                </a:moveTo>
                <a:cubicBezTo>
                  <a:pt x="20889804" y="8068003"/>
                  <a:pt x="20956826" y="7973588"/>
                  <a:pt x="21113838" y="7756149"/>
                </a:cubicBezTo>
                <a:moveTo>
                  <a:pt x="20096558" y="4954825"/>
                </a:moveTo>
                <a:cubicBezTo>
                  <a:pt x="20285824" y="5109314"/>
                  <a:pt x="20403504" y="5216320"/>
                  <a:pt x="20568856" y="5391367"/>
                </a:cubicBezTo>
                <a:cubicBezTo>
                  <a:pt x="20241144" y="5252722"/>
                  <a:pt x="19875826" y="5134682"/>
                  <a:pt x="19539460" y="4997829"/>
                </a:cubicBezTo>
                <a:moveTo>
                  <a:pt x="19676964" y="4170719"/>
                </a:moveTo>
                <a:cubicBezTo>
                  <a:pt x="19667526" y="4307494"/>
                  <a:pt x="19655726" y="4494000"/>
                  <a:pt x="19750594" y="4599953"/>
                </a:cubicBezTo>
                <a:cubicBezTo>
                  <a:pt x="19382132" y="4537695"/>
                  <a:pt x="18960654" y="4463020"/>
                  <a:pt x="18586528" y="4366498"/>
                </a:cubicBezTo>
                <a:moveTo>
                  <a:pt x="20097188" y="4954857"/>
                </a:moveTo>
                <a:cubicBezTo>
                  <a:pt x="19977620" y="4860912"/>
                  <a:pt x="19850498" y="4709552"/>
                  <a:pt x="19751068" y="4599984"/>
                </a:cubicBezTo>
                <a:moveTo>
                  <a:pt x="19772464" y="2716947"/>
                </a:moveTo>
                <a:lnTo>
                  <a:pt x="19740684" y="3201853"/>
                </a:lnTo>
                <a:lnTo>
                  <a:pt x="18456576" y="3117669"/>
                </a:lnTo>
                <a:moveTo>
                  <a:pt x="20922686" y="7397316"/>
                </a:moveTo>
                <a:cubicBezTo>
                  <a:pt x="21042884" y="7204287"/>
                  <a:pt x="21160722" y="7057673"/>
                  <a:pt x="21184006" y="6703963"/>
                </a:cubicBezTo>
                <a:moveTo>
                  <a:pt x="19877714" y="8295752"/>
                </a:moveTo>
                <a:cubicBezTo>
                  <a:pt x="20050460" y="8157924"/>
                  <a:pt x="20215812" y="8074651"/>
                  <a:pt x="20403032" y="7924611"/>
                </a:cubicBezTo>
                <a:moveTo>
                  <a:pt x="19740684" y="3201853"/>
                </a:moveTo>
                <a:lnTo>
                  <a:pt x="19708746" y="3686286"/>
                </a:lnTo>
                <a:moveTo>
                  <a:pt x="19708746" y="3686286"/>
                </a:moveTo>
                <a:lnTo>
                  <a:pt x="18424638" y="3602118"/>
                </a:lnTo>
                <a:moveTo>
                  <a:pt x="19804244" y="2232042"/>
                </a:moveTo>
                <a:lnTo>
                  <a:pt x="19772464" y="2716947"/>
                </a:lnTo>
                <a:lnTo>
                  <a:pt x="18488356" y="2632764"/>
                </a:lnTo>
                <a:moveTo>
                  <a:pt x="19804244" y="2232042"/>
                </a:moveTo>
                <a:lnTo>
                  <a:pt x="19836180" y="1747625"/>
                </a:lnTo>
                <a:moveTo>
                  <a:pt x="19804244" y="2232042"/>
                </a:moveTo>
                <a:lnTo>
                  <a:pt x="18520136" y="2147874"/>
                </a:lnTo>
                <a:moveTo>
                  <a:pt x="19676964" y="4171175"/>
                </a:moveTo>
                <a:cubicBezTo>
                  <a:pt x="19687664" y="4009535"/>
                  <a:pt x="19698206" y="3847910"/>
                  <a:pt x="19708902" y="3686270"/>
                </a:cubicBezTo>
                <a:moveTo>
                  <a:pt x="19676964" y="4171175"/>
                </a:moveTo>
                <a:lnTo>
                  <a:pt x="19344218" y="4149359"/>
                </a:lnTo>
                <a:cubicBezTo>
                  <a:pt x="19030190" y="4128769"/>
                  <a:pt x="18716954" y="4102584"/>
                  <a:pt x="18402454" y="4077278"/>
                </a:cubicBezTo>
                <a:moveTo>
                  <a:pt x="19326754" y="9502725"/>
                </a:moveTo>
                <a:lnTo>
                  <a:pt x="19294974" y="9987158"/>
                </a:lnTo>
                <a:lnTo>
                  <a:pt x="18010866" y="9902991"/>
                </a:lnTo>
                <a:moveTo>
                  <a:pt x="19263194" y="10472064"/>
                </a:moveTo>
                <a:lnTo>
                  <a:pt x="19294974" y="9987175"/>
                </a:lnTo>
                <a:moveTo>
                  <a:pt x="19263194" y="10472064"/>
                </a:moveTo>
                <a:lnTo>
                  <a:pt x="17978928" y="10387896"/>
                </a:lnTo>
                <a:moveTo>
                  <a:pt x="19326754" y="9502741"/>
                </a:moveTo>
                <a:lnTo>
                  <a:pt x="19358692" y="9017852"/>
                </a:lnTo>
                <a:moveTo>
                  <a:pt x="19326754" y="9502741"/>
                </a:moveTo>
                <a:lnTo>
                  <a:pt x="18042646" y="9418573"/>
                </a:lnTo>
                <a:moveTo>
                  <a:pt x="19358692" y="9017852"/>
                </a:moveTo>
                <a:cubicBezTo>
                  <a:pt x="19367502" y="8882444"/>
                  <a:pt x="19337452" y="8684260"/>
                  <a:pt x="19487700" y="8601900"/>
                </a:cubicBezTo>
                <a:moveTo>
                  <a:pt x="19358692" y="9017852"/>
                </a:moveTo>
                <a:lnTo>
                  <a:pt x="18082764" y="8945975"/>
                </a:lnTo>
                <a:moveTo>
                  <a:pt x="21015666" y="5981974"/>
                </a:moveTo>
                <a:cubicBezTo>
                  <a:pt x="21113838" y="6157335"/>
                  <a:pt x="21203358" y="6410232"/>
                  <a:pt x="21184006" y="6703508"/>
                </a:cubicBezTo>
                <a:moveTo>
                  <a:pt x="21015666" y="5981974"/>
                </a:moveTo>
                <a:cubicBezTo>
                  <a:pt x="20703056" y="5825033"/>
                  <a:pt x="20571532" y="5764661"/>
                  <a:pt x="20273552" y="5643966"/>
                </a:cubicBezTo>
                <a:moveTo>
                  <a:pt x="21184006" y="6703508"/>
                </a:moveTo>
                <a:lnTo>
                  <a:pt x="20666240" y="6669558"/>
                </a:lnTo>
                <a:moveTo>
                  <a:pt x="19487700" y="8602388"/>
                </a:moveTo>
                <a:cubicBezTo>
                  <a:pt x="19601290" y="8504435"/>
                  <a:pt x="19769788" y="8374308"/>
                  <a:pt x="19877244" y="8295720"/>
                </a:cubicBezTo>
                <a:moveTo>
                  <a:pt x="20922686" y="7397331"/>
                </a:moveTo>
                <a:cubicBezTo>
                  <a:pt x="20780304" y="7593613"/>
                  <a:pt x="20608818" y="7770578"/>
                  <a:pt x="20402560" y="7924564"/>
                </a:cubicBezTo>
                <a:cubicBezTo>
                  <a:pt x="20069340" y="8014705"/>
                  <a:pt x="19734546" y="8098637"/>
                  <a:pt x="19330530" y="8180368"/>
                </a:cubicBezTo>
                <a:moveTo>
                  <a:pt x="19867960" y="1262715"/>
                </a:moveTo>
                <a:lnTo>
                  <a:pt x="19836024" y="1747609"/>
                </a:lnTo>
                <a:lnTo>
                  <a:pt x="18551914" y="1663441"/>
                </a:lnTo>
                <a:moveTo>
                  <a:pt x="18583852" y="1178533"/>
                </a:moveTo>
                <a:lnTo>
                  <a:pt x="18551914" y="1663425"/>
                </a:lnTo>
                <a:moveTo>
                  <a:pt x="18551914" y="1663425"/>
                </a:moveTo>
                <a:lnTo>
                  <a:pt x="18520136" y="2147874"/>
                </a:lnTo>
                <a:moveTo>
                  <a:pt x="18551914" y="1663425"/>
                </a:moveTo>
                <a:lnTo>
                  <a:pt x="17267806" y="1579257"/>
                </a:lnTo>
                <a:moveTo>
                  <a:pt x="18586528" y="4366498"/>
                </a:moveTo>
                <a:cubicBezTo>
                  <a:pt x="18501886" y="4301647"/>
                  <a:pt x="18395532" y="4183639"/>
                  <a:pt x="18402610" y="4076822"/>
                </a:cubicBezTo>
                <a:moveTo>
                  <a:pt x="18586528" y="4366498"/>
                </a:moveTo>
                <a:cubicBezTo>
                  <a:pt x="18696814" y="4464058"/>
                  <a:pt x="18814652" y="4528233"/>
                  <a:pt x="18962698" y="4627804"/>
                </a:cubicBezTo>
                <a:moveTo>
                  <a:pt x="18586528" y="4366498"/>
                </a:moveTo>
                <a:cubicBezTo>
                  <a:pt x="18174328" y="4266063"/>
                  <a:pt x="17576012" y="4182618"/>
                  <a:pt x="17200786" y="4158019"/>
                </a:cubicBezTo>
                <a:moveTo>
                  <a:pt x="18488356" y="2632764"/>
                </a:moveTo>
                <a:lnTo>
                  <a:pt x="18456418" y="3117653"/>
                </a:lnTo>
                <a:lnTo>
                  <a:pt x="17172310" y="3033485"/>
                </a:lnTo>
                <a:moveTo>
                  <a:pt x="18488356" y="2632764"/>
                </a:moveTo>
                <a:lnTo>
                  <a:pt x="18520136" y="2147874"/>
                </a:lnTo>
                <a:moveTo>
                  <a:pt x="18488356" y="2632764"/>
                </a:moveTo>
                <a:lnTo>
                  <a:pt x="17204090" y="2548596"/>
                </a:lnTo>
                <a:moveTo>
                  <a:pt x="18424638" y="3602118"/>
                </a:moveTo>
                <a:cubicBezTo>
                  <a:pt x="18414252" y="3760002"/>
                  <a:pt x="18400566" y="3919096"/>
                  <a:pt x="18402454" y="4077310"/>
                </a:cubicBezTo>
                <a:cubicBezTo>
                  <a:pt x="18142862" y="4060303"/>
                  <a:pt x="17820972" y="3995420"/>
                  <a:pt x="17125426" y="3949824"/>
                </a:cubicBezTo>
                <a:moveTo>
                  <a:pt x="18424638" y="3602118"/>
                </a:moveTo>
                <a:lnTo>
                  <a:pt x="18456418" y="3117684"/>
                </a:lnTo>
                <a:moveTo>
                  <a:pt x="18424638" y="3602118"/>
                </a:moveTo>
                <a:lnTo>
                  <a:pt x="17140372" y="3517934"/>
                </a:lnTo>
                <a:moveTo>
                  <a:pt x="18520136" y="2147874"/>
                </a:moveTo>
                <a:lnTo>
                  <a:pt x="17236028" y="2063691"/>
                </a:lnTo>
                <a:moveTo>
                  <a:pt x="18962698" y="4627804"/>
                </a:moveTo>
                <a:cubicBezTo>
                  <a:pt x="18452484" y="4476271"/>
                  <a:pt x="17899478" y="4393438"/>
                  <a:pt x="17358900" y="4323180"/>
                </a:cubicBezTo>
                <a:moveTo>
                  <a:pt x="18962698" y="4627804"/>
                </a:moveTo>
                <a:cubicBezTo>
                  <a:pt x="19316844" y="4721607"/>
                  <a:pt x="19735176" y="4843136"/>
                  <a:pt x="20096558" y="4954825"/>
                </a:cubicBezTo>
                <a:moveTo>
                  <a:pt x="20273552" y="5643966"/>
                </a:moveTo>
                <a:cubicBezTo>
                  <a:pt x="20016636" y="5426213"/>
                  <a:pt x="19872838" y="5181521"/>
                  <a:pt x="19539618" y="4997813"/>
                </a:cubicBezTo>
                <a:moveTo>
                  <a:pt x="20273552" y="5643966"/>
                </a:moveTo>
                <a:cubicBezTo>
                  <a:pt x="20516466" y="5929492"/>
                  <a:pt x="20651138" y="6314747"/>
                  <a:pt x="20666240" y="6669558"/>
                </a:cubicBezTo>
                <a:moveTo>
                  <a:pt x="20273552" y="5643966"/>
                </a:moveTo>
                <a:cubicBezTo>
                  <a:pt x="19906822" y="5476415"/>
                  <a:pt x="18967574" y="5169246"/>
                  <a:pt x="18261016" y="5022238"/>
                </a:cubicBezTo>
                <a:moveTo>
                  <a:pt x="18710344" y="8471883"/>
                </a:moveTo>
                <a:cubicBezTo>
                  <a:pt x="18556478" y="8541324"/>
                  <a:pt x="18429358" y="8603095"/>
                  <a:pt x="18303180" y="8681872"/>
                </a:cubicBezTo>
                <a:cubicBezTo>
                  <a:pt x="18818744" y="8637092"/>
                  <a:pt x="19114518" y="8613672"/>
                  <a:pt x="19487858" y="8602371"/>
                </a:cubicBezTo>
                <a:moveTo>
                  <a:pt x="20666084" y="6669542"/>
                </a:moveTo>
                <a:cubicBezTo>
                  <a:pt x="20601894" y="7064322"/>
                  <a:pt x="20421124" y="7381850"/>
                  <a:pt x="20142814" y="7635092"/>
                </a:cubicBezTo>
                <a:cubicBezTo>
                  <a:pt x="19912798" y="7819036"/>
                  <a:pt x="19631970" y="8035893"/>
                  <a:pt x="19330530" y="8179866"/>
                </a:cubicBezTo>
                <a:moveTo>
                  <a:pt x="18710188" y="8471868"/>
                </a:moveTo>
                <a:cubicBezTo>
                  <a:pt x="18917546" y="8365491"/>
                  <a:pt x="19136072" y="8285692"/>
                  <a:pt x="19330530" y="8179881"/>
                </a:cubicBezTo>
                <a:cubicBezTo>
                  <a:pt x="18705310" y="8351566"/>
                  <a:pt x="18042646" y="8354253"/>
                  <a:pt x="17402166" y="8385201"/>
                </a:cubicBezTo>
                <a:moveTo>
                  <a:pt x="18082764" y="8945975"/>
                </a:moveTo>
                <a:cubicBezTo>
                  <a:pt x="18090788" y="8781819"/>
                  <a:pt x="18303180" y="8681400"/>
                  <a:pt x="18303180" y="8681400"/>
                </a:cubicBezTo>
                <a:moveTo>
                  <a:pt x="18082764" y="8945975"/>
                </a:moveTo>
                <a:cubicBezTo>
                  <a:pt x="18062312" y="9102727"/>
                  <a:pt x="18053030" y="9261161"/>
                  <a:pt x="18042646" y="9418573"/>
                </a:cubicBezTo>
                <a:moveTo>
                  <a:pt x="18082764" y="8945975"/>
                </a:moveTo>
                <a:lnTo>
                  <a:pt x="16799444" y="8904669"/>
                </a:lnTo>
                <a:moveTo>
                  <a:pt x="17978928" y="10387896"/>
                </a:moveTo>
                <a:lnTo>
                  <a:pt x="18010866" y="9902991"/>
                </a:lnTo>
                <a:moveTo>
                  <a:pt x="17978928" y="10387896"/>
                </a:moveTo>
                <a:lnTo>
                  <a:pt x="16694821" y="10303712"/>
                </a:lnTo>
                <a:moveTo>
                  <a:pt x="18010866" y="9902991"/>
                </a:moveTo>
                <a:lnTo>
                  <a:pt x="18042646" y="9418558"/>
                </a:lnTo>
                <a:lnTo>
                  <a:pt x="16758537" y="9334389"/>
                </a:lnTo>
                <a:moveTo>
                  <a:pt x="18010866" y="9902991"/>
                </a:moveTo>
                <a:lnTo>
                  <a:pt x="16726601" y="9818807"/>
                </a:lnTo>
                <a:moveTo>
                  <a:pt x="20666240" y="6669558"/>
                </a:moveTo>
                <a:lnTo>
                  <a:pt x="18998410" y="6560226"/>
                </a:lnTo>
                <a:cubicBezTo>
                  <a:pt x="19071410" y="6022981"/>
                  <a:pt x="18680766" y="5479810"/>
                  <a:pt x="18261646" y="5022270"/>
                </a:cubicBezTo>
                <a:cubicBezTo>
                  <a:pt x="17022690" y="4759439"/>
                  <a:pt x="15696104" y="4672474"/>
                  <a:pt x="14385738" y="4808195"/>
                </a:cubicBezTo>
                <a:cubicBezTo>
                  <a:pt x="13764185" y="4875200"/>
                  <a:pt x="13115098" y="5020855"/>
                  <a:pt x="12486354" y="5165033"/>
                </a:cubicBezTo>
                <a:moveTo>
                  <a:pt x="18962698" y="4628276"/>
                </a:moveTo>
                <a:cubicBezTo>
                  <a:pt x="19153850" y="4751848"/>
                  <a:pt x="19357590" y="4863537"/>
                  <a:pt x="19539460" y="4998269"/>
                </a:cubicBezTo>
                <a:cubicBezTo>
                  <a:pt x="18914556" y="4832621"/>
                  <a:pt x="18305540" y="4612024"/>
                  <a:pt x="17654520" y="4542992"/>
                </a:cubicBezTo>
                <a:moveTo>
                  <a:pt x="16758537" y="9334389"/>
                </a:moveTo>
                <a:cubicBezTo>
                  <a:pt x="16767978" y="9190557"/>
                  <a:pt x="16773642" y="9046490"/>
                  <a:pt x="16800072" y="8904700"/>
                </a:cubicBezTo>
                <a:moveTo>
                  <a:pt x="16758537" y="9334389"/>
                </a:moveTo>
                <a:lnTo>
                  <a:pt x="16726601" y="9818807"/>
                </a:lnTo>
                <a:moveTo>
                  <a:pt x="16758537" y="9334389"/>
                </a:moveTo>
                <a:lnTo>
                  <a:pt x="15474273" y="9250206"/>
                </a:lnTo>
                <a:moveTo>
                  <a:pt x="16726601" y="9818807"/>
                </a:moveTo>
                <a:lnTo>
                  <a:pt x="16694821" y="10303712"/>
                </a:lnTo>
                <a:lnTo>
                  <a:pt x="15410602" y="10219528"/>
                </a:lnTo>
                <a:moveTo>
                  <a:pt x="17267806" y="1579257"/>
                </a:moveTo>
                <a:lnTo>
                  <a:pt x="17236028" y="2063691"/>
                </a:lnTo>
                <a:moveTo>
                  <a:pt x="17267806" y="1579257"/>
                </a:moveTo>
                <a:lnTo>
                  <a:pt x="17299588" y="1094351"/>
                </a:lnTo>
                <a:moveTo>
                  <a:pt x="17267806" y="1579257"/>
                </a:moveTo>
                <a:lnTo>
                  <a:pt x="15983542" y="1495075"/>
                </a:lnTo>
                <a:moveTo>
                  <a:pt x="17236028" y="2063691"/>
                </a:moveTo>
                <a:lnTo>
                  <a:pt x="17204090" y="2548596"/>
                </a:lnTo>
                <a:moveTo>
                  <a:pt x="17236028" y="2063691"/>
                </a:moveTo>
                <a:lnTo>
                  <a:pt x="15951762" y="1979523"/>
                </a:lnTo>
                <a:moveTo>
                  <a:pt x="16799444" y="8904669"/>
                </a:moveTo>
                <a:cubicBezTo>
                  <a:pt x="16806208" y="8803479"/>
                  <a:pt x="16902020" y="8707648"/>
                  <a:pt x="16902020" y="8707648"/>
                </a:cubicBezTo>
                <a:cubicBezTo>
                  <a:pt x="17401064" y="8736600"/>
                  <a:pt x="17938966" y="8716811"/>
                  <a:pt x="18303180" y="8681872"/>
                </a:cubicBezTo>
                <a:moveTo>
                  <a:pt x="16799444" y="8904669"/>
                </a:moveTo>
                <a:lnTo>
                  <a:pt x="15487866" y="8816367"/>
                </a:lnTo>
                <a:moveTo>
                  <a:pt x="17204090" y="2548596"/>
                </a:moveTo>
                <a:lnTo>
                  <a:pt x="15919982" y="2464396"/>
                </a:lnTo>
                <a:moveTo>
                  <a:pt x="17172310" y="3033501"/>
                </a:moveTo>
                <a:lnTo>
                  <a:pt x="17140372" y="3517934"/>
                </a:lnTo>
                <a:moveTo>
                  <a:pt x="17140372" y="3517934"/>
                </a:moveTo>
                <a:lnTo>
                  <a:pt x="15856264" y="3433766"/>
                </a:lnTo>
                <a:moveTo>
                  <a:pt x="16726601" y="9818807"/>
                </a:moveTo>
                <a:lnTo>
                  <a:pt x="15442492" y="9734623"/>
                </a:lnTo>
                <a:moveTo>
                  <a:pt x="17204090" y="2548580"/>
                </a:moveTo>
                <a:lnTo>
                  <a:pt x="17172310" y="3033485"/>
                </a:lnTo>
                <a:lnTo>
                  <a:pt x="15888202" y="2949301"/>
                </a:lnTo>
                <a:moveTo>
                  <a:pt x="17402166" y="8385673"/>
                </a:moveTo>
                <a:cubicBezTo>
                  <a:pt x="17653260" y="8263326"/>
                  <a:pt x="17771570" y="8190160"/>
                  <a:pt x="18066716" y="7989305"/>
                </a:cubicBezTo>
                <a:cubicBezTo>
                  <a:pt x="18542318" y="7588065"/>
                  <a:pt x="18944448" y="7143900"/>
                  <a:pt x="18998254" y="6560697"/>
                </a:cubicBezTo>
                <a:moveTo>
                  <a:pt x="16901864" y="8707648"/>
                </a:moveTo>
                <a:cubicBezTo>
                  <a:pt x="16967942" y="8634813"/>
                  <a:pt x="17080274" y="8564539"/>
                  <a:pt x="17080274" y="8564539"/>
                </a:cubicBezTo>
                <a:cubicBezTo>
                  <a:pt x="17222026" y="8475483"/>
                  <a:pt x="17402166" y="8385201"/>
                  <a:pt x="17402166" y="8385201"/>
                </a:cubicBezTo>
                <a:moveTo>
                  <a:pt x="17200630" y="4158019"/>
                </a:moveTo>
                <a:cubicBezTo>
                  <a:pt x="17171838" y="4110489"/>
                  <a:pt x="17138798" y="4037748"/>
                  <a:pt x="17124954" y="3949321"/>
                </a:cubicBezTo>
                <a:moveTo>
                  <a:pt x="17140530" y="3517934"/>
                </a:moveTo>
                <a:cubicBezTo>
                  <a:pt x="17131562" y="3614268"/>
                  <a:pt x="17115514" y="3840963"/>
                  <a:pt x="17125426" y="3949352"/>
                </a:cubicBezTo>
                <a:moveTo>
                  <a:pt x="17201730" y="4158098"/>
                </a:moveTo>
                <a:cubicBezTo>
                  <a:pt x="17261516" y="4239657"/>
                  <a:pt x="17302262" y="4282802"/>
                  <a:pt x="17358742" y="4323196"/>
                </a:cubicBezTo>
                <a:cubicBezTo>
                  <a:pt x="16736670" y="4270652"/>
                  <a:pt x="16113494" y="4230729"/>
                  <a:pt x="15489707" y="4211020"/>
                </a:cubicBezTo>
                <a:moveTo>
                  <a:pt x="17654676" y="4542552"/>
                </a:moveTo>
                <a:cubicBezTo>
                  <a:pt x="17526770" y="4444772"/>
                  <a:pt x="17463050" y="4407663"/>
                  <a:pt x="17359372" y="4322756"/>
                </a:cubicBezTo>
                <a:moveTo>
                  <a:pt x="18261488" y="5022254"/>
                </a:moveTo>
                <a:cubicBezTo>
                  <a:pt x="18060580" y="4859467"/>
                  <a:pt x="17900422" y="4703092"/>
                  <a:pt x="17654520" y="4542536"/>
                </a:cubicBezTo>
                <a:moveTo>
                  <a:pt x="10846386" y="1158336"/>
                </a:moveTo>
                <a:lnTo>
                  <a:pt x="10814575" y="1642772"/>
                </a:lnTo>
                <a:moveTo>
                  <a:pt x="10846386" y="1158336"/>
                </a:moveTo>
                <a:lnTo>
                  <a:pt x="10878229" y="673426"/>
                </a:lnTo>
                <a:moveTo>
                  <a:pt x="10846386" y="1158336"/>
                </a:moveTo>
                <a:lnTo>
                  <a:pt x="9562215" y="1074149"/>
                </a:lnTo>
                <a:moveTo>
                  <a:pt x="10846386" y="1158336"/>
                </a:moveTo>
                <a:lnTo>
                  <a:pt x="12130541" y="1242500"/>
                </a:lnTo>
                <a:moveTo>
                  <a:pt x="10814575" y="1642772"/>
                </a:moveTo>
                <a:lnTo>
                  <a:pt x="10782701" y="2127677"/>
                </a:lnTo>
                <a:moveTo>
                  <a:pt x="10814575" y="1642772"/>
                </a:moveTo>
                <a:lnTo>
                  <a:pt x="12098730" y="1726956"/>
                </a:lnTo>
                <a:moveTo>
                  <a:pt x="10814575" y="1642772"/>
                </a:moveTo>
                <a:lnTo>
                  <a:pt x="9530388" y="1558589"/>
                </a:lnTo>
                <a:moveTo>
                  <a:pt x="10305289" y="9397889"/>
                </a:moveTo>
                <a:lnTo>
                  <a:pt x="10273446" y="9882778"/>
                </a:lnTo>
                <a:lnTo>
                  <a:pt x="8989260" y="9798610"/>
                </a:lnTo>
                <a:moveTo>
                  <a:pt x="10555692" y="5519827"/>
                </a:moveTo>
                <a:cubicBezTo>
                  <a:pt x="10544160" y="5695519"/>
                  <a:pt x="10517886" y="5844350"/>
                  <a:pt x="10507424" y="6003648"/>
                </a:cubicBezTo>
                <a:moveTo>
                  <a:pt x="10555614" y="5519341"/>
                </a:moveTo>
                <a:cubicBezTo>
                  <a:pt x="10555614" y="5519341"/>
                  <a:pt x="10567822" y="5399226"/>
                  <a:pt x="10575783" y="5277870"/>
                </a:cubicBezTo>
                <a:lnTo>
                  <a:pt x="10591688" y="5035661"/>
                </a:lnTo>
                <a:cubicBezTo>
                  <a:pt x="10832070" y="5051426"/>
                  <a:pt x="11198942" y="5080645"/>
                  <a:pt x="11548855" y="5027347"/>
                </a:cubicBezTo>
                <a:moveTo>
                  <a:pt x="10337085" y="8913455"/>
                </a:moveTo>
                <a:lnTo>
                  <a:pt x="10305258" y="9397889"/>
                </a:lnTo>
                <a:lnTo>
                  <a:pt x="9021087" y="9313705"/>
                </a:lnTo>
                <a:moveTo>
                  <a:pt x="10337085" y="8913455"/>
                </a:moveTo>
                <a:lnTo>
                  <a:pt x="10368913" y="8428566"/>
                </a:lnTo>
                <a:moveTo>
                  <a:pt x="10337085" y="8913455"/>
                </a:moveTo>
                <a:lnTo>
                  <a:pt x="9052883" y="8829287"/>
                </a:lnTo>
                <a:moveTo>
                  <a:pt x="10464347" y="6974794"/>
                </a:moveTo>
                <a:lnTo>
                  <a:pt x="10432536" y="7459228"/>
                </a:lnTo>
                <a:lnTo>
                  <a:pt x="9148365" y="7375059"/>
                </a:lnTo>
                <a:lnTo>
                  <a:pt x="9116522" y="7859965"/>
                </a:lnTo>
                <a:moveTo>
                  <a:pt x="10782731" y="2127662"/>
                </a:moveTo>
                <a:lnTo>
                  <a:pt x="10750888" y="2612551"/>
                </a:lnTo>
                <a:moveTo>
                  <a:pt x="10750888" y="2612551"/>
                </a:moveTo>
                <a:lnTo>
                  <a:pt x="12035043" y="2696735"/>
                </a:lnTo>
                <a:moveTo>
                  <a:pt x="10750888" y="2612551"/>
                </a:moveTo>
                <a:lnTo>
                  <a:pt x="9466717" y="2528383"/>
                </a:lnTo>
                <a:moveTo>
                  <a:pt x="10687250" y="3581905"/>
                </a:moveTo>
                <a:lnTo>
                  <a:pt x="10655422" y="4066339"/>
                </a:lnTo>
                <a:moveTo>
                  <a:pt x="10687250" y="3581905"/>
                </a:moveTo>
                <a:lnTo>
                  <a:pt x="10719077" y="3096984"/>
                </a:lnTo>
                <a:moveTo>
                  <a:pt x="10687250" y="3581905"/>
                </a:moveTo>
                <a:lnTo>
                  <a:pt x="9403063" y="3497721"/>
                </a:lnTo>
                <a:moveTo>
                  <a:pt x="10655422" y="4066339"/>
                </a:moveTo>
                <a:lnTo>
                  <a:pt x="9371251" y="3982155"/>
                </a:lnTo>
                <a:moveTo>
                  <a:pt x="10655422" y="4066339"/>
                </a:moveTo>
                <a:lnTo>
                  <a:pt x="11939593" y="4150506"/>
                </a:lnTo>
                <a:moveTo>
                  <a:pt x="10368881" y="8428566"/>
                </a:moveTo>
                <a:lnTo>
                  <a:pt x="10400693" y="7944132"/>
                </a:lnTo>
                <a:lnTo>
                  <a:pt x="11684864" y="8028316"/>
                </a:lnTo>
                <a:moveTo>
                  <a:pt x="10368881" y="8428566"/>
                </a:moveTo>
                <a:lnTo>
                  <a:pt x="11653068" y="8512733"/>
                </a:lnTo>
                <a:moveTo>
                  <a:pt x="10368881" y="8428566"/>
                </a:moveTo>
                <a:lnTo>
                  <a:pt x="9084726" y="8344382"/>
                </a:lnTo>
                <a:moveTo>
                  <a:pt x="10491817" y="6490549"/>
                </a:moveTo>
                <a:cubicBezTo>
                  <a:pt x="10491817" y="6490549"/>
                  <a:pt x="10488198" y="6611245"/>
                  <a:pt x="10480222" y="6732585"/>
                </a:cubicBezTo>
                <a:lnTo>
                  <a:pt x="10464317" y="6974794"/>
                </a:lnTo>
                <a:lnTo>
                  <a:pt x="9180145" y="6890626"/>
                </a:lnTo>
                <a:moveTo>
                  <a:pt x="10507361" y="6003632"/>
                </a:moveTo>
                <a:cubicBezTo>
                  <a:pt x="10493548" y="6213997"/>
                  <a:pt x="10503444" y="6314386"/>
                  <a:pt x="10491943" y="6489606"/>
                </a:cubicBezTo>
                <a:cubicBezTo>
                  <a:pt x="10491943" y="6489606"/>
                  <a:pt x="10353966" y="6480568"/>
                  <a:pt x="10163458" y="6468073"/>
                </a:cubicBezTo>
                <a:lnTo>
                  <a:pt x="9212005" y="6405705"/>
                </a:lnTo>
                <a:moveTo>
                  <a:pt x="10507361" y="6003632"/>
                </a:moveTo>
                <a:lnTo>
                  <a:pt x="9243879" y="5920832"/>
                </a:lnTo>
                <a:moveTo>
                  <a:pt x="10507361" y="6003632"/>
                </a:moveTo>
                <a:lnTo>
                  <a:pt x="11123456" y="6044043"/>
                </a:lnTo>
                <a:moveTo>
                  <a:pt x="10782701" y="2127677"/>
                </a:moveTo>
                <a:lnTo>
                  <a:pt x="12066887" y="2211845"/>
                </a:lnTo>
                <a:moveTo>
                  <a:pt x="10782701" y="2127677"/>
                </a:moveTo>
                <a:lnTo>
                  <a:pt x="9498529" y="2043493"/>
                </a:lnTo>
                <a:moveTo>
                  <a:pt x="10750841" y="2612582"/>
                </a:moveTo>
                <a:lnTo>
                  <a:pt x="10719029" y="3097016"/>
                </a:lnTo>
                <a:lnTo>
                  <a:pt x="9434859" y="3012832"/>
                </a:lnTo>
                <a:moveTo>
                  <a:pt x="10623563" y="4551244"/>
                </a:moveTo>
                <a:lnTo>
                  <a:pt x="10591752" y="5035661"/>
                </a:lnTo>
                <a:lnTo>
                  <a:pt x="9307550" y="4951493"/>
                </a:lnTo>
                <a:lnTo>
                  <a:pt x="9275706" y="5436398"/>
                </a:lnTo>
                <a:moveTo>
                  <a:pt x="10623563" y="4551244"/>
                </a:moveTo>
                <a:lnTo>
                  <a:pt x="10655390" y="4066339"/>
                </a:lnTo>
                <a:moveTo>
                  <a:pt x="10623563" y="4551244"/>
                </a:moveTo>
                <a:lnTo>
                  <a:pt x="9339392" y="4467060"/>
                </a:lnTo>
                <a:moveTo>
                  <a:pt x="10432504" y="7459228"/>
                </a:moveTo>
                <a:lnTo>
                  <a:pt x="10400662" y="7944132"/>
                </a:lnTo>
                <a:lnTo>
                  <a:pt x="9116475" y="7859949"/>
                </a:lnTo>
                <a:moveTo>
                  <a:pt x="5662142" y="1780254"/>
                </a:moveTo>
                <a:cubicBezTo>
                  <a:pt x="5661451" y="2001826"/>
                  <a:pt x="5657045" y="2068815"/>
                  <a:pt x="5658194" y="2262267"/>
                </a:cubicBezTo>
                <a:moveTo>
                  <a:pt x="5662142" y="1780254"/>
                </a:moveTo>
                <a:cubicBezTo>
                  <a:pt x="5366902" y="1715262"/>
                  <a:pt x="4894730" y="1114507"/>
                  <a:pt x="4402830" y="1082261"/>
                </a:cubicBezTo>
                <a:moveTo>
                  <a:pt x="5662142" y="1780254"/>
                </a:moveTo>
                <a:cubicBezTo>
                  <a:pt x="5753786" y="1805088"/>
                  <a:pt x="6336921" y="1836241"/>
                  <a:pt x="6479129" y="1845561"/>
                </a:cubicBezTo>
                <a:lnTo>
                  <a:pt x="6930187" y="1875142"/>
                </a:lnTo>
                <a:moveTo>
                  <a:pt x="5658194" y="2262267"/>
                </a:moveTo>
                <a:cubicBezTo>
                  <a:pt x="5209165" y="2055926"/>
                  <a:pt x="4912304" y="1707105"/>
                  <a:pt x="4366723" y="1631817"/>
                </a:cubicBezTo>
                <a:moveTo>
                  <a:pt x="5658194" y="2262267"/>
                </a:moveTo>
                <a:cubicBezTo>
                  <a:pt x="5740618" y="2281333"/>
                  <a:pt x="5827447" y="2289821"/>
                  <a:pt x="5911822" y="2295353"/>
                </a:cubicBezTo>
                <a:lnTo>
                  <a:pt x="6898297" y="2360015"/>
                </a:lnTo>
                <a:lnTo>
                  <a:pt x="6930156" y="1875126"/>
                </a:lnTo>
                <a:moveTo>
                  <a:pt x="5455005" y="4698958"/>
                </a:moveTo>
                <a:lnTo>
                  <a:pt x="5486817" y="4214524"/>
                </a:lnTo>
                <a:lnTo>
                  <a:pt x="6771003" y="4298708"/>
                </a:lnTo>
                <a:moveTo>
                  <a:pt x="5455005" y="4698958"/>
                </a:moveTo>
                <a:lnTo>
                  <a:pt x="6739176" y="4783142"/>
                </a:lnTo>
                <a:moveTo>
                  <a:pt x="5455005" y="4698958"/>
                </a:moveTo>
                <a:lnTo>
                  <a:pt x="5254428" y="4685802"/>
                </a:lnTo>
                <a:cubicBezTo>
                  <a:pt x="4865467" y="4660308"/>
                  <a:pt x="4587831" y="4887224"/>
                  <a:pt x="4154818" y="4858838"/>
                </a:cubicBezTo>
                <a:moveTo>
                  <a:pt x="5455005" y="4698958"/>
                </a:moveTo>
                <a:lnTo>
                  <a:pt x="5391335" y="5668281"/>
                </a:lnTo>
                <a:lnTo>
                  <a:pt x="4107179" y="5584097"/>
                </a:lnTo>
                <a:moveTo>
                  <a:pt x="5200355" y="8576736"/>
                </a:moveTo>
                <a:lnTo>
                  <a:pt x="5168543" y="9061169"/>
                </a:lnTo>
                <a:lnTo>
                  <a:pt x="3884356" y="8976986"/>
                </a:lnTo>
                <a:moveTo>
                  <a:pt x="5200355" y="8576736"/>
                </a:moveTo>
                <a:lnTo>
                  <a:pt x="5232197" y="8091847"/>
                </a:lnTo>
                <a:moveTo>
                  <a:pt x="5200355" y="8576736"/>
                </a:moveTo>
                <a:lnTo>
                  <a:pt x="3916184" y="8492568"/>
                </a:lnTo>
                <a:moveTo>
                  <a:pt x="5658225" y="2262283"/>
                </a:moveTo>
                <a:cubicBezTo>
                  <a:pt x="5658194" y="2449087"/>
                  <a:pt x="5652908" y="2602602"/>
                  <a:pt x="5637521" y="2763912"/>
                </a:cubicBezTo>
                <a:lnTo>
                  <a:pt x="6866517" y="2844465"/>
                </a:lnTo>
                <a:moveTo>
                  <a:pt x="5592415" y="3263937"/>
                </a:moveTo>
                <a:cubicBezTo>
                  <a:pt x="5613214" y="3060614"/>
                  <a:pt x="5631338" y="2930534"/>
                  <a:pt x="5637489" y="2763896"/>
                </a:cubicBezTo>
                <a:lnTo>
                  <a:pt x="4298128" y="2676113"/>
                </a:lnTo>
                <a:moveTo>
                  <a:pt x="5592415" y="3263937"/>
                </a:moveTo>
                <a:cubicBezTo>
                  <a:pt x="5579797" y="3456022"/>
                  <a:pt x="5550314" y="3580648"/>
                  <a:pt x="5533291" y="3742335"/>
                </a:cubicBezTo>
                <a:moveTo>
                  <a:pt x="5592415" y="3263937"/>
                </a:moveTo>
                <a:cubicBezTo>
                  <a:pt x="5662882" y="3261957"/>
                  <a:pt x="5679433" y="3253171"/>
                  <a:pt x="5848183" y="3264220"/>
                </a:cubicBezTo>
                <a:lnTo>
                  <a:pt x="6834674" y="3328898"/>
                </a:lnTo>
                <a:moveTo>
                  <a:pt x="5709640" y="821626"/>
                </a:moveTo>
                <a:lnTo>
                  <a:pt x="5677828" y="1306056"/>
                </a:lnTo>
                <a:lnTo>
                  <a:pt x="5622638" y="1302440"/>
                </a:lnTo>
                <a:cubicBezTo>
                  <a:pt x="5587616" y="1300143"/>
                  <a:pt x="5549244" y="1283984"/>
                  <a:pt x="5501527" y="1263917"/>
                </a:cubicBezTo>
                <a:cubicBezTo>
                  <a:pt x="5167678" y="1064647"/>
                  <a:pt x="4864665" y="809525"/>
                  <a:pt x="4424446" y="752908"/>
                </a:cubicBezTo>
                <a:moveTo>
                  <a:pt x="5709640" y="821626"/>
                </a:moveTo>
                <a:lnTo>
                  <a:pt x="5741483" y="336712"/>
                </a:lnTo>
                <a:moveTo>
                  <a:pt x="5709640" y="821626"/>
                </a:moveTo>
                <a:lnTo>
                  <a:pt x="5509063" y="808462"/>
                </a:lnTo>
                <a:cubicBezTo>
                  <a:pt x="5146092" y="784671"/>
                  <a:pt x="4841081" y="519528"/>
                  <a:pt x="4441500" y="493335"/>
                </a:cubicBezTo>
                <a:moveTo>
                  <a:pt x="5136715" y="9546074"/>
                </a:moveTo>
                <a:lnTo>
                  <a:pt x="5168575" y="9061169"/>
                </a:lnTo>
                <a:moveTo>
                  <a:pt x="5136715" y="9546074"/>
                </a:moveTo>
                <a:lnTo>
                  <a:pt x="6420871" y="9630242"/>
                </a:lnTo>
                <a:lnTo>
                  <a:pt x="6452730" y="9145353"/>
                </a:lnTo>
                <a:lnTo>
                  <a:pt x="7736885" y="9229521"/>
                </a:lnTo>
                <a:moveTo>
                  <a:pt x="5136715" y="9546074"/>
                </a:moveTo>
                <a:lnTo>
                  <a:pt x="3852544" y="9461890"/>
                </a:lnTo>
                <a:moveTo>
                  <a:pt x="5486801" y="4214981"/>
                </a:moveTo>
                <a:lnTo>
                  <a:pt x="5491773" y="4139080"/>
                </a:lnTo>
                <a:cubicBezTo>
                  <a:pt x="5493283" y="4116132"/>
                  <a:pt x="5495548" y="4089931"/>
                  <a:pt x="5497892" y="4062315"/>
                </a:cubicBezTo>
                <a:cubicBezTo>
                  <a:pt x="5510605" y="3957761"/>
                  <a:pt x="5519840" y="3817198"/>
                  <a:pt x="5533276" y="3742335"/>
                </a:cubicBezTo>
                <a:cubicBezTo>
                  <a:pt x="5084168" y="3869569"/>
                  <a:pt x="4743051" y="4283855"/>
                  <a:pt x="4193442" y="4269945"/>
                </a:cubicBezTo>
                <a:moveTo>
                  <a:pt x="5327633" y="6638091"/>
                </a:moveTo>
                <a:lnTo>
                  <a:pt x="5359476" y="6153186"/>
                </a:lnTo>
                <a:lnTo>
                  <a:pt x="6643678" y="6237369"/>
                </a:lnTo>
                <a:moveTo>
                  <a:pt x="5327633" y="6638091"/>
                </a:moveTo>
                <a:lnTo>
                  <a:pt x="5295821" y="7122508"/>
                </a:lnTo>
                <a:moveTo>
                  <a:pt x="5327633" y="6638091"/>
                </a:moveTo>
                <a:lnTo>
                  <a:pt x="6611819" y="6722259"/>
                </a:lnTo>
                <a:moveTo>
                  <a:pt x="5327633" y="6638091"/>
                </a:moveTo>
                <a:lnTo>
                  <a:pt x="4043446" y="6553891"/>
                </a:lnTo>
                <a:moveTo>
                  <a:pt x="5295821" y="7122508"/>
                </a:moveTo>
                <a:lnTo>
                  <a:pt x="4011634" y="7038325"/>
                </a:lnTo>
                <a:moveTo>
                  <a:pt x="5295821" y="7122508"/>
                </a:moveTo>
                <a:lnTo>
                  <a:pt x="6579992" y="7206692"/>
                </a:lnTo>
                <a:moveTo>
                  <a:pt x="5391303" y="5668281"/>
                </a:moveTo>
                <a:lnTo>
                  <a:pt x="5359460" y="6153186"/>
                </a:lnTo>
                <a:lnTo>
                  <a:pt x="4075304" y="6069002"/>
                </a:lnTo>
                <a:moveTo>
                  <a:pt x="5676774" y="1305997"/>
                </a:moveTo>
                <a:cubicBezTo>
                  <a:pt x="5669647" y="1463154"/>
                  <a:pt x="5653285" y="1622999"/>
                  <a:pt x="5661592" y="1780223"/>
                </a:cubicBezTo>
                <a:moveTo>
                  <a:pt x="5295774" y="7122508"/>
                </a:moveTo>
                <a:lnTo>
                  <a:pt x="5263931" y="7607414"/>
                </a:lnTo>
                <a:lnTo>
                  <a:pt x="3979775" y="7523230"/>
                </a:lnTo>
                <a:moveTo>
                  <a:pt x="1666131" y="3477068"/>
                </a:moveTo>
                <a:lnTo>
                  <a:pt x="1697943" y="2992651"/>
                </a:lnTo>
                <a:moveTo>
                  <a:pt x="1666131" y="3477068"/>
                </a:moveTo>
                <a:lnTo>
                  <a:pt x="1634272" y="3961989"/>
                </a:lnTo>
                <a:moveTo>
                  <a:pt x="1666131" y="3477068"/>
                </a:moveTo>
                <a:lnTo>
                  <a:pt x="381954" y="3392900"/>
                </a:lnTo>
                <a:moveTo>
                  <a:pt x="1666131" y="3477068"/>
                </a:moveTo>
                <a:lnTo>
                  <a:pt x="2652607" y="3541731"/>
                </a:lnTo>
                <a:cubicBezTo>
                  <a:pt x="2687093" y="3543994"/>
                  <a:pt x="2872724" y="3549574"/>
                  <a:pt x="2934679" y="3571987"/>
                </a:cubicBezTo>
                <a:moveTo>
                  <a:pt x="1697943" y="2992651"/>
                </a:moveTo>
                <a:lnTo>
                  <a:pt x="1729801" y="2507730"/>
                </a:lnTo>
                <a:moveTo>
                  <a:pt x="1697943" y="2992651"/>
                </a:moveTo>
                <a:lnTo>
                  <a:pt x="403160" y="2907760"/>
                </a:lnTo>
                <a:moveTo>
                  <a:pt x="1602492" y="4446422"/>
                </a:moveTo>
                <a:lnTo>
                  <a:pt x="1634304" y="3961989"/>
                </a:lnTo>
                <a:moveTo>
                  <a:pt x="1602492" y="4446422"/>
                </a:moveTo>
                <a:lnTo>
                  <a:pt x="2886663" y="4530606"/>
                </a:lnTo>
                <a:moveTo>
                  <a:pt x="1602492" y="4446422"/>
                </a:moveTo>
                <a:lnTo>
                  <a:pt x="318315" y="4362239"/>
                </a:lnTo>
                <a:moveTo>
                  <a:pt x="1347818" y="8324201"/>
                </a:moveTo>
                <a:lnTo>
                  <a:pt x="1379664" y="7839312"/>
                </a:lnTo>
                <a:moveTo>
                  <a:pt x="1347818" y="8324201"/>
                </a:moveTo>
                <a:lnTo>
                  <a:pt x="2631997" y="8408384"/>
                </a:lnTo>
                <a:lnTo>
                  <a:pt x="2663840" y="7923495"/>
                </a:lnTo>
                <a:moveTo>
                  <a:pt x="1347818" y="8324201"/>
                </a:moveTo>
                <a:lnTo>
                  <a:pt x="63640" y="8240033"/>
                </a:lnTo>
                <a:moveTo>
                  <a:pt x="1411411" y="7354878"/>
                </a:moveTo>
                <a:lnTo>
                  <a:pt x="1443258" y="6869973"/>
                </a:lnTo>
                <a:lnTo>
                  <a:pt x="2727447" y="6954157"/>
                </a:lnTo>
                <a:moveTo>
                  <a:pt x="1411411" y="7354878"/>
                </a:moveTo>
                <a:lnTo>
                  <a:pt x="1379615" y="7839312"/>
                </a:lnTo>
                <a:moveTo>
                  <a:pt x="1411411" y="7354878"/>
                </a:moveTo>
                <a:lnTo>
                  <a:pt x="127234" y="7270695"/>
                </a:lnTo>
                <a:moveTo>
                  <a:pt x="1793456" y="1538423"/>
                </a:moveTo>
                <a:lnTo>
                  <a:pt x="1825315" y="1053519"/>
                </a:lnTo>
                <a:moveTo>
                  <a:pt x="1793456" y="1538423"/>
                </a:moveTo>
                <a:lnTo>
                  <a:pt x="509285" y="1454241"/>
                </a:lnTo>
                <a:moveTo>
                  <a:pt x="1793456" y="1538423"/>
                </a:moveTo>
                <a:lnTo>
                  <a:pt x="2244530" y="1567988"/>
                </a:lnTo>
                <a:cubicBezTo>
                  <a:pt x="2787908" y="1603604"/>
                  <a:pt x="2932571" y="1632399"/>
                  <a:pt x="3063877" y="1613223"/>
                </a:cubicBezTo>
                <a:moveTo>
                  <a:pt x="1825315" y="1053519"/>
                </a:moveTo>
                <a:lnTo>
                  <a:pt x="1857095" y="569070"/>
                </a:lnTo>
                <a:moveTo>
                  <a:pt x="1825315" y="1053519"/>
                </a:moveTo>
                <a:lnTo>
                  <a:pt x="541117" y="969340"/>
                </a:lnTo>
                <a:moveTo>
                  <a:pt x="1315958" y="8808634"/>
                </a:moveTo>
                <a:lnTo>
                  <a:pt x="1284111" y="9293539"/>
                </a:lnTo>
                <a:lnTo>
                  <a:pt x="2568295" y="9377707"/>
                </a:lnTo>
                <a:moveTo>
                  <a:pt x="1538806" y="5415746"/>
                </a:moveTo>
                <a:lnTo>
                  <a:pt x="1570617" y="4931312"/>
                </a:lnTo>
                <a:moveTo>
                  <a:pt x="1538806" y="5415746"/>
                </a:moveTo>
                <a:lnTo>
                  <a:pt x="1506961" y="5900650"/>
                </a:lnTo>
                <a:moveTo>
                  <a:pt x="1538806" y="5415746"/>
                </a:moveTo>
                <a:lnTo>
                  <a:pt x="254622" y="5331577"/>
                </a:lnTo>
                <a:moveTo>
                  <a:pt x="1570617" y="4931312"/>
                </a:moveTo>
                <a:lnTo>
                  <a:pt x="1602461" y="4446407"/>
                </a:lnTo>
                <a:moveTo>
                  <a:pt x="1570617" y="4931312"/>
                </a:moveTo>
                <a:lnTo>
                  <a:pt x="286431" y="4847128"/>
                </a:lnTo>
                <a:moveTo>
                  <a:pt x="1729786" y="2507761"/>
                </a:moveTo>
                <a:lnTo>
                  <a:pt x="1761597" y="2023328"/>
                </a:lnTo>
                <a:cubicBezTo>
                  <a:pt x="1979166" y="2037584"/>
                  <a:pt x="2196718" y="2051840"/>
                  <a:pt x="2414287" y="2066111"/>
                </a:cubicBezTo>
                <a:cubicBezTo>
                  <a:pt x="2523063" y="2073247"/>
                  <a:pt x="2631855" y="2080367"/>
                  <a:pt x="2740663" y="2087031"/>
                </a:cubicBezTo>
                <a:cubicBezTo>
                  <a:pt x="2822914" y="2092423"/>
                  <a:pt x="2923603" y="2109382"/>
                  <a:pt x="3004360" y="2088776"/>
                </a:cubicBezTo>
                <a:moveTo>
                  <a:pt x="1729786" y="2507761"/>
                </a:moveTo>
                <a:lnTo>
                  <a:pt x="2958782" y="2588330"/>
                </a:lnTo>
                <a:moveTo>
                  <a:pt x="1729786" y="2507761"/>
                </a:moveTo>
                <a:lnTo>
                  <a:pt x="434989" y="2422886"/>
                </a:lnTo>
                <a:moveTo>
                  <a:pt x="1475135" y="6385540"/>
                </a:moveTo>
                <a:lnTo>
                  <a:pt x="1443319" y="6869973"/>
                </a:lnTo>
                <a:lnTo>
                  <a:pt x="159142" y="6785789"/>
                </a:lnTo>
                <a:moveTo>
                  <a:pt x="1475135" y="6385540"/>
                </a:moveTo>
                <a:lnTo>
                  <a:pt x="1506961" y="5900650"/>
                </a:lnTo>
                <a:moveTo>
                  <a:pt x="1475135" y="6385540"/>
                </a:moveTo>
                <a:lnTo>
                  <a:pt x="190938" y="6301372"/>
                </a:lnTo>
                <a:moveTo>
                  <a:pt x="1857095" y="569070"/>
                </a:moveTo>
                <a:lnTo>
                  <a:pt x="1888954" y="84169"/>
                </a:lnTo>
                <a:moveTo>
                  <a:pt x="1857095" y="569070"/>
                </a:moveTo>
                <a:lnTo>
                  <a:pt x="3141266" y="653251"/>
                </a:lnTo>
                <a:lnTo>
                  <a:pt x="3173109" y="168350"/>
                </a:lnTo>
                <a:moveTo>
                  <a:pt x="1857095" y="569070"/>
                </a:moveTo>
                <a:lnTo>
                  <a:pt x="572924" y="484891"/>
                </a:lnTo>
                <a:moveTo>
                  <a:pt x="1379615" y="7839312"/>
                </a:moveTo>
                <a:lnTo>
                  <a:pt x="95437" y="7755128"/>
                </a:lnTo>
                <a:moveTo>
                  <a:pt x="1379615" y="7839312"/>
                </a:moveTo>
                <a:lnTo>
                  <a:pt x="2663793" y="7923495"/>
                </a:lnTo>
                <a:moveTo>
                  <a:pt x="1634272" y="3961989"/>
                </a:moveTo>
                <a:lnTo>
                  <a:pt x="2918475" y="4046173"/>
                </a:lnTo>
                <a:moveTo>
                  <a:pt x="1634272" y="3961989"/>
                </a:moveTo>
                <a:lnTo>
                  <a:pt x="350101" y="3877805"/>
                </a:lnTo>
                <a:moveTo>
                  <a:pt x="1506961" y="5900650"/>
                </a:moveTo>
                <a:lnTo>
                  <a:pt x="222779" y="5816467"/>
                </a:lnTo>
                <a:moveTo>
                  <a:pt x="1506961" y="5900650"/>
                </a:moveTo>
                <a:lnTo>
                  <a:pt x="2791118" y="5984834"/>
                </a:lnTo>
                <a:moveTo>
                  <a:pt x="1793441" y="1538407"/>
                </a:moveTo>
                <a:lnTo>
                  <a:pt x="1761597" y="2023296"/>
                </a:lnTo>
                <a:lnTo>
                  <a:pt x="477423" y="1939128"/>
                </a:lnTo>
                <a:moveTo>
                  <a:pt x="1347747" y="8324185"/>
                </a:moveTo>
                <a:lnTo>
                  <a:pt x="1315932" y="8808618"/>
                </a:lnTo>
                <a:lnTo>
                  <a:pt x="31754" y="8724434"/>
                </a:lnTo>
                <a:moveTo>
                  <a:pt x="2918475" y="4046173"/>
                </a:moveTo>
                <a:lnTo>
                  <a:pt x="2886663" y="4530606"/>
                </a:lnTo>
                <a:moveTo>
                  <a:pt x="2918475" y="4046173"/>
                </a:moveTo>
                <a:lnTo>
                  <a:pt x="2923446" y="3970272"/>
                </a:lnTo>
                <a:cubicBezTo>
                  <a:pt x="2936268" y="3774918"/>
                  <a:pt x="2932414" y="3696062"/>
                  <a:pt x="2934176" y="3571956"/>
                </a:cubicBezTo>
                <a:moveTo>
                  <a:pt x="2886663" y="4530606"/>
                </a:moveTo>
                <a:lnTo>
                  <a:pt x="3087240" y="4543731"/>
                </a:lnTo>
                <a:cubicBezTo>
                  <a:pt x="3444909" y="4575182"/>
                  <a:pt x="3702171" y="4829179"/>
                  <a:pt x="4154818" y="4858838"/>
                </a:cubicBezTo>
                <a:moveTo>
                  <a:pt x="2958782" y="2588330"/>
                </a:moveTo>
                <a:cubicBezTo>
                  <a:pt x="2969276" y="2428560"/>
                  <a:pt x="2978479" y="2288484"/>
                  <a:pt x="3003841" y="2088289"/>
                </a:cubicBezTo>
                <a:cubicBezTo>
                  <a:pt x="3030382" y="1960174"/>
                  <a:pt x="3042701" y="1772757"/>
                  <a:pt x="3062980" y="1609875"/>
                </a:cubicBezTo>
                <a:moveTo>
                  <a:pt x="2958782" y="2588330"/>
                </a:moveTo>
                <a:cubicBezTo>
                  <a:pt x="2949578" y="2728406"/>
                  <a:pt x="2947659" y="2895295"/>
                  <a:pt x="2938062" y="3089943"/>
                </a:cubicBezTo>
                <a:cubicBezTo>
                  <a:pt x="3368746" y="3299789"/>
                  <a:pt x="3715591" y="3698954"/>
                  <a:pt x="4229533" y="3720409"/>
                </a:cubicBezTo>
                <a:lnTo>
                  <a:pt x="4298128" y="2676113"/>
                </a:lnTo>
                <a:moveTo>
                  <a:pt x="2958782" y="2588330"/>
                </a:moveTo>
                <a:lnTo>
                  <a:pt x="4298128" y="2676113"/>
                </a:lnTo>
                <a:moveTo>
                  <a:pt x="3141329" y="653273"/>
                </a:moveTo>
                <a:lnTo>
                  <a:pt x="3109502" y="1137705"/>
                </a:lnTo>
                <a:moveTo>
                  <a:pt x="3109502" y="1137705"/>
                </a:moveTo>
                <a:cubicBezTo>
                  <a:pt x="3109502" y="1137705"/>
                  <a:pt x="3091236" y="1415528"/>
                  <a:pt x="3063043" y="1609891"/>
                </a:cubicBezTo>
                <a:cubicBezTo>
                  <a:pt x="3310976" y="1583784"/>
                  <a:pt x="3894456" y="1048938"/>
                  <a:pt x="4402830" y="1082261"/>
                </a:cubicBezTo>
                <a:moveTo>
                  <a:pt x="3109502" y="1137705"/>
                </a:moveTo>
                <a:lnTo>
                  <a:pt x="1825331" y="1053526"/>
                </a:lnTo>
                <a:moveTo>
                  <a:pt x="2938125" y="3089943"/>
                </a:moveTo>
                <a:cubicBezTo>
                  <a:pt x="2947360" y="3225115"/>
                  <a:pt x="2935057" y="3412516"/>
                  <a:pt x="2934176" y="3571956"/>
                </a:cubicBezTo>
                <a:moveTo>
                  <a:pt x="2934176" y="3571956"/>
                </a:moveTo>
                <a:cubicBezTo>
                  <a:pt x="3410281" y="3796089"/>
                  <a:pt x="3681781" y="4214289"/>
                  <a:pt x="4193489" y="4269945"/>
                </a:cubicBezTo>
                <a:lnTo>
                  <a:pt x="4229580" y="3720393"/>
                </a:lnTo>
                <a:moveTo>
                  <a:pt x="2854836" y="5015496"/>
                </a:moveTo>
                <a:lnTo>
                  <a:pt x="2823024" y="5499929"/>
                </a:lnTo>
                <a:moveTo>
                  <a:pt x="2854836" y="5015496"/>
                </a:moveTo>
                <a:lnTo>
                  <a:pt x="2886695" y="4530606"/>
                </a:lnTo>
                <a:moveTo>
                  <a:pt x="2854836" y="5015496"/>
                </a:moveTo>
                <a:lnTo>
                  <a:pt x="1570665" y="4931328"/>
                </a:lnTo>
                <a:moveTo>
                  <a:pt x="2823024" y="5499929"/>
                </a:moveTo>
                <a:lnTo>
                  <a:pt x="4107179" y="5584097"/>
                </a:lnTo>
                <a:moveTo>
                  <a:pt x="2823024" y="5499929"/>
                </a:moveTo>
                <a:lnTo>
                  <a:pt x="1538853" y="5415746"/>
                </a:lnTo>
                <a:moveTo>
                  <a:pt x="2663793" y="7923495"/>
                </a:moveTo>
                <a:lnTo>
                  <a:pt x="2695604" y="7439062"/>
                </a:lnTo>
                <a:lnTo>
                  <a:pt x="3979775" y="7523230"/>
                </a:lnTo>
                <a:moveTo>
                  <a:pt x="2663793" y="7923495"/>
                </a:moveTo>
                <a:lnTo>
                  <a:pt x="3947948" y="8007663"/>
                </a:lnTo>
                <a:lnTo>
                  <a:pt x="3979775" y="7523230"/>
                </a:lnTo>
                <a:moveTo>
                  <a:pt x="2568295" y="9377707"/>
                </a:moveTo>
                <a:lnTo>
                  <a:pt x="2600138" y="8892802"/>
                </a:lnTo>
                <a:lnTo>
                  <a:pt x="3884340" y="8976986"/>
                </a:lnTo>
                <a:lnTo>
                  <a:pt x="3916152" y="8492552"/>
                </a:lnTo>
                <a:moveTo>
                  <a:pt x="2568295" y="9377707"/>
                </a:moveTo>
                <a:lnTo>
                  <a:pt x="3852450" y="9461875"/>
                </a:lnTo>
                <a:lnTo>
                  <a:pt x="3884293" y="8976986"/>
                </a:lnTo>
                <a:moveTo>
                  <a:pt x="2822961" y="5499929"/>
                </a:moveTo>
                <a:lnTo>
                  <a:pt x="2791118" y="5984834"/>
                </a:lnTo>
                <a:moveTo>
                  <a:pt x="2791118" y="5984834"/>
                </a:moveTo>
                <a:lnTo>
                  <a:pt x="2759275" y="6469723"/>
                </a:lnTo>
                <a:moveTo>
                  <a:pt x="2791118" y="5984834"/>
                </a:moveTo>
                <a:lnTo>
                  <a:pt x="4075304" y="6069002"/>
                </a:lnTo>
                <a:moveTo>
                  <a:pt x="2759275" y="6469723"/>
                </a:moveTo>
                <a:lnTo>
                  <a:pt x="2727447" y="6954157"/>
                </a:lnTo>
                <a:moveTo>
                  <a:pt x="2759275" y="6469723"/>
                </a:moveTo>
                <a:lnTo>
                  <a:pt x="1475099" y="6385555"/>
                </a:lnTo>
                <a:moveTo>
                  <a:pt x="2759275" y="6469723"/>
                </a:moveTo>
                <a:lnTo>
                  <a:pt x="4043446" y="6553891"/>
                </a:lnTo>
                <a:moveTo>
                  <a:pt x="2727479" y="6954157"/>
                </a:moveTo>
                <a:lnTo>
                  <a:pt x="2695636" y="7439062"/>
                </a:lnTo>
                <a:lnTo>
                  <a:pt x="1411460" y="7354878"/>
                </a:lnTo>
                <a:moveTo>
                  <a:pt x="2727447" y="6954157"/>
                </a:moveTo>
                <a:lnTo>
                  <a:pt x="4011634" y="7038325"/>
                </a:lnTo>
                <a:moveTo>
                  <a:pt x="4298128" y="2676113"/>
                </a:moveTo>
                <a:lnTo>
                  <a:pt x="4366723" y="1631817"/>
                </a:lnTo>
                <a:moveTo>
                  <a:pt x="4043446" y="6553891"/>
                </a:moveTo>
                <a:lnTo>
                  <a:pt x="4011634" y="7038325"/>
                </a:lnTo>
                <a:moveTo>
                  <a:pt x="4043446" y="6553891"/>
                </a:moveTo>
                <a:lnTo>
                  <a:pt x="4075304" y="6069002"/>
                </a:lnTo>
                <a:moveTo>
                  <a:pt x="4011634" y="7038325"/>
                </a:moveTo>
                <a:lnTo>
                  <a:pt x="3979775" y="7523230"/>
                </a:lnTo>
                <a:moveTo>
                  <a:pt x="4457312" y="252523"/>
                </a:moveTo>
                <a:lnTo>
                  <a:pt x="4441500" y="493335"/>
                </a:lnTo>
                <a:moveTo>
                  <a:pt x="4441500" y="493335"/>
                </a:moveTo>
                <a:cubicBezTo>
                  <a:pt x="3970288" y="462446"/>
                  <a:pt x="3762176" y="693947"/>
                  <a:pt x="3341890" y="666397"/>
                </a:cubicBezTo>
                <a:lnTo>
                  <a:pt x="3141314" y="653248"/>
                </a:lnTo>
                <a:moveTo>
                  <a:pt x="4193505" y="4269945"/>
                </a:moveTo>
                <a:lnTo>
                  <a:pt x="4171904" y="4598837"/>
                </a:lnTo>
                <a:moveTo>
                  <a:pt x="4402830" y="1082261"/>
                </a:moveTo>
                <a:lnTo>
                  <a:pt x="4424415" y="753372"/>
                </a:lnTo>
                <a:cubicBezTo>
                  <a:pt x="4004680" y="725857"/>
                  <a:pt x="3684204" y="972102"/>
                  <a:pt x="3289752" y="1119395"/>
                </a:cubicBezTo>
                <a:cubicBezTo>
                  <a:pt x="3220355" y="1145431"/>
                  <a:pt x="3109439" y="1138162"/>
                  <a:pt x="3109439" y="1138162"/>
                </a:cubicBezTo>
                <a:moveTo>
                  <a:pt x="4366723" y="1631817"/>
                </a:moveTo>
                <a:cubicBezTo>
                  <a:pt x="3854086" y="1590684"/>
                  <a:pt x="3461082" y="1894286"/>
                  <a:pt x="3003872" y="2088273"/>
                </a:cubicBezTo>
                <a:moveTo>
                  <a:pt x="4402766" y="1082272"/>
                </a:moveTo>
                <a:lnTo>
                  <a:pt x="4366676" y="1631817"/>
                </a:lnTo>
                <a:moveTo>
                  <a:pt x="4107148" y="5584097"/>
                </a:moveTo>
                <a:lnTo>
                  <a:pt x="4075304" y="6069002"/>
                </a:lnTo>
                <a:moveTo>
                  <a:pt x="4136254" y="5141363"/>
                </a:moveTo>
                <a:lnTo>
                  <a:pt x="4107179" y="5584097"/>
                </a:lnTo>
                <a:moveTo>
                  <a:pt x="4136254" y="5141363"/>
                </a:moveTo>
                <a:lnTo>
                  <a:pt x="4154818" y="4858838"/>
                </a:lnTo>
                <a:moveTo>
                  <a:pt x="4136254" y="5141363"/>
                </a:moveTo>
                <a:cubicBezTo>
                  <a:pt x="4432360" y="5160774"/>
                  <a:pt x="4743963" y="5139303"/>
                  <a:pt x="4901023" y="5149598"/>
                </a:cubicBezTo>
                <a:lnTo>
                  <a:pt x="5423193" y="5183816"/>
                </a:lnTo>
                <a:moveTo>
                  <a:pt x="4136254" y="5141363"/>
                </a:moveTo>
                <a:cubicBezTo>
                  <a:pt x="3793987" y="5118934"/>
                  <a:pt x="3618063" y="5071136"/>
                  <a:pt x="3509586" y="5059317"/>
                </a:cubicBezTo>
                <a:cubicBezTo>
                  <a:pt x="3292143" y="5035174"/>
                  <a:pt x="3072923" y="5029751"/>
                  <a:pt x="2854836" y="5015464"/>
                </a:cubicBezTo>
                <a:moveTo>
                  <a:pt x="3948026" y="8007663"/>
                </a:moveTo>
                <a:lnTo>
                  <a:pt x="3916184" y="8492568"/>
                </a:lnTo>
                <a:moveTo>
                  <a:pt x="3916184" y="8492568"/>
                </a:moveTo>
                <a:lnTo>
                  <a:pt x="2632012" y="8408369"/>
                </a:lnTo>
                <a:lnTo>
                  <a:pt x="2600201" y="8892802"/>
                </a:lnTo>
                <a:lnTo>
                  <a:pt x="1316024" y="8808634"/>
                </a:lnTo>
                <a:moveTo>
                  <a:pt x="4154818" y="4858838"/>
                </a:moveTo>
                <a:lnTo>
                  <a:pt x="4171888" y="4598837"/>
                </a:lnTo>
                <a:moveTo>
                  <a:pt x="4441469" y="493350"/>
                </a:moveTo>
                <a:lnTo>
                  <a:pt x="4424383" y="753369"/>
                </a:lnTo>
                <a:moveTo>
                  <a:pt x="4171888" y="4598837"/>
                </a:moveTo>
                <a:cubicBezTo>
                  <a:pt x="4665409" y="4655184"/>
                  <a:pt x="5160991" y="4193149"/>
                  <a:pt x="5486817" y="4214493"/>
                </a:cubicBezTo>
                <a:moveTo>
                  <a:pt x="4171888" y="4598837"/>
                </a:moveTo>
                <a:cubicBezTo>
                  <a:pt x="3763308" y="4596055"/>
                  <a:pt x="3251726" y="4067989"/>
                  <a:pt x="2918475" y="4046141"/>
                </a:cubicBezTo>
                <a:moveTo>
                  <a:pt x="6516337" y="8176030"/>
                </a:moveTo>
                <a:lnTo>
                  <a:pt x="6484494" y="8660920"/>
                </a:lnTo>
                <a:lnTo>
                  <a:pt x="5200323" y="8576751"/>
                </a:lnTo>
                <a:moveTo>
                  <a:pt x="6516337" y="8176030"/>
                </a:moveTo>
                <a:lnTo>
                  <a:pt x="6548180" y="7691597"/>
                </a:lnTo>
                <a:lnTo>
                  <a:pt x="7832335" y="7775781"/>
                </a:lnTo>
                <a:moveTo>
                  <a:pt x="6516337" y="8176030"/>
                </a:moveTo>
                <a:lnTo>
                  <a:pt x="5232182" y="8091847"/>
                </a:lnTo>
                <a:moveTo>
                  <a:pt x="6516337" y="8176030"/>
                </a:moveTo>
                <a:lnTo>
                  <a:pt x="7800540" y="8260199"/>
                </a:lnTo>
                <a:moveTo>
                  <a:pt x="6484447" y="8660904"/>
                </a:moveTo>
                <a:lnTo>
                  <a:pt x="6452635" y="9145338"/>
                </a:lnTo>
                <a:lnTo>
                  <a:pt x="5168449" y="9061154"/>
                </a:lnTo>
                <a:moveTo>
                  <a:pt x="6707364" y="5268031"/>
                </a:moveTo>
                <a:lnTo>
                  <a:pt x="6675537" y="5752465"/>
                </a:lnTo>
                <a:moveTo>
                  <a:pt x="6675537" y="5752465"/>
                </a:moveTo>
                <a:lnTo>
                  <a:pt x="6643678" y="6237369"/>
                </a:lnTo>
                <a:moveTo>
                  <a:pt x="6675537" y="5752465"/>
                </a:moveTo>
                <a:lnTo>
                  <a:pt x="7959724" y="5836648"/>
                </a:lnTo>
                <a:moveTo>
                  <a:pt x="6675537" y="5752465"/>
                </a:moveTo>
                <a:lnTo>
                  <a:pt x="5391366" y="5668297"/>
                </a:lnTo>
                <a:moveTo>
                  <a:pt x="6739145" y="4783126"/>
                </a:moveTo>
                <a:lnTo>
                  <a:pt x="6707301" y="5268031"/>
                </a:lnTo>
                <a:lnTo>
                  <a:pt x="5423115" y="5183847"/>
                </a:lnTo>
                <a:moveTo>
                  <a:pt x="6771003" y="4298708"/>
                </a:moveTo>
                <a:lnTo>
                  <a:pt x="6802846" y="3813819"/>
                </a:lnTo>
                <a:lnTo>
                  <a:pt x="8087017" y="3897971"/>
                </a:lnTo>
                <a:lnTo>
                  <a:pt x="8118845" y="3413538"/>
                </a:lnTo>
                <a:moveTo>
                  <a:pt x="6771003" y="4298708"/>
                </a:moveTo>
                <a:lnTo>
                  <a:pt x="6739176" y="4783142"/>
                </a:lnTo>
                <a:moveTo>
                  <a:pt x="6962031" y="1390234"/>
                </a:moveTo>
                <a:lnTo>
                  <a:pt x="6930187" y="1875142"/>
                </a:lnTo>
                <a:moveTo>
                  <a:pt x="6962031" y="1390234"/>
                </a:moveTo>
                <a:lnTo>
                  <a:pt x="6993842" y="905794"/>
                </a:lnTo>
                <a:moveTo>
                  <a:pt x="6962031" y="1390234"/>
                </a:moveTo>
                <a:lnTo>
                  <a:pt x="5677875" y="1306052"/>
                </a:lnTo>
                <a:moveTo>
                  <a:pt x="6962031" y="1390234"/>
                </a:moveTo>
                <a:lnTo>
                  <a:pt x="8246217" y="1474414"/>
                </a:lnTo>
                <a:moveTo>
                  <a:pt x="6930187" y="1875142"/>
                </a:moveTo>
                <a:lnTo>
                  <a:pt x="8214374" y="1959310"/>
                </a:lnTo>
                <a:lnTo>
                  <a:pt x="8246217" y="1474414"/>
                </a:lnTo>
                <a:moveTo>
                  <a:pt x="7025685" y="420894"/>
                </a:moveTo>
                <a:lnTo>
                  <a:pt x="6993842" y="905794"/>
                </a:lnTo>
                <a:moveTo>
                  <a:pt x="6993842" y="905794"/>
                </a:moveTo>
                <a:lnTo>
                  <a:pt x="5709671" y="821615"/>
                </a:lnTo>
                <a:moveTo>
                  <a:pt x="6993842" y="905794"/>
                </a:moveTo>
                <a:lnTo>
                  <a:pt x="8278013" y="989967"/>
                </a:lnTo>
                <a:lnTo>
                  <a:pt x="8309856" y="505066"/>
                </a:lnTo>
                <a:moveTo>
                  <a:pt x="6739176" y="4783142"/>
                </a:moveTo>
                <a:lnTo>
                  <a:pt x="8023347" y="4867310"/>
                </a:lnTo>
                <a:moveTo>
                  <a:pt x="6611819" y="6722259"/>
                </a:moveTo>
                <a:lnTo>
                  <a:pt x="6579992" y="7206692"/>
                </a:lnTo>
                <a:moveTo>
                  <a:pt x="6611819" y="6722259"/>
                </a:moveTo>
                <a:lnTo>
                  <a:pt x="6643647" y="6237369"/>
                </a:lnTo>
                <a:moveTo>
                  <a:pt x="6611819" y="6722259"/>
                </a:moveTo>
                <a:lnTo>
                  <a:pt x="7895990" y="6806442"/>
                </a:lnTo>
                <a:moveTo>
                  <a:pt x="6579992" y="7206692"/>
                </a:moveTo>
                <a:lnTo>
                  <a:pt x="6548133" y="7691613"/>
                </a:lnTo>
                <a:lnTo>
                  <a:pt x="5263978" y="7607414"/>
                </a:lnTo>
                <a:lnTo>
                  <a:pt x="5232150" y="8091847"/>
                </a:lnTo>
                <a:lnTo>
                  <a:pt x="3947979" y="8007663"/>
                </a:lnTo>
                <a:moveTo>
                  <a:pt x="6643678" y="6237369"/>
                </a:moveTo>
                <a:lnTo>
                  <a:pt x="7927849" y="6321553"/>
                </a:lnTo>
                <a:moveTo>
                  <a:pt x="6898344" y="2360031"/>
                </a:moveTo>
                <a:lnTo>
                  <a:pt x="6866517" y="2844465"/>
                </a:lnTo>
                <a:moveTo>
                  <a:pt x="6866517" y="2844465"/>
                </a:moveTo>
                <a:lnTo>
                  <a:pt x="8150688" y="2928648"/>
                </a:lnTo>
                <a:moveTo>
                  <a:pt x="6866517" y="2844465"/>
                </a:moveTo>
                <a:lnTo>
                  <a:pt x="6802862" y="3813787"/>
                </a:lnTo>
                <a:moveTo>
                  <a:pt x="7832335" y="7775781"/>
                </a:moveTo>
                <a:lnTo>
                  <a:pt x="7864178" y="7290876"/>
                </a:lnTo>
                <a:moveTo>
                  <a:pt x="7832335" y="7775781"/>
                </a:moveTo>
                <a:lnTo>
                  <a:pt x="7800540" y="8260199"/>
                </a:lnTo>
                <a:moveTo>
                  <a:pt x="7832335" y="7775781"/>
                </a:moveTo>
                <a:lnTo>
                  <a:pt x="9116522" y="7859965"/>
                </a:lnTo>
                <a:moveTo>
                  <a:pt x="7864178" y="7290876"/>
                </a:moveTo>
                <a:lnTo>
                  <a:pt x="7895990" y="6806442"/>
                </a:lnTo>
                <a:moveTo>
                  <a:pt x="7864178" y="7290876"/>
                </a:moveTo>
                <a:lnTo>
                  <a:pt x="6580023" y="7206692"/>
                </a:lnTo>
                <a:moveTo>
                  <a:pt x="7864178" y="7290876"/>
                </a:moveTo>
                <a:lnTo>
                  <a:pt x="9148365" y="7375028"/>
                </a:lnTo>
                <a:lnTo>
                  <a:pt x="9180177" y="6890626"/>
                </a:lnTo>
                <a:moveTo>
                  <a:pt x="8023347" y="4867310"/>
                </a:moveTo>
                <a:lnTo>
                  <a:pt x="7991504" y="5352199"/>
                </a:lnTo>
                <a:lnTo>
                  <a:pt x="6707317" y="5268031"/>
                </a:lnTo>
                <a:moveTo>
                  <a:pt x="8023347" y="4867310"/>
                </a:moveTo>
                <a:lnTo>
                  <a:pt x="8055159" y="4382892"/>
                </a:lnTo>
                <a:moveTo>
                  <a:pt x="8023347" y="4867310"/>
                </a:moveTo>
                <a:lnTo>
                  <a:pt x="9307518" y="4951493"/>
                </a:lnTo>
                <a:lnTo>
                  <a:pt x="9339345" y="4467060"/>
                </a:lnTo>
                <a:moveTo>
                  <a:pt x="8150735" y="2928633"/>
                </a:moveTo>
                <a:lnTo>
                  <a:pt x="8118892" y="3413522"/>
                </a:lnTo>
                <a:moveTo>
                  <a:pt x="8118892" y="3413522"/>
                </a:moveTo>
                <a:lnTo>
                  <a:pt x="6834705" y="3329354"/>
                </a:lnTo>
                <a:moveTo>
                  <a:pt x="8118892" y="3413522"/>
                </a:moveTo>
                <a:lnTo>
                  <a:pt x="9403063" y="3497721"/>
                </a:lnTo>
                <a:moveTo>
                  <a:pt x="7927849" y="6321553"/>
                </a:moveTo>
                <a:lnTo>
                  <a:pt x="7895990" y="6806442"/>
                </a:lnTo>
                <a:moveTo>
                  <a:pt x="7927849" y="6321553"/>
                </a:moveTo>
                <a:lnTo>
                  <a:pt x="7959692" y="5836632"/>
                </a:lnTo>
                <a:moveTo>
                  <a:pt x="7895990" y="6806442"/>
                </a:moveTo>
                <a:lnTo>
                  <a:pt x="9180177" y="6890626"/>
                </a:lnTo>
                <a:moveTo>
                  <a:pt x="7736885" y="9229521"/>
                </a:moveTo>
                <a:lnTo>
                  <a:pt x="7705010" y="9714426"/>
                </a:lnTo>
                <a:moveTo>
                  <a:pt x="7736885" y="9229521"/>
                </a:moveTo>
                <a:lnTo>
                  <a:pt x="9021040" y="9313690"/>
                </a:lnTo>
                <a:moveTo>
                  <a:pt x="7736885" y="9229521"/>
                </a:moveTo>
                <a:lnTo>
                  <a:pt x="7800540" y="8260199"/>
                </a:lnTo>
                <a:moveTo>
                  <a:pt x="8087049" y="3897987"/>
                </a:moveTo>
                <a:lnTo>
                  <a:pt x="8055206" y="4382892"/>
                </a:lnTo>
                <a:moveTo>
                  <a:pt x="8055206" y="4382892"/>
                </a:moveTo>
                <a:lnTo>
                  <a:pt x="6771019" y="4298708"/>
                </a:lnTo>
                <a:moveTo>
                  <a:pt x="8055206" y="4382892"/>
                </a:moveTo>
                <a:lnTo>
                  <a:pt x="9339392" y="4467060"/>
                </a:lnTo>
                <a:moveTo>
                  <a:pt x="7959724" y="5836648"/>
                </a:moveTo>
                <a:lnTo>
                  <a:pt x="7991535" y="5352214"/>
                </a:lnTo>
                <a:lnTo>
                  <a:pt x="9275706" y="5436398"/>
                </a:lnTo>
                <a:moveTo>
                  <a:pt x="7959724" y="5836648"/>
                </a:moveTo>
                <a:lnTo>
                  <a:pt x="9243879" y="5920832"/>
                </a:lnTo>
                <a:moveTo>
                  <a:pt x="7705010" y="9714426"/>
                </a:moveTo>
                <a:lnTo>
                  <a:pt x="6420839" y="9630242"/>
                </a:lnTo>
                <a:moveTo>
                  <a:pt x="7705010" y="9714426"/>
                </a:moveTo>
                <a:lnTo>
                  <a:pt x="8989196" y="9798594"/>
                </a:lnTo>
                <a:lnTo>
                  <a:pt x="9021040" y="9313690"/>
                </a:lnTo>
                <a:moveTo>
                  <a:pt x="8246217" y="1474414"/>
                </a:moveTo>
                <a:lnTo>
                  <a:pt x="8278029" y="989981"/>
                </a:lnTo>
                <a:lnTo>
                  <a:pt x="9562184" y="1074155"/>
                </a:lnTo>
                <a:moveTo>
                  <a:pt x="7800540" y="8260199"/>
                </a:moveTo>
                <a:lnTo>
                  <a:pt x="9084726" y="8344382"/>
                </a:lnTo>
                <a:moveTo>
                  <a:pt x="8182500" y="2444199"/>
                </a:moveTo>
                <a:lnTo>
                  <a:pt x="8214343" y="1959294"/>
                </a:lnTo>
                <a:lnTo>
                  <a:pt x="9498529" y="2043493"/>
                </a:lnTo>
                <a:moveTo>
                  <a:pt x="8182500" y="2444199"/>
                </a:moveTo>
                <a:lnTo>
                  <a:pt x="8150688" y="2928648"/>
                </a:lnTo>
                <a:moveTo>
                  <a:pt x="8182500" y="2444199"/>
                </a:moveTo>
                <a:lnTo>
                  <a:pt x="9466686" y="2528399"/>
                </a:lnTo>
                <a:moveTo>
                  <a:pt x="8182500" y="2444199"/>
                </a:moveTo>
                <a:lnTo>
                  <a:pt x="6898329" y="2360015"/>
                </a:lnTo>
                <a:moveTo>
                  <a:pt x="8150688" y="2928648"/>
                </a:moveTo>
                <a:lnTo>
                  <a:pt x="9434859" y="3012832"/>
                </a:lnTo>
                <a:moveTo>
                  <a:pt x="9275706" y="5436398"/>
                </a:moveTo>
                <a:lnTo>
                  <a:pt x="9243879" y="5920832"/>
                </a:lnTo>
                <a:moveTo>
                  <a:pt x="9243879" y="5920832"/>
                </a:moveTo>
                <a:lnTo>
                  <a:pt x="9212035" y="6405721"/>
                </a:lnTo>
                <a:moveTo>
                  <a:pt x="9212035" y="6405721"/>
                </a:moveTo>
                <a:lnTo>
                  <a:pt x="9180177" y="6890626"/>
                </a:lnTo>
                <a:moveTo>
                  <a:pt x="9212035" y="6405721"/>
                </a:moveTo>
                <a:lnTo>
                  <a:pt x="7927865" y="6321538"/>
                </a:lnTo>
                <a:moveTo>
                  <a:pt x="9371235" y="3982171"/>
                </a:moveTo>
                <a:lnTo>
                  <a:pt x="9339392" y="4467060"/>
                </a:lnTo>
                <a:moveTo>
                  <a:pt x="9562184" y="1074155"/>
                </a:moveTo>
                <a:lnTo>
                  <a:pt x="9530372" y="1558589"/>
                </a:lnTo>
                <a:moveTo>
                  <a:pt x="9562184" y="1074155"/>
                </a:moveTo>
                <a:lnTo>
                  <a:pt x="9594027" y="589247"/>
                </a:lnTo>
                <a:moveTo>
                  <a:pt x="9530372" y="1558589"/>
                </a:moveTo>
                <a:lnTo>
                  <a:pt x="9498529" y="2043493"/>
                </a:lnTo>
                <a:moveTo>
                  <a:pt x="9530372" y="1558589"/>
                </a:moveTo>
                <a:lnTo>
                  <a:pt x="8246186" y="1474408"/>
                </a:lnTo>
                <a:moveTo>
                  <a:pt x="9116522" y="7859965"/>
                </a:moveTo>
                <a:lnTo>
                  <a:pt x="9084726" y="8344382"/>
                </a:lnTo>
                <a:moveTo>
                  <a:pt x="9403063" y="3497721"/>
                </a:moveTo>
                <a:lnTo>
                  <a:pt x="9371251" y="3982155"/>
                </a:lnTo>
                <a:moveTo>
                  <a:pt x="9403063" y="3497721"/>
                </a:moveTo>
                <a:lnTo>
                  <a:pt x="9434921" y="3012801"/>
                </a:lnTo>
                <a:moveTo>
                  <a:pt x="9371251" y="3982155"/>
                </a:moveTo>
                <a:lnTo>
                  <a:pt x="8087081" y="3897971"/>
                </a:lnTo>
                <a:moveTo>
                  <a:pt x="9498529" y="2043493"/>
                </a:moveTo>
                <a:lnTo>
                  <a:pt x="9466686" y="2528399"/>
                </a:lnTo>
                <a:moveTo>
                  <a:pt x="9466686" y="2528399"/>
                </a:moveTo>
                <a:lnTo>
                  <a:pt x="9434859" y="3012832"/>
                </a:lnTo>
                <a:moveTo>
                  <a:pt x="9021040" y="9313690"/>
                </a:moveTo>
                <a:lnTo>
                  <a:pt x="9052851" y="8829272"/>
                </a:lnTo>
                <a:moveTo>
                  <a:pt x="9084726" y="8344382"/>
                </a:moveTo>
                <a:lnTo>
                  <a:pt x="9052883" y="8829287"/>
                </a:lnTo>
                <a:moveTo>
                  <a:pt x="9052883" y="8829287"/>
                </a:moveTo>
                <a:lnTo>
                  <a:pt x="6484525" y="8660920"/>
                </a:lnTo>
                <a:moveTo>
                  <a:pt x="11589397" y="9482057"/>
                </a:moveTo>
                <a:lnTo>
                  <a:pt x="11621209" y="8997623"/>
                </a:lnTo>
                <a:moveTo>
                  <a:pt x="11589397" y="9482057"/>
                </a:moveTo>
                <a:lnTo>
                  <a:pt x="11557539" y="9966962"/>
                </a:lnTo>
                <a:lnTo>
                  <a:pt x="10273352" y="9882778"/>
                </a:lnTo>
                <a:moveTo>
                  <a:pt x="11589397" y="9482057"/>
                </a:moveTo>
                <a:lnTo>
                  <a:pt x="12873584" y="9566240"/>
                </a:lnTo>
                <a:moveTo>
                  <a:pt x="11589397" y="9482057"/>
                </a:moveTo>
                <a:lnTo>
                  <a:pt x="10305227" y="9397873"/>
                </a:lnTo>
                <a:moveTo>
                  <a:pt x="11621209" y="8997623"/>
                </a:moveTo>
                <a:lnTo>
                  <a:pt x="11653068" y="8512733"/>
                </a:lnTo>
                <a:moveTo>
                  <a:pt x="11621209" y="8997623"/>
                </a:moveTo>
                <a:lnTo>
                  <a:pt x="10337038" y="8913455"/>
                </a:lnTo>
                <a:moveTo>
                  <a:pt x="12098730" y="1726956"/>
                </a:moveTo>
                <a:lnTo>
                  <a:pt x="12066887" y="2211845"/>
                </a:lnTo>
                <a:moveTo>
                  <a:pt x="12098730" y="1726956"/>
                </a:moveTo>
                <a:lnTo>
                  <a:pt x="12130541" y="1242500"/>
                </a:lnTo>
                <a:moveTo>
                  <a:pt x="12098730" y="1726956"/>
                </a:moveTo>
                <a:lnTo>
                  <a:pt x="13382917" y="1811140"/>
                </a:lnTo>
                <a:moveTo>
                  <a:pt x="12066887" y="2211845"/>
                </a:moveTo>
                <a:lnTo>
                  <a:pt x="12035043" y="2696735"/>
                </a:lnTo>
                <a:moveTo>
                  <a:pt x="12066887" y="2211845"/>
                </a:moveTo>
                <a:lnTo>
                  <a:pt x="13351074" y="2296029"/>
                </a:lnTo>
                <a:lnTo>
                  <a:pt x="13382917" y="1811140"/>
                </a:lnTo>
                <a:moveTo>
                  <a:pt x="11684864" y="8028316"/>
                </a:moveTo>
                <a:lnTo>
                  <a:pt x="11700769" y="7786092"/>
                </a:lnTo>
                <a:cubicBezTo>
                  <a:pt x="11708731" y="7664751"/>
                  <a:pt x="11645721" y="7561345"/>
                  <a:pt x="11645721" y="7561345"/>
                </a:cubicBezTo>
                <a:moveTo>
                  <a:pt x="11684864" y="8028316"/>
                </a:moveTo>
                <a:lnTo>
                  <a:pt x="11653068" y="8512733"/>
                </a:lnTo>
                <a:moveTo>
                  <a:pt x="12162401" y="757600"/>
                </a:moveTo>
                <a:lnTo>
                  <a:pt x="12130541" y="1242500"/>
                </a:lnTo>
                <a:moveTo>
                  <a:pt x="12130541" y="1242500"/>
                </a:moveTo>
                <a:lnTo>
                  <a:pt x="13414713" y="1326681"/>
                </a:lnTo>
                <a:moveTo>
                  <a:pt x="11971389" y="3666073"/>
                </a:moveTo>
                <a:lnTo>
                  <a:pt x="11939593" y="4150506"/>
                </a:lnTo>
                <a:moveTo>
                  <a:pt x="11971389" y="3666073"/>
                </a:moveTo>
                <a:lnTo>
                  <a:pt x="10687203" y="3581889"/>
                </a:lnTo>
                <a:moveTo>
                  <a:pt x="11971389" y="3666073"/>
                </a:moveTo>
                <a:lnTo>
                  <a:pt x="12035043" y="2696750"/>
                </a:lnTo>
                <a:moveTo>
                  <a:pt x="11939562" y="4150506"/>
                </a:moveTo>
                <a:lnTo>
                  <a:pt x="11923656" y="4392731"/>
                </a:lnTo>
                <a:cubicBezTo>
                  <a:pt x="11915679" y="4514071"/>
                  <a:pt x="11839674" y="4608362"/>
                  <a:pt x="11839674" y="4608362"/>
                </a:cubicBezTo>
                <a:moveTo>
                  <a:pt x="11939593" y="4150506"/>
                </a:moveTo>
                <a:lnTo>
                  <a:pt x="12272294" y="4172322"/>
                </a:lnTo>
                <a:cubicBezTo>
                  <a:pt x="12530610" y="4182665"/>
                  <a:pt x="12814744" y="4213990"/>
                  <a:pt x="13140632" y="4177462"/>
                </a:cubicBezTo>
                <a:moveTo>
                  <a:pt x="11123456" y="6044043"/>
                </a:moveTo>
                <a:cubicBezTo>
                  <a:pt x="11111908" y="6219734"/>
                  <a:pt x="11124101" y="6399324"/>
                  <a:pt x="11191500" y="6598074"/>
                </a:cubicBezTo>
                <a:cubicBezTo>
                  <a:pt x="10929801" y="6549836"/>
                  <a:pt x="10727667" y="6511642"/>
                  <a:pt x="10491927" y="6490078"/>
                </a:cubicBezTo>
                <a:moveTo>
                  <a:pt x="11123456" y="6044043"/>
                </a:moveTo>
                <a:lnTo>
                  <a:pt x="11503937" y="6068971"/>
                </a:lnTo>
                <a:moveTo>
                  <a:pt x="11646287" y="7561361"/>
                </a:moveTo>
                <a:cubicBezTo>
                  <a:pt x="11572296" y="7413945"/>
                  <a:pt x="11506029" y="7278805"/>
                  <a:pt x="11412797" y="7108001"/>
                </a:cubicBezTo>
                <a:cubicBezTo>
                  <a:pt x="11288272" y="7064542"/>
                  <a:pt x="11223674" y="7057956"/>
                  <a:pt x="11130048" y="7039111"/>
                </a:cubicBezTo>
                <a:cubicBezTo>
                  <a:pt x="11036422" y="7020281"/>
                  <a:pt x="10940909" y="7014009"/>
                  <a:pt x="10846071" y="7005444"/>
                </a:cubicBezTo>
                <a:cubicBezTo>
                  <a:pt x="10718935" y="6993813"/>
                  <a:pt x="10591736" y="6983124"/>
                  <a:pt x="10464379" y="6974779"/>
                </a:cubicBezTo>
                <a:moveTo>
                  <a:pt x="11191531" y="6598058"/>
                </a:moveTo>
                <a:cubicBezTo>
                  <a:pt x="11264594" y="6808470"/>
                  <a:pt x="11334700" y="6974448"/>
                  <a:pt x="11412813" y="7107545"/>
                </a:cubicBezTo>
                <a:cubicBezTo>
                  <a:pt x="11640780" y="7182723"/>
                  <a:pt x="11842978" y="7251959"/>
                  <a:pt x="12088126" y="7357425"/>
                </a:cubicBezTo>
                <a:moveTo>
                  <a:pt x="12035043" y="2696735"/>
                </a:moveTo>
                <a:lnTo>
                  <a:pt x="13319230" y="2780918"/>
                </a:lnTo>
                <a:moveTo>
                  <a:pt x="11840162" y="4608393"/>
                </a:moveTo>
                <a:cubicBezTo>
                  <a:pt x="11747654" y="4742999"/>
                  <a:pt x="11684817" y="4864040"/>
                  <a:pt x="11549389" y="5027378"/>
                </a:cubicBezTo>
                <a:moveTo>
                  <a:pt x="11263368" y="5504110"/>
                </a:moveTo>
                <a:cubicBezTo>
                  <a:pt x="11162599" y="5699826"/>
                  <a:pt x="11137694" y="5827595"/>
                  <a:pt x="11123440" y="6044498"/>
                </a:cubicBezTo>
                <a:moveTo>
                  <a:pt x="11549436" y="5027394"/>
                </a:moveTo>
                <a:cubicBezTo>
                  <a:pt x="11442658" y="5168130"/>
                  <a:pt x="11370523" y="5300802"/>
                  <a:pt x="11263415" y="5503623"/>
                </a:cubicBezTo>
                <a:cubicBezTo>
                  <a:pt x="11433156" y="5475237"/>
                  <a:pt x="11595439" y="5438819"/>
                  <a:pt x="11752593" y="5391241"/>
                </a:cubicBezTo>
                <a:cubicBezTo>
                  <a:pt x="11916859" y="5154046"/>
                  <a:pt x="12064763" y="5019771"/>
                  <a:pt x="12251684" y="4867812"/>
                </a:cubicBezTo>
                <a:cubicBezTo>
                  <a:pt x="12599850" y="4751832"/>
                  <a:pt x="12974384" y="4729325"/>
                  <a:pt x="13275399" y="4617321"/>
                </a:cubicBezTo>
                <a:moveTo>
                  <a:pt x="13140664" y="4177494"/>
                </a:moveTo>
                <a:cubicBezTo>
                  <a:pt x="13039628" y="4287564"/>
                  <a:pt x="12912711" y="4402508"/>
                  <a:pt x="12761818" y="4492837"/>
                </a:cubicBezTo>
                <a:moveTo>
                  <a:pt x="11661721" y="6773813"/>
                </a:moveTo>
                <a:cubicBezTo>
                  <a:pt x="11570550" y="6612094"/>
                  <a:pt x="11483815" y="6325970"/>
                  <a:pt x="11503858" y="6069442"/>
                </a:cubicBezTo>
                <a:moveTo>
                  <a:pt x="12905427" y="9081823"/>
                </a:moveTo>
                <a:lnTo>
                  <a:pt x="12937271" y="8596917"/>
                </a:lnTo>
                <a:moveTo>
                  <a:pt x="12905427" y="9081823"/>
                </a:moveTo>
                <a:lnTo>
                  <a:pt x="14190133" y="9166037"/>
                </a:lnTo>
                <a:moveTo>
                  <a:pt x="12905427" y="9081823"/>
                </a:moveTo>
                <a:lnTo>
                  <a:pt x="11621240" y="8997639"/>
                </a:lnTo>
                <a:moveTo>
                  <a:pt x="12251620" y="4868269"/>
                </a:moveTo>
                <a:cubicBezTo>
                  <a:pt x="12427576" y="4720774"/>
                  <a:pt x="12519944" y="4653424"/>
                  <a:pt x="12762275" y="4493340"/>
                </a:cubicBezTo>
                <a:moveTo>
                  <a:pt x="11503937" y="6068971"/>
                </a:moveTo>
                <a:cubicBezTo>
                  <a:pt x="11514651" y="5857002"/>
                  <a:pt x="11607427" y="5604766"/>
                  <a:pt x="11752562" y="5391257"/>
                </a:cubicBezTo>
                <a:moveTo>
                  <a:pt x="11503937" y="6068971"/>
                </a:moveTo>
                <a:lnTo>
                  <a:pt x="11995302" y="6101176"/>
                </a:lnTo>
                <a:moveTo>
                  <a:pt x="13319215" y="2780934"/>
                </a:moveTo>
                <a:lnTo>
                  <a:pt x="13287403" y="3265368"/>
                </a:lnTo>
                <a:lnTo>
                  <a:pt x="10719045" y="3097000"/>
                </a:lnTo>
                <a:moveTo>
                  <a:pt x="12879185" y="8157877"/>
                </a:moveTo>
                <a:cubicBezTo>
                  <a:pt x="12879185" y="8157877"/>
                  <a:pt x="12961074" y="8233353"/>
                  <a:pt x="12953113" y="8354693"/>
                </a:cubicBezTo>
                <a:lnTo>
                  <a:pt x="12937192" y="8596917"/>
                </a:lnTo>
                <a:lnTo>
                  <a:pt x="11653021" y="8512733"/>
                </a:lnTo>
                <a:moveTo>
                  <a:pt x="13351074" y="2296013"/>
                </a:moveTo>
                <a:lnTo>
                  <a:pt x="13319230" y="2780918"/>
                </a:lnTo>
                <a:moveTo>
                  <a:pt x="13319230" y="2780918"/>
                </a:moveTo>
                <a:lnTo>
                  <a:pt x="14603952" y="2865118"/>
                </a:lnTo>
                <a:lnTo>
                  <a:pt x="14635795" y="2380244"/>
                </a:lnTo>
                <a:moveTo>
                  <a:pt x="13382917" y="1811140"/>
                </a:moveTo>
                <a:lnTo>
                  <a:pt x="13414713" y="1326681"/>
                </a:lnTo>
                <a:moveTo>
                  <a:pt x="13382917" y="1811140"/>
                </a:moveTo>
                <a:lnTo>
                  <a:pt x="14667607" y="1895339"/>
                </a:lnTo>
                <a:moveTo>
                  <a:pt x="13287451" y="3265336"/>
                </a:moveTo>
                <a:lnTo>
                  <a:pt x="13255607" y="3750241"/>
                </a:lnTo>
                <a:lnTo>
                  <a:pt x="11971436" y="3666057"/>
                </a:lnTo>
                <a:moveTo>
                  <a:pt x="13140585" y="4177934"/>
                </a:moveTo>
                <a:cubicBezTo>
                  <a:pt x="13140585" y="4177934"/>
                  <a:pt x="13231646" y="4113806"/>
                  <a:pt x="13239622" y="3992450"/>
                </a:cubicBezTo>
                <a:lnTo>
                  <a:pt x="13255529" y="3750241"/>
                </a:lnTo>
                <a:cubicBezTo>
                  <a:pt x="13572324" y="3771004"/>
                  <a:pt x="13888977" y="3794140"/>
                  <a:pt x="14206023" y="3811147"/>
                </a:cubicBezTo>
                <a:cubicBezTo>
                  <a:pt x="14394565" y="3821143"/>
                  <a:pt x="14533910" y="3825576"/>
                  <a:pt x="14533910" y="3825576"/>
                </a:cubicBezTo>
                <a:cubicBezTo>
                  <a:pt x="14515550" y="3983412"/>
                  <a:pt x="14406348" y="4023304"/>
                  <a:pt x="14311810" y="4099440"/>
                </a:cubicBezTo>
                <a:moveTo>
                  <a:pt x="12544864" y="7795774"/>
                </a:moveTo>
                <a:cubicBezTo>
                  <a:pt x="12713283" y="7957854"/>
                  <a:pt x="12784505" y="8017566"/>
                  <a:pt x="12879217" y="8157877"/>
                </a:cubicBezTo>
                <a:cubicBezTo>
                  <a:pt x="13224252" y="8227538"/>
                  <a:pt x="13645685" y="8302212"/>
                  <a:pt x="14029580" y="8388549"/>
                </a:cubicBezTo>
                <a:moveTo>
                  <a:pt x="12545383" y="7795805"/>
                </a:moveTo>
                <a:cubicBezTo>
                  <a:pt x="12356071" y="7635187"/>
                  <a:pt x="12267920" y="7549416"/>
                  <a:pt x="12088126" y="7357425"/>
                </a:cubicBezTo>
                <a:moveTo>
                  <a:pt x="12088126" y="7357425"/>
                </a:moveTo>
                <a:cubicBezTo>
                  <a:pt x="11960581" y="7246489"/>
                  <a:pt x="11789393" y="7005192"/>
                  <a:pt x="11661799" y="6773325"/>
                </a:cubicBezTo>
                <a:moveTo>
                  <a:pt x="12088126" y="7357425"/>
                </a:moveTo>
                <a:cubicBezTo>
                  <a:pt x="12418262" y="7515984"/>
                  <a:pt x="12786661" y="7587185"/>
                  <a:pt x="13070307" y="7739410"/>
                </a:cubicBezTo>
                <a:moveTo>
                  <a:pt x="12873584" y="9566240"/>
                </a:moveTo>
                <a:lnTo>
                  <a:pt x="12905396" y="9081806"/>
                </a:lnTo>
                <a:moveTo>
                  <a:pt x="12873584" y="9566240"/>
                </a:moveTo>
                <a:lnTo>
                  <a:pt x="14158290" y="9650455"/>
                </a:lnTo>
                <a:moveTo>
                  <a:pt x="12873631" y="9566240"/>
                </a:moveTo>
                <a:lnTo>
                  <a:pt x="12841773" y="10051145"/>
                </a:lnTo>
                <a:lnTo>
                  <a:pt x="11557601" y="9966962"/>
                </a:lnTo>
                <a:moveTo>
                  <a:pt x="13446556" y="841781"/>
                </a:moveTo>
                <a:lnTo>
                  <a:pt x="13414713" y="1326681"/>
                </a:lnTo>
                <a:moveTo>
                  <a:pt x="14190133" y="9166037"/>
                </a:moveTo>
                <a:lnTo>
                  <a:pt x="14206039" y="8923813"/>
                </a:lnTo>
                <a:cubicBezTo>
                  <a:pt x="14214000" y="8802473"/>
                  <a:pt x="14214503" y="8689589"/>
                  <a:pt x="14214503" y="8689589"/>
                </a:cubicBezTo>
                <a:moveTo>
                  <a:pt x="14190133" y="9166037"/>
                </a:moveTo>
                <a:lnTo>
                  <a:pt x="14158290" y="9650455"/>
                </a:lnTo>
                <a:moveTo>
                  <a:pt x="14190133" y="9166037"/>
                </a:moveTo>
                <a:lnTo>
                  <a:pt x="15474273" y="9250206"/>
                </a:lnTo>
                <a:moveTo>
                  <a:pt x="14603889" y="2865133"/>
                </a:moveTo>
                <a:lnTo>
                  <a:pt x="14572062" y="3349567"/>
                </a:lnTo>
                <a:moveTo>
                  <a:pt x="14572062" y="3349567"/>
                </a:moveTo>
                <a:lnTo>
                  <a:pt x="13287355" y="3265352"/>
                </a:lnTo>
                <a:moveTo>
                  <a:pt x="14572062" y="3349567"/>
                </a:moveTo>
                <a:lnTo>
                  <a:pt x="15856264" y="3433766"/>
                </a:lnTo>
                <a:moveTo>
                  <a:pt x="14731277" y="925990"/>
                </a:moveTo>
                <a:lnTo>
                  <a:pt x="14699434" y="1410890"/>
                </a:lnTo>
                <a:moveTo>
                  <a:pt x="14699434" y="1410890"/>
                </a:moveTo>
                <a:lnTo>
                  <a:pt x="14667607" y="1895339"/>
                </a:lnTo>
                <a:moveTo>
                  <a:pt x="14699434" y="1410890"/>
                </a:moveTo>
                <a:lnTo>
                  <a:pt x="15983542" y="1495075"/>
                </a:lnTo>
                <a:moveTo>
                  <a:pt x="14699434" y="1410890"/>
                </a:moveTo>
                <a:lnTo>
                  <a:pt x="13414728" y="1326676"/>
                </a:lnTo>
                <a:moveTo>
                  <a:pt x="14029580" y="8388549"/>
                </a:moveTo>
                <a:cubicBezTo>
                  <a:pt x="13853232" y="8290408"/>
                  <a:pt x="13815819" y="8235255"/>
                  <a:pt x="13647070" y="8118803"/>
                </a:cubicBezTo>
                <a:moveTo>
                  <a:pt x="14029580" y="8388549"/>
                </a:moveTo>
                <a:cubicBezTo>
                  <a:pt x="14485484" y="8498415"/>
                  <a:pt x="14918922" y="8536719"/>
                  <a:pt x="15397386" y="8603361"/>
                </a:cubicBezTo>
                <a:moveTo>
                  <a:pt x="14126447" y="10135345"/>
                </a:moveTo>
                <a:lnTo>
                  <a:pt x="14158290" y="9650455"/>
                </a:lnTo>
                <a:moveTo>
                  <a:pt x="14126447" y="10135345"/>
                </a:moveTo>
                <a:lnTo>
                  <a:pt x="15410602" y="10219528"/>
                </a:lnTo>
                <a:moveTo>
                  <a:pt x="14126447" y="10135345"/>
                </a:moveTo>
                <a:lnTo>
                  <a:pt x="12841741" y="10051145"/>
                </a:lnTo>
                <a:moveTo>
                  <a:pt x="14158290" y="9650455"/>
                </a:moveTo>
                <a:lnTo>
                  <a:pt x="15442445" y="9734623"/>
                </a:lnTo>
                <a:moveTo>
                  <a:pt x="14667607" y="1895339"/>
                </a:moveTo>
                <a:lnTo>
                  <a:pt x="15951762" y="1979523"/>
                </a:lnTo>
                <a:moveTo>
                  <a:pt x="14667638" y="1895339"/>
                </a:moveTo>
                <a:lnTo>
                  <a:pt x="14635795" y="2380244"/>
                </a:lnTo>
                <a:moveTo>
                  <a:pt x="14635795" y="2380244"/>
                </a:moveTo>
                <a:lnTo>
                  <a:pt x="13351089" y="2296029"/>
                </a:lnTo>
                <a:moveTo>
                  <a:pt x="14030052" y="8388596"/>
                </a:moveTo>
                <a:cubicBezTo>
                  <a:pt x="14113971" y="8474084"/>
                  <a:pt x="14217020" y="8527885"/>
                  <a:pt x="14214425" y="8689101"/>
                </a:cubicBezTo>
                <a:lnTo>
                  <a:pt x="12937176" y="8596886"/>
                </a:lnTo>
                <a:moveTo>
                  <a:pt x="14572109" y="3349551"/>
                </a:moveTo>
                <a:lnTo>
                  <a:pt x="14556188" y="3591776"/>
                </a:lnTo>
                <a:cubicBezTo>
                  <a:pt x="14548226" y="3713116"/>
                  <a:pt x="14533957" y="3825104"/>
                  <a:pt x="14533957" y="3825104"/>
                </a:cubicBezTo>
                <a:cubicBezTo>
                  <a:pt x="14972806" y="3853867"/>
                  <a:pt x="15465950" y="3842896"/>
                  <a:pt x="15812999" y="3865656"/>
                </a:cubicBezTo>
                <a:cubicBezTo>
                  <a:pt x="15778701" y="3966909"/>
                  <a:pt x="15751169" y="4019217"/>
                  <a:pt x="15695947" y="4065002"/>
                </a:cubicBezTo>
                <a:cubicBezTo>
                  <a:pt x="15202331" y="4075471"/>
                  <a:pt x="14777830" y="4047650"/>
                  <a:pt x="14311842" y="4099440"/>
                </a:cubicBezTo>
                <a:moveTo>
                  <a:pt x="11994799" y="6101616"/>
                </a:moveTo>
                <a:cubicBezTo>
                  <a:pt x="11996514" y="6505434"/>
                  <a:pt x="12175899" y="6898312"/>
                  <a:pt x="12359705" y="7093871"/>
                </a:cubicBezTo>
                <a:cubicBezTo>
                  <a:pt x="12590882" y="7371570"/>
                  <a:pt x="12830634" y="7583491"/>
                  <a:pt x="13070307" y="7739882"/>
                </a:cubicBezTo>
                <a:moveTo>
                  <a:pt x="12486354" y="5165033"/>
                </a:moveTo>
                <a:cubicBezTo>
                  <a:pt x="12743631" y="4996509"/>
                  <a:pt x="12974353" y="4729325"/>
                  <a:pt x="13275368" y="4617305"/>
                </a:cubicBezTo>
                <a:moveTo>
                  <a:pt x="12486354" y="5165033"/>
                </a:moveTo>
                <a:cubicBezTo>
                  <a:pt x="12200427" y="5250270"/>
                  <a:pt x="12017722" y="5305581"/>
                  <a:pt x="11752027" y="5391210"/>
                </a:cubicBezTo>
                <a:moveTo>
                  <a:pt x="13275368" y="4617305"/>
                </a:moveTo>
                <a:cubicBezTo>
                  <a:pt x="13537900" y="4498542"/>
                  <a:pt x="13688809" y="4399741"/>
                  <a:pt x="13897330" y="4316485"/>
                </a:cubicBezTo>
                <a:moveTo>
                  <a:pt x="13275368" y="4617305"/>
                </a:moveTo>
                <a:cubicBezTo>
                  <a:pt x="13894924" y="4507360"/>
                  <a:pt x="14487875" y="4405070"/>
                  <a:pt x="15121623" y="4395796"/>
                </a:cubicBezTo>
                <a:moveTo>
                  <a:pt x="11995302" y="6101176"/>
                </a:moveTo>
                <a:cubicBezTo>
                  <a:pt x="12001470" y="5747749"/>
                  <a:pt x="12143206" y="5463904"/>
                  <a:pt x="12486872" y="5165065"/>
                </a:cubicBezTo>
                <a:moveTo>
                  <a:pt x="11995302" y="6101176"/>
                </a:moveTo>
                <a:lnTo>
                  <a:pt x="13443441" y="6196111"/>
                </a:lnTo>
                <a:cubicBezTo>
                  <a:pt x="13446524" y="5654276"/>
                  <a:pt x="13907966" y="5119892"/>
                  <a:pt x="14385691" y="4808195"/>
                </a:cubicBezTo>
                <a:cubicBezTo>
                  <a:pt x="14631658" y="4649762"/>
                  <a:pt x="14853191" y="4523109"/>
                  <a:pt x="15121623" y="4395796"/>
                </a:cubicBezTo>
                <a:moveTo>
                  <a:pt x="13897330" y="4316485"/>
                </a:moveTo>
                <a:cubicBezTo>
                  <a:pt x="14036660" y="4247972"/>
                  <a:pt x="14196395" y="4169053"/>
                  <a:pt x="14311857" y="4098984"/>
                </a:cubicBezTo>
                <a:moveTo>
                  <a:pt x="13897330" y="4316485"/>
                </a:moveTo>
                <a:cubicBezTo>
                  <a:pt x="13516346" y="4372440"/>
                  <a:pt x="13124175" y="4436143"/>
                  <a:pt x="12762306" y="4492884"/>
                </a:cubicBezTo>
                <a:cubicBezTo>
                  <a:pt x="12452922" y="4553994"/>
                  <a:pt x="12164493" y="4596259"/>
                  <a:pt x="11840209" y="4608409"/>
                </a:cubicBezTo>
                <a:moveTo>
                  <a:pt x="13647557" y="8119305"/>
                </a:moveTo>
                <a:cubicBezTo>
                  <a:pt x="13451842" y="8007663"/>
                  <a:pt x="13301877" y="7856679"/>
                  <a:pt x="13070260" y="7739866"/>
                </a:cubicBezTo>
                <a:moveTo>
                  <a:pt x="15121623" y="4395796"/>
                </a:moveTo>
                <a:cubicBezTo>
                  <a:pt x="15226041" y="4347590"/>
                  <a:pt x="15383117" y="4260483"/>
                  <a:pt x="15490320" y="4210579"/>
                </a:cubicBezTo>
                <a:moveTo>
                  <a:pt x="15121623" y="4395796"/>
                </a:moveTo>
                <a:cubicBezTo>
                  <a:pt x="15831092" y="4353814"/>
                  <a:pt x="16956456" y="4396063"/>
                  <a:pt x="17654676" y="4542536"/>
                </a:cubicBezTo>
                <a:moveTo>
                  <a:pt x="15489786" y="4210564"/>
                </a:moveTo>
                <a:cubicBezTo>
                  <a:pt x="15577951" y="4166460"/>
                  <a:pt x="15633000" y="4123488"/>
                  <a:pt x="15695475" y="4065002"/>
                </a:cubicBezTo>
                <a:moveTo>
                  <a:pt x="14871157" y="8200471"/>
                </a:moveTo>
                <a:cubicBezTo>
                  <a:pt x="15024268" y="8279201"/>
                  <a:pt x="15115456" y="8359518"/>
                  <a:pt x="15212479" y="8432228"/>
                </a:cubicBezTo>
                <a:cubicBezTo>
                  <a:pt x="15913846" y="8512090"/>
                  <a:pt x="16415407" y="8544954"/>
                  <a:pt x="17080274" y="8565010"/>
                </a:cubicBezTo>
                <a:moveTo>
                  <a:pt x="14196065" y="7695574"/>
                </a:moveTo>
                <a:cubicBezTo>
                  <a:pt x="13763350" y="7321840"/>
                  <a:pt x="13372675" y="6778653"/>
                  <a:pt x="13443425" y="6196566"/>
                </a:cubicBezTo>
                <a:moveTo>
                  <a:pt x="14196065" y="7695574"/>
                </a:moveTo>
                <a:cubicBezTo>
                  <a:pt x="13503084" y="7535804"/>
                  <a:pt x="12931371" y="7371759"/>
                  <a:pt x="12359657" y="7093855"/>
                </a:cubicBezTo>
                <a:moveTo>
                  <a:pt x="14196065" y="7695574"/>
                </a:moveTo>
                <a:cubicBezTo>
                  <a:pt x="15477577" y="7998830"/>
                  <a:pt x="16804162" y="8085796"/>
                  <a:pt x="18066716" y="7989289"/>
                </a:cubicBezTo>
                <a:moveTo>
                  <a:pt x="14196048" y="7695558"/>
                </a:moveTo>
                <a:cubicBezTo>
                  <a:pt x="14419296" y="7882865"/>
                  <a:pt x="14622328" y="8037338"/>
                  <a:pt x="14871692" y="8200488"/>
                </a:cubicBezTo>
                <a:cubicBezTo>
                  <a:pt x="14049246" y="8088704"/>
                  <a:pt x="13586499" y="7944966"/>
                  <a:pt x="13070244" y="7739850"/>
                </a:cubicBezTo>
                <a:moveTo>
                  <a:pt x="15397921" y="8603409"/>
                </a:moveTo>
                <a:cubicBezTo>
                  <a:pt x="15328839" y="8519351"/>
                  <a:pt x="15293676" y="8494942"/>
                  <a:pt x="15213046" y="8432244"/>
                </a:cubicBezTo>
                <a:moveTo>
                  <a:pt x="15397921" y="8603409"/>
                </a:moveTo>
                <a:cubicBezTo>
                  <a:pt x="15397921" y="8603409"/>
                  <a:pt x="15483130" y="8693220"/>
                  <a:pt x="15487834" y="8816336"/>
                </a:cubicBezTo>
                <a:lnTo>
                  <a:pt x="14214487" y="8689086"/>
                </a:lnTo>
                <a:moveTo>
                  <a:pt x="15397921" y="8603409"/>
                </a:moveTo>
                <a:cubicBezTo>
                  <a:pt x="15872626" y="8661831"/>
                  <a:pt x="16402820" y="8688582"/>
                  <a:pt x="16902492" y="8707695"/>
                </a:cubicBezTo>
                <a:moveTo>
                  <a:pt x="15410602" y="10219528"/>
                </a:moveTo>
                <a:lnTo>
                  <a:pt x="15442445" y="9734623"/>
                </a:lnTo>
                <a:moveTo>
                  <a:pt x="15442445" y="9734623"/>
                </a:moveTo>
                <a:lnTo>
                  <a:pt x="15474273" y="9250206"/>
                </a:lnTo>
                <a:moveTo>
                  <a:pt x="15474273" y="9250206"/>
                </a:moveTo>
                <a:cubicBezTo>
                  <a:pt x="15483759" y="9105917"/>
                  <a:pt x="15498060" y="8960986"/>
                  <a:pt x="15487866" y="8816336"/>
                </a:cubicBezTo>
                <a:moveTo>
                  <a:pt x="15888044" y="2949333"/>
                </a:moveTo>
                <a:lnTo>
                  <a:pt x="15856264" y="3433766"/>
                </a:lnTo>
                <a:moveTo>
                  <a:pt x="15856264" y="3433766"/>
                </a:moveTo>
                <a:cubicBezTo>
                  <a:pt x="15846824" y="3578054"/>
                  <a:pt x="15842576" y="3723631"/>
                  <a:pt x="15812999" y="3865671"/>
                </a:cubicBezTo>
                <a:lnTo>
                  <a:pt x="17124954" y="3949352"/>
                </a:lnTo>
                <a:moveTo>
                  <a:pt x="15919982" y="2464396"/>
                </a:moveTo>
                <a:lnTo>
                  <a:pt x="15888044" y="2949301"/>
                </a:lnTo>
                <a:lnTo>
                  <a:pt x="14603921" y="2865118"/>
                </a:lnTo>
                <a:moveTo>
                  <a:pt x="15919982" y="2464396"/>
                </a:moveTo>
                <a:lnTo>
                  <a:pt x="15951762" y="1979523"/>
                </a:lnTo>
                <a:moveTo>
                  <a:pt x="15919982" y="2464396"/>
                </a:moveTo>
                <a:lnTo>
                  <a:pt x="14635747" y="2380244"/>
                </a:lnTo>
                <a:moveTo>
                  <a:pt x="16015479" y="1010175"/>
                </a:moveTo>
                <a:lnTo>
                  <a:pt x="15983542" y="1495075"/>
                </a:lnTo>
                <a:moveTo>
                  <a:pt x="15951762" y="1979523"/>
                </a:moveTo>
                <a:lnTo>
                  <a:pt x="15983542" y="1495086"/>
                </a:lnTo>
                <a:moveTo>
                  <a:pt x="24431722" y="10323878"/>
                </a:moveTo>
                <a:lnTo>
                  <a:pt x="24442890" y="10324617"/>
                </a:lnTo>
                <a:moveTo>
                  <a:pt x="24474672" y="9840199"/>
                </a:moveTo>
                <a:lnTo>
                  <a:pt x="24463658" y="9839460"/>
                </a:lnTo>
                <a:moveTo>
                  <a:pt x="11684880" y="8028300"/>
                </a:moveTo>
                <a:cubicBezTo>
                  <a:pt x="11895022" y="8042069"/>
                  <a:pt x="12369051" y="8070785"/>
                  <a:pt x="12879185" y="8158364"/>
                </a:cubicBezTo>
                <a:moveTo>
                  <a:pt x="20674580" y="8617586"/>
                </a:moveTo>
                <a:lnTo>
                  <a:pt x="20341988" y="8595770"/>
                </a:lnTo>
                <a:cubicBezTo>
                  <a:pt x="20054866" y="8576956"/>
                  <a:pt x="19729040" y="8587141"/>
                  <a:pt x="19488328" y="8602418"/>
                </a:cubicBezTo>
                <a:moveTo>
                  <a:pt x="11646271" y="7561376"/>
                </a:moveTo>
                <a:cubicBezTo>
                  <a:pt x="12028640" y="7638676"/>
                  <a:pt x="12246743" y="7693436"/>
                  <a:pt x="12545352" y="7796293"/>
                </a:cubicBezTo>
                <a:moveTo>
                  <a:pt x="10432568" y="7459228"/>
                </a:moveTo>
                <a:cubicBezTo>
                  <a:pt x="10833737" y="7485523"/>
                  <a:pt x="11250341" y="7487881"/>
                  <a:pt x="11645783" y="7560874"/>
                </a:cubicBezTo>
                <a:moveTo>
                  <a:pt x="19877714" y="8295736"/>
                </a:moveTo>
                <a:cubicBezTo>
                  <a:pt x="19360108" y="8388361"/>
                  <a:pt x="19115936" y="8411890"/>
                  <a:pt x="18710818" y="8471900"/>
                </a:cubicBezTo>
                <a:moveTo>
                  <a:pt x="12545414" y="7795821"/>
                </a:moveTo>
                <a:cubicBezTo>
                  <a:pt x="12938812" y="7916187"/>
                  <a:pt x="13113634" y="7980818"/>
                  <a:pt x="13647621" y="8118850"/>
                </a:cubicBezTo>
                <a:moveTo>
                  <a:pt x="18710188" y="8471883"/>
                </a:moveTo>
                <a:cubicBezTo>
                  <a:pt x="18160170" y="8553914"/>
                  <a:pt x="17625572" y="8563109"/>
                  <a:pt x="17080274" y="8564539"/>
                </a:cubicBezTo>
                <a:moveTo>
                  <a:pt x="20800442" y="8170357"/>
                </a:moveTo>
                <a:cubicBezTo>
                  <a:pt x="20474932" y="8185257"/>
                  <a:pt x="20238310" y="8226201"/>
                  <a:pt x="19877714" y="8295264"/>
                </a:cubicBezTo>
                <a:moveTo>
                  <a:pt x="13647557" y="8119337"/>
                </a:moveTo>
                <a:cubicBezTo>
                  <a:pt x="14179372" y="8290643"/>
                  <a:pt x="14704311" y="8355636"/>
                  <a:pt x="15213031" y="8432275"/>
                </a:cubicBezTo>
                <a:moveTo>
                  <a:pt x="24570168" y="8385956"/>
                </a:moveTo>
                <a:lnTo>
                  <a:pt x="24558998" y="8385217"/>
                </a:lnTo>
                <a:moveTo>
                  <a:pt x="11191453" y="6598058"/>
                </a:moveTo>
                <a:cubicBezTo>
                  <a:pt x="11397914" y="6659577"/>
                  <a:pt x="11512259" y="6703775"/>
                  <a:pt x="11661705" y="6773325"/>
                </a:cubicBezTo>
                <a:moveTo>
                  <a:pt x="11661752" y="6773797"/>
                </a:moveTo>
                <a:cubicBezTo>
                  <a:pt x="11943148" y="6895279"/>
                  <a:pt x="12096276" y="6957552"/>
                  <a:pt x="12360192" y="7093886"/>
                </a:cubicBezTo>
                <a:moveTo>
                  <a:pt x="21415434" y="7277170"/>
                </a:moveTo>
                <a:cubicBezTo>
                  <a:pt x="21278718" y="7298782"/>
                  <a:pt x="21106444" y="7333125"/>
                  <a:pt x="20922056" y="7397268"/>
                </a:cubicBezTo>
                <a:moveTo>
                  <a:pt x="20922686" y="7397316"/>
                </a:moveTo>
                <a:cubicBezTo>
                  <a:pt x="20627224" y="7489940"/>
                  <a:pt x="20428046" y="7537108"/>
                  <a:pt x="20142814" y="7635564"/>
                </a:cubicBezTo>
                <a:moveTo>
                  <a:pt x="24622718" y="7415894"/>
                </a:moveTo>
                <a:lnTo>
                  <a:pt x="24633886" y="7416633"/>
                </a:lnTo>
                <a:moveTo>
                  <a:pt x="20142814" y="7635108"/>
                </a:moveTo>
                <a:cubicBezTo>
                  <a:pt x="19805030" y="7748008"/>
                  <a:pt x="18872548" y="7914615"/>
                  <a:pt x="18066244" y="7988802"/>
                </a:cubicBezTo>
                <a:moveTo>
                  <a:pt x="24665668" y="6931728"/>
                </a:moveTo>
                <a:lnTo>
                  <a:pt x="24654654" y="6931005"/>
                </a:lnTo>
                <a:moveTo>
                  <a:pt x="18998254" y="6560194"/>
                </a:moveTo>
                <a:cubicBezTo>
                  <a:pt x="17124166" y="6459947"/>
                  <a:pt x="15319918" y="6341672"/>
                  <a:pt x="13443409" y="6196079"/>
                </a:cubicBezTo>
                <a:moveTo>
                  <a:pt x="9275737" y="5436398"/>
                </a:moveTo>
                <a:lnTo>
                  <a:pt x="10227192" y="5498766"/>
                </a:lnTo>
                <a:cubicBezTo>
                  <a:pt x="10417700" y="5511246"/>
                  <a:pt x="10555661" y="5520299"/>
                  <a:pt x="10555661" y="5520299"/>
                </a:cubicBezTo>
                <a:moveTo>
                  <a:pt x="10555676" y="5519796"/>
                </a:moveTo>
                <a:cubicBezTo>
                  <a:pt x="10790220" y="5527168"/>
                  <a:pt x="11036438" y="5551310"/>
                  <a:pt x="11263383" y="5504063"/>
                </a:cubicBezTo>
                <a:moveTo>
                  <a:pt x="24761164" y="5477971"/>
                </a:moveTo>
                <a:lnTo>
                  <a:pt x="24749994" y="5477249"/>
                </a:lnTo>
                <a:moveTo>
                  <a:pt x="15489769" y="4210548"/>
                </a:moveTo>
                <a:cubicBezTo>
                  <a:pt x="14977762" y="4248978"/>
                  <a:pt x="14447096" y="4214194"/>
                  <a:pt x="13896795" y="4316454"/>
                </a:cubicBezTo>
                <a:moveTo>
                  <a:pt x="11840225" y="4608393"/>
                </a:moveTo>
                <a:cubicBezTo>
                  <a:pt x="11840225" y="4608393"/>
                  <a:pt x="11736420" y="4614774"/>
                  <a:pt x="11564650" y="4609163"/>
                </a:cubicBezTo>
                <a:cubicBezTo>
                  <a:pt x="11479032" y="4606365"/>
                  <a:pt x="10623579" y="4550772"/>
                  <a:pt x="10623579" y="4550772"/>
                </a:cubicBezTo>
                <a:moveTo>
                  <a:pt x="17200786" y="4157957"/>
                </a:moveTo>
                <a:cubicBezTo>
                  <a:pt x="16699226" y="4126505"/>
                  <a:pt x="16197666" y="4094112"/>
                  <a:pt x="15695475" y="4064971"/>
                </a:cubicBezTo>
                <a:moveTo>
                  <a:pt x="24792944" y="4993051"/>
                </a:moveTo>
                <a:lnTo>
                  <a:pt x="24781932" y="4992328"/>
                </a:lnTo>
                <a:moveTo>
                  <a:pt x="14311291" y="4099408"/>
                </a:moveTo>
                <a:cubicBezTo>
                  <a:pt x="13919514" y="4133013"/>
                  <a:pt x="13491913" y="4152031"/>
                  <a:pt x="13140600" y="4177934"/>
                </a:cubicBezTo>
                <a:moveTo>
                  <a:pt x="5533323" y="3742335"/>
                </a:moveTo>
                <a:cubicBezTo>
                  <a:pt x="5601697" y="3723757"/>
                  <a:pt x="5708680" y="3742068"/>
                  <a:pt x="5816937" y="3749157"/>
                </a:cubicBezTo>
                <a:lnTo>
                  <a:pt x="6803413" y="3813819"/>
                </a:lnTo>
                <a:moveTo>
                  <a:pt x="17402166" y="8385657"/>
                </a:moveTo>
                <a:cubicBezTo>
                  <a:pt x="16570374" y="8400321"/>
                  <a:pt x="15721277" y="8344665"/>
                  <a:pt x="14871708" y="8200471"/>
                </a:cubicBezTo>
                <a:moveTo>
                  <a:pt x="21113996" y="7756165"/>
                </a:moveTo>
                <a:cubicBezTo>
                  <a:pt x="20895784" y="7806320"/>
                  <a:pt x="20741758" y="7839045"/>
                  <a:pt x="20402560" y="7924564"/>
                </a:cubicBezTo>
                <a:moveTo>
                  <a:pt x="24729384" y="5962405"/>
                </a:moveTo>
                <a:lnTo>
                  <a:pt x="24718214" y="5961666"/>
                </a:lnTo>
                <a:moveTo>
                  <a:pt x="12251605" y="4868284"/>
                </a:moveTo>
                <a:cubicBezTo>
                  <a:pt x="12003735" y="4901448"/>
                  <a:pt x="11785333" y="4981231"/>
                  <a:pt x="11549373" y="5027865"/>
                </a:cubicBezTo>
                <a:moveTo>
                  <a:pt x="4229596" y="3720409"/>
                </a:moveTo>
                <a:cubicBezTo>
                  <a:pt x="4780038" y="3721666"/>
                  <a:pt x="5123044" y="3367736"/>
                  <a:pt x="5592446" y="3263937"/>
                </a:cubicBezTo>
                <a:moveTo>
                  <a:pt x="1697927" y="2992635"/>
                </a:moveTo>
                <a:lnTo>
                  <a:pt x="2684403" y="3057297"/>
                </a:lnTo>
                <a:cubicBezTo>
                  <a:pt x="2848904" y="3068080"/>
                  <a:pt x="2903450" y="3081534"/>
                  <a:pt x="2938046" y="3090399"/>
                </a:cubicBezTo>
                <a:moveTo>
                  <a:pt x="24824882" y="4508602"/>
                </a:moveTo>
                <a:lnTo>
                  <a:pt x="24813712" y="4507879"/>
                </a:lnTo>
                <a:moveTo>
                  <a:pt x="24888442" y="3539279"/>
                </a:moveTo>
                <a:lnTo>
                  <a:pt x="24877430" y="3538556"/>
                </a:lnTo>
                <a:moveTo>
                  <a:pt x="24920380" y="3054405"/>
                </a:moveTo>
                <a:lnTo>
                  <a:pt x="24909210" y="3053682"/>
                </a:lnTo>
                <a:moveTo>
                  <a:pt x="24984098" y="2085067"/>
                </a:moveTo>
                <a:lnTo>
                  <a:pt x="24972926" y="2084328"/>
                </a:lnTo>
              </a:path>
            </a:pathLst>
          </a:custGeom>
          <a:noFill/>
          <a:ln w="50800" cap="flat">
            <a:solidFill>
              <a:srgbClr val="2D65F4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3" name="Рисунок 22">
            <a:extLst>
              <a:ext uri="{FF2B5EF4-FFF2-40B4-BE49-F238E27FC236}">
                <a16:creationId xmlns:a16="http://schemas.microsoft.com/office/drawing/2014/main" id="{5C51776C-78ED-77A3-F61C-79C94916963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 rot="21007874">
            <a:off x="1444912" y="1676319"/>
            <a:ext cx="13712450" cy="13712450"/>
          </a:xfrm>
          <a:custGeom>
            <a:avLst/>
            <a:gdLst>
              <a:gd name="connsiteX0" fmla="*/ 12756172 w 13712450"/>
              <a:gd name="connsiteY0" fmla="*/ 24332 h 13712450"/>
              <a:gd name="connsiteX1" fmla="*/ 13567900 w 13712450"/>
              <a:gd name="connsiteY1" fmla="*/ 626777 h 13712450"/>
              <a:gd name="connsiteX2" fmla="*/ 13606908 w 13712450"/>
              <a:gd name="connsiteY2" fmla="*/ 707752 h 13712450"/>
              <a:gd name="connsiteX3" fmla="*/ 11846018 w 13712450"/>
              <a:gd name="connsiteY3" fmla="*/ 401417 h 13712450"/>
              <a:gd name="connsiteX4" fmla="*/ 11341838 w 13712450"/>
              <a:gd name="connsiteY4" fmla="*/ 756171 h 13712450"/>
              <a:gd name="connsiteX5" fmla="*/ 10917256 w 13712450"/>
              <a:gd name="connsiteY5" fmla="*/ 3196770 h 13712450"/>
              <a:gd name="connsiteX6" fmla="*/ 11272011 w 13712450"/>
              <a:gd name="connsiteY6" fmla="*/ 3700950 h 13712450"/>
              <a:gd name="connsiteX7" fmla="*/ 13712450 w 13712450"/>
              <a:gd name="connsiteY7" fmla="*/ 4125504 h 13712450"/>
              <a:gd name="connsiteX8" fmla="*/ 13712450 w 13712450"/>
              <a:gd name="connsiteY8" fmla="*/ 4649588 h 13712450"/>
              <a:gd name="connsiteX9" fmla="*/ 11183516 w 13712450"/>
              <a:gd name="connsiteY9" fmla="*/ 4209639 h 13712450"/>
              <a:gd name="connsiteX10" fmla="*/ 10679336 w 13712450"/>
              <a:gd name="connsiteY10" fmla="*/ 4564392 h 13712450"/>
              <a:gd name="connsiteX11" fmla="*/ 10254754 w 13712450"/>
              <a:gd name="connsiteY11" fmla="*/ 7004991 h 13712450"/>
              <a:gd name="connsiteX12" fmla="*/ 10609509 w 13712450"/>
              <a:gd name="connsiteY12" fmla="*/ 7509171 h 13712450"/>
              <a:gd name="connsiteX13" fmla="*/ 13712450 w 13712450"/>
              <a:gd name="connsiteY13" fmla="*/ 8048978 h 13712450"/>
              <a:gd name="connsiteX14" fmla="*/ 13712450 w 13712450"/>
              <a:gd name="connsiteY14" fmla="*/ 8573062 h 13712450"/>
              <a:gd name="connsiteX15" fmla="*/ 10521014 w 13712450"/>
              <a:gd name="connsiteY15" fmla="*/ 8017860 h 13712450"/>
              <a:gd name="connsiteX16" fmla="*/ 10016834 w 13712450"/>
              <a:gd name="connsiteY16" fmla="*/ 8372614 h 13712450"/>
              <a:gd name="connsiteX17" fmla="*/ 9592252 w 13712450"/>
              <a:gd name="connsiteY17" fmla="*/ 10813212 h 13712450"/>
              <a:gd name="connsiteX18" fmla="*/ 9947007 w 13712450"/>
              <a:gd name="connsiteY18" fmla="*/ 11317393 h 13712450"/>
              <a:gd name="connsiteX19" fmla="*/ 13712449 w 13712450"/>
              <a:gd name="connsiteY19" fmla="*/ 11972453 h 13712450"/>
              <a:gd name="connsiteX20" fmla="*/ 13712449 w 13712450"/>
              <a:gd name="connsiteY20" fmla="*/ 12514805 h 13712450"/>
              <a:gd name="connsiteX21" fmla="*/ 12514805 w 13712450"/>
              <a:gd name="connsiteY21" fmla="*/ 13712450 h 13712450"/>
              <a:gd name="connsiteX22" fmla="*/ 1197646 w 13712450"/>
              <a:gd name="connsiteY22" fmla="*/ 13712450 h 13712450"/>
              <a:gd name="connsiteX23" fmla="*/ 0 w 13712450"/>
              <a:gd name="connsiteY23" fmla="*/ 12514805 h 13712450"/>
              <a:gd name="connsiteX24" fmla="*/ 0 w 13712450"/>
              <a:gd name="connsiteY24" fmla="*/ 1197645 h 13712450"/>
              <a:gd name="connsiteX25" fmla="*/ 1197645 w 13712450"/>
              <a:gd name="connsiteY25" fmla="*/ 0 h 13712450"/>
              <a:gd name="connsiteX26" fmla="*/ 12514805 w 13712450"/>
              <a:gd name="connsiteY26" fmla="*/ 0 h 13712450"/>
              <a:gd name="connsiteX27" fmla="*/ 12756172 w 13712450"/>
              <a:gd name="connsiteY27" fmla="*/ 24332 h 13712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3712450" h="13712450">
                <a:moveTo>
                  <a:pt x="12756172" y="24332"/>
                </a:moveTo>
                <a:cubicBezTo>
                  <a:pt x="13107009" y="96124"/>
                  <a:pt x="13401966" y="321320"/>
                  <a:pt x="13567900" y="626777"/>
                </a:cubicBezTo>
                <a:lnTo>
                  <a:pt x="13606908" y="707752"/>
                </a:lnTo>
                <a:lnTo>
                  <a:pt x="11846018" y="401417"/>
                </a:lnTo>
                <a:cubicBezTo>
                  <a:pt x="11608830" y="360154"/>
                  <a:pt x="11383101" y="518983"/>
                  <a:pt x="11341838" y="756171"/>
                </a:cubicBezTo>
                <a:lnTo>
                  <a:pt x="10917256" y="3196770"/>
                </a:lnTo>
                <a:cubicBezTo>
                  <a:pt x="10875993" y="3433960"/>
                  <a:pt x="11034822" y="3659687"/>
                  <a:pt x="11272011" y="3700950"/>
                </a:cubicBezTo>
                <a:lnTo>
                  <a:pt x="13712450" y="4125504"/>
                </a:lnTo>
                <a:lnTo>
                  <a:pt x="13712450" y="4649588"/>
                </a:lnTo>
                <a:lnTo>
                  <a:pt x="11183516" y="4209639"/>
                </a:lnTo>
                <a:cubicBezTo>
                  <a:pt x="10946328" y="4168375"/>
                  <a:pt x="10720599" y="4327204"/>
                  <a:pt x="10679336" y="4564392"/>
                </a:cubicBezTo>
                <a:lnTo>
                  <a:pt x="10254754" y="7004991"/>
                </a:lnTo>
                <a:cubicBezTo>
                  <a:pt x="10213491" y="7242179"/>
                  <a:pt x="10372320" y="7467908"/>
                  <a:pt x="10609509" y="7509171"/>
                </a:cubicBezTo>
                <a:lnTo>
                  <a:pt x="13712450" y="8048978"/>
                </a:lnTo>
                <a:lnTo>
                  <a:pt x="13712450" y="8573062"/>
                </a:lnTo>
                <a:lnTo>
                  <a:pt x="10521014" y="8017860"/>
                </a:lnTo>
                <a:cubicBezTo>
                  <a:pt x="10283826" y="7976597"/>
                  <a:pt x="10058097" y="8135426"/>
                  <a:pt x="10016834" y="8372614"/>
                </a:cubicBezTo>
                <a:lnTo>
                  <a:pt x="9592252" y="10813212"/>
                </a:lnTo>
                <a:cubicBezTo>
                  <a:pt x="9550989" y="11050401"/>
                  <a:pt x="9709818" y="11276130"/>
                  <a:pt x="9947007" y="11317393"/>
                </a:cubicBezTo>
                <a:lnTo>
                  <a:pt x="13712449" y="11972453"/>
                </a:lnTo>
                <a:lnTo>
                  <a:pt x="13712449" y="12514805"/>
                </a:lnTo>
                <a:cubicBezTo>
                  <a:pt x="13712450" y="13176246"/>
                  <a:pt x="13176246" y="13712450"/>
                  <a:pt x="12514805" y="13712450"/>
                </a:cubicBezTo>
                <a:lnTo>
                  <a:pt x="1197646" y="13712450"/>
                </a:lnTo>
                <a:cubicBezTo>
                  <a:pt x="536204" y="13712450"/>
                  <a:pt x="0" y="13176246"/>
                  <a:pt x="0" y="12514805"/>
                </a:cubicBezTo>
                <a:lnTo>
                  <a:pt x="0" y="1197645"/>
                </a:lnTo>
                <a:cubicBezTo>
                  <a:pt x="0" y="536204"/>
                  <a:pt x="536204" y="0"/>
                  <a:pt x="1197645" y="0"/>
                </a:cubicBezTo>
                <a:lnTo>
                  <a:pt x="12514805" y="0"/>
                </a:lnTo>
                <a:cubicBezTo>
                  <a:pt x="12597486" y="0"/>
                  <a:pt x="12678208" y="8378"/>
                  <a:pt x="12756172" y="24332"/>
                </a:cubicBezTo>
                <a:close/>
              </a:path>
            </a:pathLst>
          </a:custGeom>
          <a:solidFill>
            <a:schemeClr val="accent2"/>
          </a:solidFill>
          <a:effectLst>
            <a:outerShdw blurRad="1022878" dist="364003" dir="8100000" algn="tr" rotWithShape="0">
              <a:schemeClr val="accent1">
                <a:alpha val="21000"/>
              </a:schemeClr>
            </a:outerShdw>
          </a:effectLst>
        </p:spPr>
        <p:txBody>
          <a:bodyPr wrap="square" anchor="ctr">
            <a:noAutofit/>
          </a:bodyPr>
          <a:lstStyle>
            <a:lvl1pPr algn="ctr">
              <a:defRPr sz="6000"/>
            </a:lvl1pPr>
          </a:lstStyle>
          <a:p>
            <a:r>
              <a:rPr lang="ru-RU" dirty="0"/>
              <a:t>Вставьте изображение </a:t>
            </a:r>
            <a:br>
              <a:rPr lang="ru-RU" dirty="0"/>
            </a:br>
            <a:r>
              <a:rPr lang="ru-RU" dirty="0"/>
              <a:t>сюда</a:t>
            </a:r>
          </a:p>
        </p:txBody>
      </p:sp>
      <p:sp>
        <p:nvSpPr>
          <p:cNvPr id="4" name="Прямоугольник: скругленные углы 9">
            <a:extLst>
              <a:ext uri="{FF2B5EF4-FFF2-40B4-BE49-F238E27FC236}">
                <a16:creationId xmlns:a16="http://schemas.microsoft.com/office/drawing/2014/main" id="{CB04E3B8-86FF-9A95-73B4-14B82520DD39}"/>
              </a:ext>
            </a:extLst>
          </p:cNvPr>
          <p:cNvSpPr/>
          <p:nvPr userDrawn="1"/>
        </p:nvSpPr>
        <p:spPr>
          <a:xfrm>
            <a:off x="11674875" y="1318037"/>
            <a:ext cx="11785199" cy="3349090"/>
          </a:xfrm>
          <a:prstGeom prst="roundRect">
            <a:avLst>
              <a:gd name="adj" fmla="val 13016"/>
            </a:avLst>
          </a:prstGeom>
          <a:solidFill>
            <a:schemeClr val="bg1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000" tIns="360000" rIns="360000" bIns="216000" rtlCol="0" anchor="ctr" anchorCtr="0"/>
          <a:lstStyle/>
          <a:p>
            <a:pPr marL="0" marR="0" lvl="0" indent="0" defTabSz="18285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YS Text Medium" pitchFamily="2" charset="0"/>
              <a:ea typeface="+mn-ea"/>
              <a:cs typeface="YS Text Medium" pitchFamily="2" charset="0"/>
            </a:endParaRPr>
          </a:p>
        </p:txBody>
      </p:sp>
      <p:sp>
        <p:nvSpPr>
          <p:cNvPr id="5" name="Прямоугольник: скругленные углы 9">
            <a:extLst>
              <a:ext uri="{FF2B5EF4-FFF2-40B4-BE49-F238E27FC236}">
                <a16:creationId xmlns:a16="http://schemas.microsoft.com/office/drawing/2014/main" id="{188E6AE8-F147-1B20-2F13-D62FD422CDE1}"/>
              </a:ext>
            </a:extLst>
          </p:cNvPr>
          <p:cNvSpPr/>
          <p:nvPr userDrawn="1"/>
        </p:nvSpPr>
        <p:spPr>
          <a:xfrm>
            <a:off x="11674875" y="5183455"/>
            <a:ext cx="11785199" cy="3349090"/>
          </a:xfrm>
          <a:prstGeom prst="roundRect">
            <a:avLst>
              <a:gd name="adj" fmla="val 13016"/>
            </a:avLst>
          </a:prstGeom>
          <a:solidFill>
            <a:schemeClr val="bg1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000" tIns="360000" rIns="360000" bIns="216000" rtlCol="0" anchor="ctr" anchorCtr="0"/>
          <a:lstStyle/>
          <a:p>
            <a:pPr marL="0" marR="0" lvl="0" indent="0" defTabSz="18285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YS Text Medium" pitchFamily="2" charset="0"/>
              <a:ea typeface="+mn-ea"/>
              <a:cs typeface="YS Text Medium" pitchFamily="2" charset="0"/>
            </a:endParaRPr>
          </a:p>
        </p:txBody>
      </p:sp>
      <p:sp>
        <p:nvSpPr>
          <p:cNvPr id="6" name="Прямоугольник: скругленные углы 9">
            <a:extLst>
              <a:ext uri="{FF2B5EF4-FFF2-40B4-BE49-F238E27FC236}">
                <a16:creationId xmlns:a16="http://schemas.microsoft.com/office/drawing/2014/main" id="{C155F77D-4AE1-E1C1-169B-7EFAC2DDCFFE}"/>
              </a:ext>
            </a:extLst>
          </p:cNvPr>
          <p:cNvSpPr/>
          <p:nvPr userDrawn="1"/>
        </p:nvSpPr>
        <p:spPr>
          <a:xfrm>
            <a:off x="11674875" y="9048874"/>
            <a:ext cx="11785199" cy="3349090"/>
          </a:xfrm>
          <a:prstGeom prst="roundRect">
            <a:avLst>
              <a:gd name="adj" fmla="val 13016"/>
            </a:avLst>
          </a:prstGeom>
          <a:solidFill>
            <a:schemeClr val="bg1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000" tIns="360000" rIns="360000" bIns="216000" rtlCol="0" anchor="ctr" anchorCtr="0"/>
          <a:lstStyle/>
          <a:p>
            <a:pPr marL="0" marR="0" lvl="0" indent="0" defTabSz="18285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YS Text Medium" pitchFamily="2" charset="0"/>
              <a:ea typeface="+mn-ea"/>
              <a:cs typeface="YS Text Medium" pitchFamily="2" charset="0"/>
            </a:endParaRPr>
          </a:p>
        </p:txBody>
      </p:sp>
      <p:sp>
        <p:nvSpPr>
          <p:cNvPr id="12" name="Текст 11">
            <a:extLst>
              <a:ext uri="{FF2B5EF4-FFF2-40B4-BE49-F238E27FC236}">
                <a16:creationId xmlns:a16="http://schemas.microsoft.com/office/drawing/2014/main" id="{C4D88522-E7A9-17EE-00F5-466D33355E3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312075" y="2244686"/>
            <a:ext cx="10285104" cy="149579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Aft>
                <a:spcPts val="0"/>
              </a:spcAft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3" name="Текст 11">
            <a:extLst>
              <a:ext uri="{FF2B5EF4-FFF2-40B4-BE49-F238E27FC236}">
                <a16:creationId xmlns:a16="http://schemas.microsoft.com/office/drawing/2014/main" id="{A52C11C4-CEC5-91AB-011E-52C8F0839E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312075" y="6110103"/>
            <a:ext cx="10285104" cy="149579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Aft>
                <a:spcPts val="0"/>
              </a:spcAft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4" name="Текст 11">
            <a:extLst>
              <a:ext uri="{FF2B5EF4-FFF2-40B4-BE49-F238E27FC236}">
                <a16:creationId xmlns:a16="http://schemas.microsoft.com/office/drawing/2014/main" id="{79D8D687-5E97-7365-1A2E-8C4A646FD6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312075" y="9975522"/>
            <a:ext cx="10285104" cy="149579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Aft>
                <a:spcPts val="0"/>
              </a:spcAft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174358004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фото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Рисунок 39">
            <a:extLst>
              <a:ext uri="{FF2B5EF4-FFF2-40B4-BE49-F238E27FC236}">
                <a16:creationId xmlns:a16="http://schemas.microsoft.com/office/drawing/2014/main" id="{0D91F92E-3C40-B6B3-78AE-FB5E0F9613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 rot="21007874">
            <a:off x="10576615" y="1491442"/>
            <a:ext cx="14128055" cy="14128054"/>
          </a:xfrm>
          <a:custGeom>
            <a:avLst/>
            <a:gdLst>
              <a:gd name="connsiteX0" fmla="*/ 12247890 w 14128055"/>
              <a:gd name="connsiteY0" fmla="*/ 47840 h 14128054"/>
              <a:gd name="connsiteX1" fmla="*/ 14128053 w 14128055"/>
              <a:gd name="connsiteY1" fmla="*/ 2354723 h 14128054"/>
              <a:gd name="connsiteX2" fmla="*/ 14128055 w 14128055"/>
              <a:gd name="connsiteY2" fmla="*/ 11773331 h 14128054"/>
              <a:gd name="connsiteX3" fmla="*/ 11773331 w 14128055"/>
              <a:gd name="connsiteY3" fmla="*/ 14128054 h 14128054"/>
              <a:gd name="connsiteX4" fmla="*/ 2354723 w 14128055"/>
              <a:gd name="connsiteY4" fmla="*/ 14128054 h 14128054"/>
              <a:gd name="connsiteX5" fmla="*/ 0 w 14128055"/>
              <a:gd name="connsiteY5" fmla="*/ 11773331 h 14128054"/>
              <a:gd name="connsiteX6" fmla="*/ 0 w 14128055"/>
              <a:gd name="connsiteY6" fmla="*/ 10194222 h 14128054"/>
              <a:gd name="connsiteX7" fmla="*/ 1105445 w 14128055"/>
              <a:gd name="connsiteY7" fmla="*/ 10386532 h 14128054"/>
              <a:gd name="connsiteX8" fmla="*/ 1530906 w 14128055"/>
              <a:gd name="connsiteY8" fmla="*/ 10087167 h 14128054"/>
              <a:gd name="connsiteX9" fmla="*/ 1889195 w 14128055"/>
              <a:gd name="connsiteY9" fmla="*/ 8027631 h 14128054"/>
              <a:gd name="connsiteX10" fmla="*/ 1589830 w 14128055"/>
              <a:gd name="connsiteY10" fmla="*/ 7602171 h 14128054"/>
              <a:gd name="connsiteX11" fmla="*/ 0 w 14128055"/>
              <a:gd name="connsiteY11" fmla="*/ 7325594 h 14128054"/>
              <a:gd name="connsiteX12" fmla="*/ 0 w 14128055"/>
              <a:gd name="connsiteY12" fmla="*/ 6894191 h 14128054"/>
              <a:gd name="connsiteX13" fmla="*/ 1662675 w 14128055"/>
              <a:gd name="connsiteY13" fmla="*/ 7183440 h 14128054"/>
              <a:gd name="connsiteX14" fmla="*/ 2088136 w 14128055"/>
              <a:gd name="connsiteY14" fmla="*/ 6884075 h 14128054"/>
              <a:gd name="connsiteX15" fmla="*/ 2446425 w 14128055"/>
              <a:gd name="connsiteY15" fmla="*/ 4824541 h 14128054"/>
              <a:gd name="connsiteX16" fmla="*/ 2147060 w 14128055"/>
              <a:gd name="connsiteY16" fmla="*/ 4399080 h 14128054"/>
              <a:gd name="connsiteX17" fmla="*/ 1 w 14128055"/>
              <a:gd name="connsiteY17" fmla="*/ 4025565 h 14128054"/>
              <a:gd name="connsiteX18" fmla="*/ 2 w 14128055"/>
              <a:gd name="connsiteY18" fmla="*/ 3594160 h 14128054"/>
              <a:gd name="connsiteX19" fmla="*/ 2219905 w 14128055"/>
              <a:gd name="connsiteY19" fmla="*/ 3980348 h 14128054"/>
              <a:gd name="connsiteX20" fmla="*/ 2645365 w 14128055"/>
              <a:gd name="connsiteY20" fmla="*/ 3680986 h 14128054"/>
              <a:gd name="connsiteX21" fmla="*/ 3003655 w 14128055"/>
              <a:gd name="connsiteY21" fmla="*/ 1621448 h 14128054"/>
              <a:gd name="connsiteX22" fmla="*/ 2704290 w 14128055"/>
              <a:gd name="connsiteY22" fmla="*/ 1195988 h 14128054"/>
              <a:gd name="connsiteX23" fmla="*/ 567390 w 14128055"/>
              <a:gd name="connsiteY23" fmla="*/ 824239 h 14128054"/>
              <a:gd name="connsiteX24" fmla="*/ 689682 w 14128055"/>
              <a:gd name="connsiteY24" fmla="*/ 689682 h 14128054"/>
              <a:gd name="connsiteX25" fmla="*/ 2354723 w 14128055"/>
              <a:gd name="connsiteY25" fmla="*/ 0 h 14128054"/>
              <a:gd name="connsiteX26" fmla="*/ 11773331 w 14128055"/>
              <a:gd name="connsiteY26" fmla="*/ 0 h 14128054"/>
              <a:gd name="connsiteX27" fmla="*/ 12247890 w 14128055"/>
              <a:gd name="connsiteY27" fmla="*/ 47840 h 14128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4128055" h="14128054">
                <a:moveTo>
                  <a:pt x="12247890" y="47840"/>
                </a:moveTo>
                <a:cubicBezTo>
                  <a:pt x="13320897" y="267409"/>
                  <a:pt x="14128054" y="1216805"/>
                  <a:pt x="14128053" y="2354723"/>
                </a:cubicBezTo>
                <a:lnTo>
                  <a:pt x="14128055" y="11773331"/>
                </a:lnTo>
                <a:cubicBezTo>
                  <a:pt x="14128053" y="13073808"/>
                  <a:pt x="13073808" y="14128054"/>
                  <a:pt x="11773331" y="14128054"/>
                </a:cubicBezTo>
                <a:lnTo>
                  <a:pt x="2354723" y="14128054"/>
                </a:lnTo>
                <a:cubicBezTo>
                  <a:pt x="1054245" y="14128054"/>
                  <a:pt x="0" y="13073809"/>
                  <a:pt x="0" y="11773331"/>
                </a:cubicBezTo>
                <a:lnTo>
                  <a:pt x="0" y="10194222"/>
                </a:lnTo>
                <a:lnTo>
                  <a:pt x="1105445" y="10386532"/>
                </a:lnTo>
                <a:cubicBezTo>
                  <a:pt x="1305600" y="10421352"/>
                  <a:pt x="1496086" y="10287321"/>
                  <a:pt x="1530906" y="10087167"/>
                </a:cubicBezTo>
                <a:lnTo>
                  <a:pt x="1889195" y="8027631"/>
                </a:lnTo>
                <a:cubicBezTo>
                  <a:pt x="1924016" y="7827477"/>
                  <a:pt x="1789985" y="7636991"/>
                  <a:pt x="1589830" y="7602171"/>
                </a:cubicBezTo>
                <a:lnTo>
                  <a:pt x="0" y="7325594"/>
                </a:lnTo>
                <a:lnTo>
                  <a:pt x="0" y="6894191"/>
                </a:lnTo>
                <a:lnTo>
                  <a:pt x="1662675" y="7183440"/>
                </a:lnTo>
                <a:cubicBezTo>
                  <a:pt x="1862830" y="7218260"/>
                  <a:pt x="2053315" y="7084230"/>
                  <a:pt x="2088136" y="6884075"/>
                </a:cubicBezTo>
                <a:lnTo>
                  <a:pt x="2446425" y="4824541"/>
                </a:lnTo>
                <a:cubicBezTo>
                  <a:pt x="2481245" y="4624385"/>
                  <a:pt x="2347215" y="4433900"/>
                  <a:pt x="2147060" y="4399080"/>
                </a:cubicBezTo>
                <a:lnTo>
                  <a:pt x="1" y="4025565"/>
                </a:lnTo>
                <a:lnTo>
                  <a:pt x="2" y="3594160"/>
                </a:lnTo>
                <a:lnTo>
                  <a:pt x="2219905" y="3980348"/>
                </a:lnTo>
                <a:cubicBezTo>
                  <a:pt x="2420060" y="4015169"/>
                  <a:pt x="2610545" y="3881139"/>
                  <a:pt x="2645365" y="3680986"/>
                </a:cubicBezTo>
                <a:lnTo>
                  <a:pt x="3003655" y="1621448"/>
                </a:lnTo>
                <a:cubicBezTo>
                  <a:pt x="3038475" y="1421294"/>
                  <a:pt x="2904445" y="1230808"/>
                  <a:pt x="2704290" y="1195988"/>
                </a:cubicBezTo>
                <a:lnTo>
                  <a:pt x="567390" y="824239"/>
                </a:lnTo>
                <a:lnTo>
                  <a:pt x="689682" y="689682"/>
                </a:lnTo>
                <a:cubicBezTo>
                  <a:pt x="1115803" y="263562"/>
                  <a:pt x="1704483" y="0"/>
                  <a:pt x="2354723" y="0"/>
                </a:cubicBezTo>
                <a:lnTo>
                  <a:pt x="11773331" y="0"/>
                </a:lnTo>
                <a:cubicBezTo>
                  <a:pt x="11935891" y="0"/>
                  <a:pt x="12094604" y="16473"/>
                  <a:pt x="12247890" y="47840"/>
                </a:cubicBezTo>
                <a:close/>
              </a:path>
            </a:pathLst>
          </a:custGeom>
          <a:solidFill>
            <a:schemeClr val="accent2"/>
          </a:solidFill>
          <a:effectLst/>
        </p:spPr>
        <p:txBody>
          <a:bodyPr wrap="square" anchor="ctr">
            <a:noAutofit/>
          </a:bodyPr>
          <a:lstStyle>
            <a:lvl1pPr algn="ctr">
              <a:defRPr sz="6000"/>
            </a:lvl1pPr>
          </a:lstStyle>
          <a:p>
            <a:r>
              <a:rPr lang="ru-RU" dirty="0"/>
              <a:t>Вставьте </a:t>
            </a:r>
            <a:br>
              <a:rPr lang="ru-RU" dirty="0"/>
            </a:br>
            <a:r>
              <a:rPr lang="ru-RU" dirty="0"/>
              <a:t>изображение </a:t>
            </a:r>
            <a:br>
              <a:rPr lang="ru-RU" dirty="0"/>
            </a:br>
            <a:r>
              <a:rPr lang="ru-RU" dirty="0"/>
              <a:t>сюд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9E96AF04-FF42-0918-6B42-E1E8BEEF5C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9885"/>
                    </a14:imgEffect>
                    <a14:imgEffect>
                      <a14:brightnessContrast contrast="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64905" y="308039"/>
            <a:ext cx="1611774" cy="1483299"/>
          </a:xfrm>
          <a:prstGeom prst="rect">
            <a:avLst/>
          </a:prstGeom>
        </p:spPr>
      </p:pic>
      <p:sp>
        <p:nvSpPr>
          <p:cNvPr id="16" name="Заголовок 20">
            <a:extLst>
              <a:ext uri="{FF2B5EF4-FFF2-40B4-BE49-F238E27FC236}">
                <a16:creationId xmlns:a16="http://schemas.microsoft.com/office/drawing/2014/main" id="{E4BE54B9-AB8D-3B0A-7630-6A3C1A34A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2338" y="791369"/>
            <a:ext cx="15299795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dirty="0"/>
            </a:lvl1pPr>
          </a:lstStyle>
          <a:p>
            <a:pPr lvl="0">
              <a:lnSpc>
                <a:spcPct val="90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26" name="Прямоугольник: скругленные углы 9">
            <a:extLst>
              <a:ext uri="{FF2B5EF4-FFF2-40B4-BE49-F238E27FC236}">
                <a16:creationId xmlns:a16="http://schemas.microsoft.com/office/drawing/2014/main" id="{E94D740A-B794-24A6-6397-B8F27E152FCA}"/>
              </a:ext>
            </a:extLst>
          </p:cNvPr>
          <p:cNvSpPr/>
          <p:nvPr userDrawn="1"/>
        </p:nvSpPr>
        <p:spPr>
          <a:xfrm>
            <a:off x="922338" y="3521484"/>
            <a:ext cx="11785199" cy="2826180"/>
          </a:xfrm>
          <a:prstGeom prst="roundRect">
            <a:avLst>
              <a:gd name="adj" fmla="val 13016"/>
            </a:avLst>
          </a:prstGeom>
          <a:solidFill>
            <a:schemeClr val="bg1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000" tIns="360000" rIns="360000" bIns="216000" rtlCol="0" anchor="ctr" anchorCtr="0"/>
          <a:lstStyle/>
          <a:p>
            <a:pPr marL="0" marR="0" lvl="0" indent="0" defTabSz="18285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YS Text Medium" pitchFamily="2" charset="0"/>
              <a:ea typeface="+mn-ea"/>
              <a:cs typeface="YS Text Medium" pitchFamily="2" charset="0"/>
            </a:endParaRPr>
          </a:p>
        </p:txBody>
      </p:sp>
      <p:sp>
        <p:nvSpPr>
          <p:cNvPr id="27" name="Текст 11">
            <a:extLst>
              <a:ext uri="{FF2B5EF4-FFF2-40B4-BE49-F238E27FC236}">
                <a16:creationId xmlns:a16="http://schemas.microsoft.com/office/drawing/2014/main" id="{0C47636B-70E0-AA0A-27F0-5ADA27031B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59538" y="4380576"/>
            <a:ext cx="10285104" cy="110799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Aft>
                <a:spcPts val="0"/>
              </a:spcAft>
              <a:defRPr lang="ru-RU" sz="40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28" name="Прямоугольник: скругленные углы 9">
            <a:extLst>
              <a:ext uri="{FF2B5EF4-FFF2-40B4-BE49-F238E27FC236}">
                <a16:creationId xmlns:a16="http://schemas.microsoft.com/office/drawing/2014/main" id="{261921D6-4741-CB0D-E739-F5BE71109BF5}"/>
              </a:ext>
            </a:extLst>
          </p:cNvPr>
          <p:cNvSpPr/>
          <p:nvPr userDrawn="1"/>
        </p:nvSpPr>
        <p:spPr>
          <a:xfrm>
            <a:off x="922338" y="6772684"/>
            <a:ext cx="11785199" cy="2826180"/>
          </a:xfrm>
          <a:prstGeom prst="roundRect">
            <a:avLst>
              <a:gd name="adj" fmla="val 13016"/>
            </a:avLst>
          </a:prstGeom>
          <a:solidFill>
            <a:schemeClr val="bg1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000" tIns="360000" rIns="360000" bIns="216000" rtlCol="0" anchor="ctr" anchorCtr="0"/>
          <a:lstStyle/>
          <a:p>
            <a:pPr marL="0" marR="0" lvl="0" indent="0" defTabSz="18285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YS Text Medium" pitchFamily="2" charset="0"/>
              <a:ea typeface="+mn-ea"/>
              <a:cs typeface="YS Text Medium" pitchFamily="2" charset="0"/>
            </a:endParaRPr>
          </a:p>
        </p:txBody>
      </p:sp>
      <p:sp>
        <p:nvSpPr>
          <p:cNvPr id="29" name="Текст 11">
            <a:extLst>
              <a:ext uri="{FF2B5EF4-FFF2-40B4-BE49-F238E27FC236}">
                <a16:creationId xmlns:a16="http://schemas.microsoft.com/office/drawing/2014/main" id="{1AB8B591-3F2E-E070-B157-5189EF1A34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59538" y="7631776"/>
            <a:ext cx="10285104" cy="110799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Aft>
                <a:spcPts val="0"/>
              </a:spcAft>
              <a:defRPr lang="ru-RU" sz="40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30" name="Прямоугольник: скругленные углы 9">
            <a:extLst>
              <a:ext uri="{FF2B5EF4-FFF2-40B4-BE49-F238E27FC236}">
                <a16:creationId xmlns:a16="http://schemas.microsoft.com/office/drawing/2014/main" id="{F7401627-4E66-77F7-381F-77324FFE4DC5}"/>
              </a:ext>
            </a:extLst>
          </p:cNvPr>
          <p:cNvSpPr/>
          <p:nvPr userDrawn="1"/>
        </p:nvSpPr>
        <p:spPr>
          <a:xfrm>
            <a:off x="922338" y="10023884"/>
            <a:ext cx="11785199" cy="2826180"/>
          </a:xfrm>
          <a:prstGeom prst="roundRect">
            <a:avLst>
              <a:gd name="adj" fmla="val 13016"/>
            </a:avLst>
          </a:prstGeom>
          <a:solidFill>
            <a:schemeClr val="bg1"/>
          </a:solidFill>
          <a:ln w="19050">
            <a:noFill/>
          </a:ln>
          <a:effectLst>
            <a:outerShdw blurRad="533400" dist="50800" dir="5400000" algn="ctr" rotWithShape="0">
              <a:srgbClr val="60C5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000" tIns="360000" rIns="360000" bIns="216000" rtlCol="0" anchor="ctr" anchorCtr="0"/>
          <a:lstStyle/>
          <a:p>
            <a:pPr marL="0" marR="0" lvl="0" indent="0" defTabSz="18285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YS Text Medium" pitchFamily="2" charset="0"/>
              <a:ea typeface="+mn-ea"/>
              <a:cs typeface="YS Text Medium" pitchFamily="2" charset="0"/>
            </a:endParaRPr>
          </a:p>
        </p:txBody>
      </p:sp>
      <p:sp>
        <p:nvSpPr>
          <p:cNvPr id="31" name="Текст 11">
            <a:extLst>
              <a:ext uri="{FF2B5EF4-FFF2-40B4-BE49-F238E27FC236}">
                <a16:creationId xmlns:a16="http://schemas.microsoft.com/office/drawing/2014/main" id="{66414A51-51D5-2A6F-B8B2-72581C4905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59538" y="10882976"/>
            <a:ext cx="10285104" cy="110799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algn="l" defTabSz="1828595" rtl="0" eaLnBrk="1" latinLnBrk="0" hangingPunct="1">
              <a:lnSpc>
                <a:spcPct val="90000"/>
              </a:lnSpc>
              <a:spcAft>
                <a:spcPts val="0"/>
              </a:spcAft>
              <a:defRPr lang="ru-RU" sz="40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D32C61AF-599E-FCEB-85AE-2C700359F9C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9885"/>
                    </a14:imgEffect>
                    <a14:imgEffect>
                      <a14:brightnessContrast contrast="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989127">
            <a:off x="9135124" y="11480919"/>
            <a:ext cx="1643711" cy="1876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72333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и фото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A19CCEB0-F6BB-39F8-7B15-9BD13FD63A21}"/>
              </a:ext>
            </a:extLst>
          </p:cNvPr>
          <p:cNvSpPr/>
          <p:nvPr userDrawn="1"/>
        </p:nvSpPr>
        <p:spPr>
          <a:xfrm rot="4500000">
            <a:off x="11234250" y="1529633"/>
            <a:ext cx="11634841" cy="11788902"/>
          </a:xfrm>
          <a:prstGeom prst="roundRect">
            <a:avLst>
              <a:gd name="adj" fmla="val 17884"/>
            </a:avLst>
          </a:prstGeom>
          <a:solidFill>
            <a:schemeClr val="accent3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sp>
        <p:nvSpPr>
          <p:cNvPr id="16" name="Заголовок 20">
            <a:extLst>
              <a:ext uri="{FF2B5EF4-FFF2-40B4-BE49-F238E27FC236}">
                <a16:creationId xmlns:a16="http://schemas.microsoft.com/office/drawing/2014/main" id="{E4BE54B9-AB8D-3B0A-7630-6A3C1A34A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2338" y="791369"/>
            <a:ext cx="15299795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dirty="0"/>
            </a:lvl1pPr>
          </a:lstStyle>
          <a:p>
            <a:pPr lvl="0">
              <a:lnSpc>
                <a:spcPct val="90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8" name="Рисунок 7">
            <a:extLst>
              <a:ext uri="{FF2B5EF4-FFF2-40B4-BE49-F238E27FC236}">
                <a16:creationId xmlns:a16="http://schemas.microsoft.com/office/drawing/2014/main" id="{3D7962AE-6F33-927C-3B7C-32B7363CBA3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 rot="21359890">
            <a:off x="12034890" y="2526040"/>
            <a:ext cx="12072240" cy="12072239"/>
          </a:xfrm>
          <a:prstGeom prst="roundRect">
            <a:avLst/>
          </a:prstGeom>
          <a:solidFill>
            <a:schemeClr val="accent2"/>
          </a:solidFill>
          <a:effectLst/>
        </p:spPr>
        <p:txBody>
          <a:bodyPr wrap="square" anchor="ctr">
            <a:noAutofit/>
          </a:bodyPr>
          <a:lstStyle>
            <a:lvl1pPr algn="ctr">
              <a:defRPr sz="6000"/>
            </a:lvl1pPr>
          </a:lstStyle>
          <a:p>
            <a:r>
              <a:rPr lang="ru-RU" dirty="0"/>
              <a:t>Вставьте </a:t>
            </a:r>
            <a:br>
              <a:rPr lang="ru-RU" dirty="0"/>
            </a:br>
            <a:r>
              <a:rPr lang="ru-RU" dirty="0"/>
              <a:t>изображение </a:t>
            </a:r>
            <a:br>
              <a:rPr lang="ru-RU" dirty="0"/>
            </a:br>
            <a:r>
              <a:rPr lang="ru-RU" dirty="0"/>
              <a:t>сюда</a:t>
            </a:r>
          </a:p>
        </p:txBody>
      </p:sp>
      <p:sp>
        <p:nvSpPr>
          <p:cNvPr id="9" name="Текст 11">
            <a:extLst>
              <a:ext uri="{FF2B5EF4-FFF2-40B4-BE49-F238E27FC236}">
                <a16:creationId xmlns:a16="http://schemas.microsoft.com/office/drawing/2014/main" id="{5B07506C-BAB8-1E6D-1F58-12AFEFD7E5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463" y="2896152"/>
            <a:ext cx="7537204" cy="88639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20000" indent="-720000" algn="l" defTabSz="1828595" rtl="0" eaLnBrk="1" latinLnBrk="0" hangingPunct="1">
              <a:lnSpc>
                <a:spcPct val="90000"/>
              </a:lnSpc>
              <a:spcAft>
                <a:spcPts val="5000"/>
              </a:spcAft>
              <a:buClr>
                <a:schemeClr val="tx1"/>
              </a:buClr>
              <a:buSzPct val="100000"/>
              <a:buFont typeface="YS Text Regular" pitchFamily="2" charset="-52"/>
              <a:buChar char="—"/>
              <a:defRPr lang="ru-RU" sz="3200" kern="1200" dirty="0">
                <a:solidFill>
                  <a:schemeClr val="tx1"/>
                </a:solidFill>
                <a:latin typeface="YS Text Regular" pitchFamily="2" charset="77"/>
                <a:ea typeface="YS Text Wide Text Regular" pitchFamily="34" charset="-122"/>
                <a:cs typeface="YS Text Wide Text Regular" pitchFamily="34" charset="-12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292027843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и горизонтальное фото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9">
            <a:extLst>
              <a:ext uri="{FF2B5EF4-FFF2-40B4-BE49-F238E27FC236}">
                <a16:creationId xmlns:a16="http://schemas.microsoft.com/office/drawing/2014/main" id="{83A0A9DD-9EF4-60AE-54F9-4D0C11E7E2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93023" y="2670049"/>
            <a:ext cx="16189389" cy="11045952"/>
          </a:xfrm>
          <a:prstGeom prst="round2SameRect">
            <a:avLst>
              <a:gd name="adj1" fmla="val 9615"/>
              <a:gd name="adj2" fmla="val 0"/>
            </a:avLst>
          </a:prstGeom>
          <a:solidFill>
            <a:schemeClr val="accent2"/>
          </a:solidFill>
          <a:effectLst/>
        </p:spPr>
        <p:txBody>
          <a:bodyPr wrap="square" anchor="ctr">
            <a:noAutofit/>
          </a:bodyPr>
          <a:lstStyle>
            <a:lvl1pPr algn="ctr">
              <a:defRPr sz="6000"/>
            </a:lvl1pPr>
          </a:lstStyle>
          <a:p>
            <a:r>
              <a:rPr lang="ru-RU" dirty="0"/>
              <a:t>Вставьте </a:t>
            </a:r>
            <a:br>
              <a:rPr lang="ru-RU" dirty="0"/>
            </a:br>
            <a:r>
              <a:rPr lang="ru-RU" dirty="0"/>
              <a:t>изображение </a:t>
            </a:r>
            <a:br>
              <a:rPr lang="ru-RU" dirty="0"/>
            </a:br>
            <a:r>
              <a:rPr lang="ru-RU" dirty="0"/>
              <a:t>сюда</a:t>
            </a:r>
          </a:p>
        </p:txBody>
      </p:sp>
      <p:sp>
        <p:nvSpPr>
          <p:cNvPr id="16" name="Заголовок 20">
            <a:extLst>
              <a:ext uri="{FF2B5EF4-FFF2-40B4-BE49-F238E27FC236}">
                <a16:creationId xmlns:a16="http://schemas.microsoft.com/office/drawing/2014/main" id="{E4BE54B9-AB8D-3B0A-7630-6A3C1A34A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2338" y="791369"/>
            <a:ext cx="15299795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Текст 11">
            <a:extLst>
              <a:ext uri="{FF2B5EF4-FFF2-40B4-BE49-F238E27FC236}">
                <a16:creationId xmlns:a16="http://schemas.microsoft.com/office/drawing/2014/main" id="{5B07506C-BAB8-1E6D-1F58-12AFEFD7E5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463" y="2896152"/>
            <a:ext cx="6792137" cy="88639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lang="ru-RU" dirty="0">
                <a:latin typeface="YS Text Regular" pitchFamily="2" charset="77"/>
                <a:ea typeface="YS Text Wide Text Regular" pitchFamily="34" charset="-122"/>
                <a:cs typeface="YS Text Wide Text Regular" pitchFamily="34" charset="-120"/>
              </a:defRPr>
            </a:lvl1pPr>
          </a:lstStyle>
          <a:p>
            <a:pPr marL="720000" lvl="0" indent="-720000" defTabSz="1828595">
              <a:lnSpc>
                <a:spcPct val="90000"/>
              </a:lnSpc>
              <a:spcAft>
                <a:spcPts val="5000"/>
              </a:spcAft>
              <a:buClr>
                <a:schemeClr val="tx1"/>
              </a:buClr>
              <a:buSzPct val="100000"/>
              <a:buFont typeface="YS Text Regular" pitchFamily="2" charset="-52"/>
              <a:buChar char="—"/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49825525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фото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>
            <a:extLst>
              <a:ext uri="{FF2B5EF4-FFF2-40B4-BE49-F238E27FC236}">
                <a16:creationId xmlns:a16="http://schemas.microsoft.com/office/drawing/2014/main" id="{A177D855-5FA5-BFC4-65C1-166B830E1D0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670049"/>
            <a:ext cx="24382411" cy="11045952"/>
          </a:xfrm>
          <a:custGeom>
            <a:avLst/>
            <a:gdLst>
              <a:gd name="connsiteX0" fmla="*/ 1062069 w 24382411"/>
              <a:gd name="connsiteY0" fmla="*/ 0 h 11045952"/>
              <a:gd name="connsiteX1" fmla="*/ 20596413 w 24382411"/>
              <a:gd name="connsiteY1" fmla="*/ 0 h 11045952"/>
              <a:gd name="connsiteX2" fmla="*/ 20644739 w 24382411"/>
              <a:gd name="connsiteY2" fmla="*/ 59162 h 11045952"/>
              <a:gd name="connsiteX3" fmla="*/ 21355181 w 24382411"/>
              <a:gd name="connsiteY3" fmla="*/ 769605 h 11045952"/>
              <a:gd name="connsiteX4" fmla="*/ 22036999 w 24382411"/>
              <a:gd name="connsiteY4" fmla="*/ 769605 h 11045952"/>
              <a:gd name="connsiteX5" fmla="*/ 22747441 w 24382411"/>
              <a:gd name="connsiteY5" fmla="*/ 59162 h 11045952"/>
              <a:gd name="connsiteX6" fmla="*/ 22795767 w 24382411"/>
              <a:gd name="connsiteY6" fmla="*/ 0 h 11045952"/>
              <a:gd name="connsiteX7" fmla="*/ 23320343 w 24382411"/>
              <a:gd name="connsiteY7" fmla="*/ 0 h 11045952"/>
              <a:gd name="connsiteX8" fmla="*/ 24382411 w 24382411"/>
              <a:gd name="connsiteY8" fmla="*/ 1062068 h 11045952"/>
              <a:gd name="connsiteX9" fmla="*/ 24382411 w 24382411"/>
              <a:gd name="connsiteY9" fmla="*/ 11045952 h 11045952"/>
              <a:gd name="connsiteX10" fmla="*/ 0 w 24382411"/>
              <a:gd name="connsiteY10" fmla="*/ 11045952 h 11045952"/>
              <a:gd name="connsiteX11" fmla="*/ 0 w 24382411"/>
              <a:gd name="connsiteY11" fmla="*/ 1062068 h 11045952"/>
              <a:gd name="connsiteX12" fmla="*/ 1062069 w 24382411"/>
              <a:gd name="connsiteY12" fmla="*/ 0 h 11045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382411" h="11045952">
                <a:moveTo>
                  <a:pt x="1062069" y="0"/>
                </a:moveTo>
                <a:lnTo>
                  <a:pt x="20596413" y="0"/>
                </a:lnTo>
                <a:lnTo>
                  <a:pt x="20644739" y="59162"/>
                </a:lnTo>
                <a:lnTo>
                  <a:pt x="21355181" y="769605"/>
                </a:lnTo>
                <a:cubicBezTo>
                  <a:pt x="21543459" y="957884"/>
                  <a:pt x="21848721" y="957884"/>
                  <a:pt x="22036999" y="769605"/>
                </a:cubicBezTo>
                <a:lnTo>
                  <a:pt x="22747441" y="59162"/>
                </a:lnTo>
                <a:lnTo>
                  <a:pt x="22795767" y="0"/>
                </a:lnTo>
                <a:lnTo>
                  <a:pt x="23320343" y="0"/>
                </a:lnTo>
                <a:cubicBezTo>
                  <a:pt x="23906907" y="0"/>
                  <a:pt x="24382411" y="475504"/>
                  <a:pt x="24382411" y="1062068"/>
                </a:cubicBezTo>
                <a:lnTo>
                  <a:pt x="24382411" y="11045952"/>
                </a:lnTo>
                <a:lnTo>
                  <a:pt x="0" y="11045952"/>
                </a:lnTo>
                <a:lnTo>
                  <a:pt x="0" y="1062068"/>
                </a:lnTo>
                <a:cubicBezTo>
                  <a:pt x="0" y="475504"/>
                  <a:pt x="475504" y="0"/>
                  <a:pt x="1062069" y="0"/>
                </a:cubicBezTo>
                <a:close/>
              </a:path>
            </a:pathLst>
          </a:custGeom>
          <a:solidFill>
            <a:schemeClr val="accent2"/>
          </a:solidFill>
          <a:effectLst/>
        </p:spPr>
        <p:txBody>
          <a:bodyPr wrap="square" anchor="ctr">
            <a:noAutofit/>
          </a:bodyPr>
          <a:lstStyle>
            <a:lvl1pPr algn="ctr">
              <a:defRPr sz="6000"/>
            </a:lvl1pPr>
          </a:lstStyle>
          <a:p>
            <a:r>
              <a:rPr lang="ru-RU" dirty="0"/>
              <a:t>Вставьте </a:t>
            </a:r>
            <a:br>
              <a:rPr lang="ru-RU" dirty="0"/>
            </a:br>
            <a:r>
              <a:rPr lang="ru-RU" dirty="0"/>
              <a:t>изображение </a:t>
            </a:r>
            <a:br>
              <a:rPr lang="ru-RU" dirty="0"/>
            </a:br>
            <a:r>
              <a:rPr lang="ru-RU" dirty="0"/>
              <a:t>сюда</a:t>
            </a:r>
          </a:p>
        </p:txBody>
      </p:sp>
      <p:sp>
        <p:nvSpPr>
          <p:cNvPr id="16" name="Заголовок 20">
            <a:extLst>
              <a:ext uri="{FF2B5EF4-FFF2-40B4-BE49-F238E27FC236}">
                <a16:creationId xmlns:a16="http://schemas.microsoft.com/office/drawing/2014/main" id="{E4BE54B9-AB8D-3B0A-7630-6A3C1A34A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2338" y="791369"/>
            <a:ext cx="15299795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ru-RU" dirty="0"/>
              <a:t>Образец заголовк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782A908-A310-D772-D26B-A31D095DF5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03829" y="1011136"/>
            <a:ext cx="2794000" cy="279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0043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>
            <a:extLst>
              <a:ext uri="{FF2B5EF4-FFF2-40B4-BE49-F238E27FC236}">
                <a16:creationId xmlns:a16="http://schemas.microsoft.com/office/drawing/2014/main" id="{138EF1E0-D24D-0940-B108-2A85B71FE1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86818" y="4224941"/>
            <a:ext cx="13354050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4000" baseline="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46D9333D-093A-314E-A3F5-BD9E0A4DBA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8348" y="1278688"/>
            <a:ext cx="13354050" cy="2474845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или важная мысль</a:t>
            </a:r>
          </a:p>
        </p:txBody>
      </p:sp>
      <p:sp>
        <p:nvSpPr>
          <p:cNvPr id="8" name="Номер слайда 9">
            <a:extLst>
              <a:ext uri="{FF2B5EF4-FFF2-40B4-BE49-F238E27FC236}">
                <a16:creationId xmlns:a16="http://schemas.microsoft.com/office/drawing/2014/main" id="{76A50304-D117-EF4D-8327-25EE8BD66D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991763" y="12158276"/>
            <a:ext cx="869268" cy="730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2000">
                <a:solidFill>
                  <a:srgbClr val="BBBBBB"/>
                </a:solidFill>
              </a:defRPr>
            </a:lvl1pPr>
          </a:lstStyle>
          <a:p>
            <a:fld id="{283B1AB1-319D-4B24-A7E6-2CF2EF1A4365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155663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R-код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20">
            <a:extLst>
              <a:ext uri="{FF2B5EF4-FFF2-40B4-BE49-F238E27FC236}">
                <a16:creationId xmlns:a16="http://schemas.microsoft.com/office/drawing/2014/main" id="{E4BE54B9-AB8D-3B0A-7630-6A3C1A34AD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2339" y="4318673"/>
            <a:ext cx="8155366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1686EAB-E84E-E92B-E552-0495E66B39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40" t="2894" r="35340" b="2894"/>
          <a:stretch/>
        </p:blipFill>
        <p:spPr>
          <a:xfrm rot="20700000">
            <a:off x="11183898" y="1477180"/>
            <a:ext cx="11012748" cy="11157818"/>
          </a:xfrm>
          <a:custGeom>
            <a:avLst/>
            <a:gdLst>
              <a:gd name="connsiteX0" fmla="*/ 11967738 w 15192102"/>
              <a:gd name="connsiteY0" fmla="*/ 1711 h 15392226"/>
              <a:gd name="connsiteX1" fmla="*/ 13590356 w 15192102"/>
              <a:gd name="connsiteY1" fmla="*/ 1462440 h 15392226"/>
              <a:gd name="connsiteX2" fmla="*/ 15172308 w 15192102"/>
              <a:gd name="connsiteY2" fmla="*/ 11866327 h 15392226"/>
              <a:gd name="connsiteX3" fmla="*/ 13729664 w 15192102"/>
              <a:gd name="connsiteY3" fmla="*/ 13826365 h 15392226"/>
              <a:gd name="connsiteX4" fmla="*/ 3561786 w 15192102"/>
              <a:gd name="connsiteY4" fmla="*/ 15372432 h 15392226"/>
              <a:gd name="connsiteX5" fmla="*/ 1601749 w 15192102"/>
              <a:gd name="connsiteY5" fmla="*/ 13929787 h 15392226"/>
              <a:gd name="connsiteX6" fmla="*/ 19795 w 15192102"/>
              <a:gd name="connsiteY6" fmla="*/ 3525899 h 15392226"/>
              <a:gd name="connsiteX7" fmla="*/ 1462440 w 15192102"/>
              <a:gd name="connsiteY7" fmla="*/ 1565862 h 15392226"/>
              <a:gd name="connsiteX8" fmla="*/ 11630316 w 15192102"/>
              <a:gd name="connsiteY8" fmla="*/ 19794 h 15392226"/>
              <a:gd name="connsiteX9" fmla="*/ 11805604 w 15192102"/>
              <a:gd name="connsiteY9" fmla="*/ 2128 h 15392226"/>
              <a:gd name="connsiteX10" fmla="*/ 11967738 w 15192102"/>
              <a:gd name="connsiteY10" fmla="*/ 1711 h 15392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192102" h="15392226">
                <a:moveTo>
                  <a:pt x="11967738" y="1711"/>
                </a:moveTo>
                <a:cubicBezTo>
                  <a:pt x="12771698" y="37655"/>
                  <a:pt x="13464784" y="636597"/>
                  <a:pt x="13590356" y="1462440"/>
                </a:cubicBezTo>
                <a:lnTo>
                  <a:pt x="15172308" y="11866327"/>
                </a:lnTo>
                <a:cubicBezTo>
                  <a:pt x="15315184" y="12805952"/>
                  <a:pt x="14669288" y="13683491"/>
                  <a:pt x="13729664" y="13826365"/>
                </a:cubicBezTo>
                <a:lnTo>
                  <a:pt x="3561786" y="15372432"/>
                </a:lnTo>
                <a:cubicBezTo>
                  <a:pt x="2622161" y="15515306"/>
                  <a:pt x="1744622" y="14869412"/>
                  <a:pt x="1601749" y="13929787"/>
                </a:cubicBezTo>
                <a:lnTo>
                  <a:pt x="19795" y="3525899"/>
                </a:lnTo>
                <a:cubicBezTo>
                  <a:pt x="-123079" y="2586275"/>
                  <a:pt x="522815" y="1708736"/>
                  <a:pt x="1462440" y="1565862"/>
                </a:cubicBezTo>
                <a:lnTo>
                  <a:pt x="11630316" y="19794"/>
                </a:lnTo>
                <a:cubicBezTo>
                  <a:pt x="11689044" y="10864"/>
                  <a:pt x="11747528" y="5016"/>
                  <a:pt x="11805604" y="2128"/>
                </a:cubicBezTo>
                <a:cubicBezTo>
                  <a:pt x="11860052" y="-580"/>
                  <a:pt x="11914142" y="-686"/>
                  <a:pt x="11967738" y="1711"/>
                </a:cubicBezTo>
                <a:close/>
              </a:path>
            </a:pathLst>
          </a:custGeom>
        </p:spPr>
      </p:pic>
      <p:sp>
        <p:nvSpPr>
          <p:cNvPr id="8" name="Рисунок 7">
            <a:extLst>
              <a:ext uri="{FF2B5EF4-FFF2-40B4-BE49-F238E27FC236}">
                <a16:creationId xmlns:a16="http://schemas.microsoft.com/office/drawing/2014/main" id="{3D7962AE-6F33-927C-3B7C-32B7363CBA3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062907" y="1962387"/>
            <a:ext cx="10187408" cy="10187406"/>
          </a:xfrm>
          <a:prstGeom prst="roundRect">
            <a:avLst/>
          </a:prstGeom>
          <a:solidFill>
            <a:schemeClr val="accent2"/>
          </a:solidFill>
          <a:effectLst/>
        </p:spPr>
        <p:txBody>
          <a:bodyPr wrap="square" anchor="ctr">
            <a:noAutofit/>
          </a:bodyPr>
          <a:lstStyle>
            <a:lvl1pPr algn="ctr">
              <a:defRPr sz="6000"/>
            </a:lvl1pPr>
          </a:lstStyle>
          <a:p>
            <a:r>
              <a:rPr lang="ru-RU" dirty="0"/>
              <a:t>Вставьте </a:t>
            </a:r>
            <a:br>
              <a:rPr lang="ru-RU" dirty="0"/>
            </a:br>
            <a:r>
              <a:rPr lang="en-US" dirty="0"/>
              <a:t>QR-</a:t>
            </a:r>
            <a:r>
              <a:rPr lang="ru-RU" dirty="0"/>
              <a:t>код </a:t>
            </a:r>
            <a:br>
              <a:rPr lang="ru-RU" dirty="0"/>
            </a:br>
            <a:r>
              <a:rPr lang="ru-RU" dirty="0"/>
              <a:t>сюда</a:t>
            </a:r>
          </a:p>
        </p:txBody>
      </p:sp>
      <p:sp>
        <p:nvSpPr>
          <p:cNvPr id="9" name="Текст 11">
            <a:extLst>
              <a:ext uri="{FF2B5EF4-FFF2-40B4-BE49-F238E27FC236}">
                <a16:creationId xmlns:a16="http://schemas.microsoft.com/office/drawing/2014/main" id="{5B07506C-BAB8-1E6D-1F58-12AFEFD7E5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463" y="6957163"/>
            <a:ext cx="8148242" cy="88639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algn="l" defTabSz="1828595" rtl="0" eaLnBrk="1" latinLnBrk="0" hangingPunct="1">
              <a:lnSpc>
                <a:spcPct val="90000"/>
              </a:lnSpc>
              <a:spcAft>
                <a:spcPts val="5000"/>
              </a:spcAft>
              <a:buClr>
                <a:srgbClr val="2D65F4"/>
              </a:buClr>
              <a:buSzPct val="100000"/>
              <a:buFont typeface="YS Text Regular" pitchFamily="2" charset="-52"/>
              <a:buNone/>
              <a:defRPr lang="ru-RU" sz="3200" kern="1200" dirty="0">
                <a:solidFill>
                  <a:schemeClr val="bg1"/>
                </a:solidFill>
                <a:latin typeface="YS Text Regular" pitchFamily="2" charset="77"/>
                <a:ea typeface="YS Text Wide Text Regular" pitchFamily="34" charset="-122"/>
                <a:cs typeface="YS Text Wide Text Regular" pitchFamily="34" charset="-120"/>
              </a:defRPr>
            </a:lvl1pPr>
            <a:lvl2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2pPr>
            <a:lvl3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3pPr>
            <a:lvl4pPr marL="0" algn="ctr" defTabSz="1828595" rtl="0" eaLnBrk="1" latinLnBrk="0" hangingPunct="1">
              <a:defRPr lang="ru-RU" sz="5400" i="1" kern="1200" dirty="0" smtClean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4pPr>
            <a:lvl5pPr marL="0" algn="ctr" defTabSz="1828595" rtl="0" eaLnBrk="1" latinLnBrk="0" hangingPunct="1">
              <a:defRPr lang="ru-RU" sz="5400" i="1" kern="1200" dirty="0">
                <a:solidFill>
                  <a:schemeClr val="tx1"/>
                </a:solidFill>
                <a:latin typeface="YS Text Medium" pitchFamily="2" charset="0"/>
                <a:ea typeface="+mn-ea"/>
                <a:cs typeface="YS Text Medium" pitchFamily="2" charset="0"/>
              </a:defRPr>
            </a:lvl5pPr>
          </a:lstStyle>
          <a:p>
            <a:pPr lvl="0"/>
            <a:r>
              <a:rPr lang="ru-RU" dirty="0"/>
              <a:t>Дополнительное описание, можно удалить если не нужно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748440C-E4E9-DACB-FA97-FB39F7F3B8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9885"/>
                    </a14:imgEffect>
                    <a14:imgEffect>
                      <a14:brightnessContrast contrast="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0273" y="479088"/>
            <a:ext cx="1611774" cy="1483299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49D1EE6-9724-2438-4218-1B0AD97EFE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9885"/>
                    </a14:imgEffect>
                    <a14:imgEffect>
                      <a14:brightnessContrast contrast="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39716" y="12149793"/>
            <a:ext cx="1409700" cy="186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24725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65083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88">
          <p15:clr>
            <a:srgbClr val="FBAE40"/>
          </p15:clr>
        </p15:guide>
        <p15:guide id="2" pos="806">
          <p15:clr>
            <a:srgbClr val="FBAE40"/>
          </p15:clr>
        </p15:guide>
        <p15:guide id="3" pos="1426">
          <p15:clr>
            <a:srgbClr val="FBAE40"/>
          </p15:clr>
        </p15:guide>
        <p15:guide id="4" pos="1308">
          <p15:clr>
            <a:srgbClr val="FBAE40"/>
          </p15:clr>
        </p15:guide>
        <p15:guide id="5" pos="1926">
          <p15:clr>
            <a:srgbClr val="FBAE40"/>
          </p15:clr>
        </p15:guide>
        <p15:guide id="6" pos="2044">
          <p15:clr>
            <a:srgbClr val="FBAE40"/>
          </p15:clr>
        </p15:guide>
        <p15:guide id="7" pos="2544">
          <p15:clr>
            <a:srgbClr val="FBAE40"/>
          </p15:clr>
        </p15:guide>
        <p15:guide id="8" pos="2661">
          <p15:clr>
            <a:srgbClr val="FBAE40"/>
          </p15:clr>
        </p15:guide>
        <p15:guide id="9" pos="3160">
          <p15:clr>
            <a:srgbClr val="FBAE40"/>
          </p15:clr>
        </p15:guide>
        <p15:guide id="10" pos="3280">
          <p15:clr>
            <a:srgbClr val="FBAE40"/>
          </p15:clr>
        </p15:guide>
        <p15:guide id="11" pos="3780">
          <p15:clr>
            <a:srgbClr val="FBAE40"/>
          </p15:clr>
        </p15:guide>
        <p15:guide id="12" pos="6252">
          <p15:clr>
            <a:srgbClr val="FBAE40"/>
          </p15:clr>
        </p15:guide>
        <p15:guide id="13" pos="6992">
          <p15:clr>
            <a:srgbClr val="FBAE40"/>
          </p15:clr>
        </p15:guide>
        <p15:guide id="14" pos="6376">
          <p15:clr>
            <a:srgbClr val="FBAE40"/>
          </p15:clr>
        </p15:guide>
        <p15:guide id="15" pos="6876">
          <p15:clr>
            <a:srgbClr val="FBAE40"/>
          </p15:clr>
        </p15:guide>
        <p15:guide id="16" pos="5752">
          <p15:clr>
            <a:srgbClr val="FBAE40"/>
          </p15:clr>
        </p15:guide>
        <p15:guide id="17" pos="5634">
          <p15:clr>
            <a:srgbClr val="FBAE40"/>
          </p15:clr>
        </p15:guide>
        <p15:guide id="18" pos="5134">
          <p15:clr>
            <a:srgbClr val="FBAE40"/>
          </p15:clr>
        </p15:guide>
        <p15:guide id="19" pos="5016">
          <p15:clr>
            <a:srgbClr val="FBAE40"/>
          </p15:clr>
        </p15:guide>
        <p15:guide id="20" pos="4516">
          <p15:clr>
            <a:srgbClr val="FBAE40"/>
          </p15:clr>
        </p15:guide>
        <p15:guide id="21" pos="4400">
          <p15:clr>
            <a:srgbClr val="FBAE40"/>
          </p15:clr>
        </p15:guide>
        <p15:guide id="22" pos="3898">
          <p15:clr>
            <a:srgbClr val="FBAE40"/>
          </p15:clr>
        </p15:guide>
        <p15:guide id="23" orient="horz" pos="1026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5997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F0F519F-CBB3-49BD-8AE1-89BAE5EB0A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1064" t="1916" r="51695" b="60845"/>
          <a:stretch/>
        </p:blipFill>
        <p:spPr>
          <a:xfrm flipH="1">
            <a:off x="0" y="14086170"/>
            <a:ext cx="24382413" cy="13716000"/>
          </a:xfrm>
          <a:prstGeom prst="rect">
            <a:avLst/>
          </a:prstGeom>
        </p:spPr>
      </p:pic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5" y="894350"/>
            <a:ext cx="12309773" cy="4234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CA8D2E80-3E32-425F-A20B-6AA5A6FC084F}"/>
              </a:ext>
            </a:extLst>
          </p:cNvPr>
          <p:cNvCxnSpPr>
            <a:cxnSpLocks/>
          </p:cNvCxnSpPr>
          <p:nvPr userDrawn="1"/>
        </p:nvCxnSpPr>
        <p:spPr>
          <a:xfrm>
            <a:off x="600037" y="7899796"/>
            <a:ext cx="914340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>
            <a:extLst>
              <a:ext uri="{FF2B5EF4-FFF2-40B4-BE49-F238E27FC236}">
                <a16:creationId xmlns:a16="http://schemas.microsoft.com/office/drawing/2014/main" id="{97DB6552-5173-5B85-DE2F-4E675C4351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5087" y="8292234"/>
            <a:ext cx="9118355" cy="48265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600">
                <a:solidFill>
                  <a:schemeClr val="tx2"/>
                </a:solidFill>
              </a:defRPr>
            </a:lvl1pPr>
            <a:lvl2pPr marL="914354" indent="0">
              <a:buNone/>
              <a:defRPr sz="2800">
                <a:solidFill>
                  <a:schemeClr val="tx2"/>
                </a:solidFill>
              </a:defRPr>
            </a:lvl2pPr>
            <a:lvl3pPr marL="1828709" indent="0">
              <a:buNone/>
              <a:defRPr sz="2800">
                <a:solidFill>
                  <a:schemeClr val="tx2"/>
                </a:solidFill>
              </a:defRPr>
            </a:lvl3pPr>
            <a:lvl4pPr marL="2743063" indent="0">
              <a:buNone/>
              <a:defRPr sz="2800">
                <a:solidFill>
                  <a:schemeClr val="tx2"/>
                </a:solidFill>
              </a:defRPr>
            </a:lvl4pPr>
            <a:lvl5pPr marL="3657417" indent="0">
              <a:buNone/>
              <a:defRPr sz="2800"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4472B09E-2535-AE06-F945-A58F9A50C16F}"/>
              </a:ext>
            </a:extLst>
          </p:cNvPr>
          <p:cNvCxnSpPr>
            <a:cxnSpLocks/>
          </p:cNvCxnSpPr>
          <p:nvPr userDrawn="1"/>
        </p:nvCxnSpPr>
        <p:spPr>
          <a:xfrm>
            <a:off x="10111437" y="7899796"/>
            <a:ext cx="415954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DA828922-057E-1576-C90C-5D646CBAE249}"/>
              </a:ext>
            </a:extLst>
          </p:cNvPr>
          <p:cNvCxnSpPr>
            <a:cxnSpLocks/>
          </p:cNvCxnSpPr>
          <p:nvPr userDrawn="1"/>
        </p:nvCxnSpPr>
        <p:spPr>
          <a:xfrm>
            <a:off x="14638973" y="7899796"/>
            <a:ext cx="914340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Объект 5">
            <a:extLst>
              <a:ext uri="{FF2B5EF4-FFF2-40B4-BE49-F238E27FC236}">
                <a16:creationId xmlns:a16="http://schemas.microsoft.com/office/drawing/2014/main" id="{08015A76-D705-C38C-003A-D5076C831AC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111438" y="8292237"/>
            <a:ext cx="3966902" cy="482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600">
                <a:solidFill>
                  <a:schemeClr val="tx2"/>
                </a:solidFill>
              </a:defRPr>
            </a:lvl1pPr>
            <a:lvl2pPr marL="914354" indent="0">
              <a:buNone/>
              <a:defRPr sz="2800">
                <a:solidFill>
                  <a:schemeClr val="tx2"/>
                </a:solidFill>
              </a:defRPr>
            </a:lvl2pPr>
            <a:lvl3pPr marL="1828709" indent="0">
              <a:buNone/>
              <a:defRPr sz="2800">
                <a:solidFill>
                  <a:schemeClr val="tx2"/>
                </a:solidFill>
              </a:defRPr>
            </a:lvl3pPr>
            <a:lvl4pPr marL="2743063" indent="0">
              <a:buNone/>
              <a:defRPr sz="2800">
                <a:solidFill>
                  <a:schemeClr val="tx2"/>
                </a:solidFill>
              </a:defRPr>
            </a:lvl4pPr>
            <a:lvl5pPr marL="3657417" indent="0">
              <a:buNone/>
              <a:defRPr sz="2800"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415E8FE2-E4CE-BBFF-D70B-DEB4B3C537FD}"/>
              </a:ext>
            </a:extLst>
          </p:cNvPr>
          <p:cNvCxnSpPr>
            <a:cxnSpLocks/>
          </p:cNvCxnSpPr>
          <p:nvPr userDrawn="1"/>
        </p:nvCxnSpPr>
        <p:spPr>
          <a:xfrm>
            <a:off x="14454975" y="8085550"/>
            <a:ext cx="0" cy="504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499CD342-3BE1-C276-4C86-6C6E8DBC767B}"/>
              </a:ext>
            </a:extLst>
          </p:cNvPr>
          <p:cNvCxnSpPr>
            <a:cxnSpLocks/>
          </p:cNvCxnSpPr>
          <p:nvPr userDrawn="1"/>
        </p:nvCxnSpPr>
        <p:spPr>
          <a:xfrm>
            <a:off x="9927440" y="8085550"/>
            <a:ext cx="0" cy="504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63CC49FF-7D1A-7E71-D3BB-4AD57E47C3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621533" y="12774661"/>
            <a:ext cx="4159541" cy="427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3852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 без волн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5" y="894350"/>
            <a:ext cx="12309773" cy="4234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CA8D2E80-3E32-425F-A20B-6AA5A6FC084F}"/>
              </a:ext>
            </a:extLst>
          </p:cNvPr>
          <p:cNvCxnSpPr>
            <a:cxnSpLocks/>
          </p:cNvCxnSpPr>
          <p:nvPr userDrawn="1"/>
        </p:nvCxnSpPr>
        <p:spPr>
          <a:xfrm>
            <a:off x="600037" y="7899796"/>
            <a:ext cx="914340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>
            <a:extLst>
              <a:ext uri="{FF2B5EF4-FFF2-40B4-BE49-F238E27FC236}">
                <a16:creationId xmlns:a16="http://schemas.microsoft.com/office/drawing/2014/main" id="{97DB6552-5173-5B85-DE2F-4E675C4351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5087" y="8292234"/>
            <a:ext cx="9118355" cy="48265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914354" indent="0">
              <a:buNone/>
              <a:defRPr sz="2800">
                <a:solidFill>
                  <a:schemeClr val="bg1"/>
                </a:solidFill>
              </a:defRPr>
            </a:lvl2pPr>
            <a:lvl3pPr marL="1828709" indent="0">
              <a:buNone/>
              <a:defRPr sz="2800">
                <a:solidFill>
                  <a:schemeClr val="bg1"/>
                </a:solidFill>
              </a:defRPr>
            </a:lvl3pPr>
            <a:lvl4pPr marL="2743063" indent="0">
              <a:buNone/>
              <a:defRPr sz="2800">
                <a:solidFill>
                  <a:schemeClr val="bg1"/>
                </a:solidFill>
              </a:defRPr>
            </a:lvl4pPr>
            <a:lvl5pPr marL="3657417" indent="0">
              <a:buNone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4472B09E-2535-AE06-F945-A58F9A50C16F}"/>
              </a:ext>
            </a:extLst>
          </p:cNvPr>
          <p:cNvCxnSpPr>
            <a:cxnSpLocks/>
          </p:cNvCxnSpPr>
          <p:nvPr userDrawn="1"/>
        </p:nvCxnSpPr>
        <p:spPr>
          <a:xfrm>
            <a:off x="10111437" y="7899796"/>
            <a:ext cx="415954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DA828922-057E-1576-C90C-5D646CBAE249}"/>
              </a:ext>
            </a:extLst>
          </p:cNvPr>
          <p:cNvCxnSpPr>
            <a:cxnSpLocks/>
          </p:cNvCxnSpPr>
          <p:nvPr userDrawn="1"/>
        </p:nvCxnSpPr>
        <p:spPr>
          <a:xfrm>
            <a:off x="14638973" y="7899796"/>
            <a:ext cx="914340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Объект 5">
            <a:extLst>
              <a:ext uri="{FF2B5EF4-FFF2-40B4-BE49-F238E27FC236}">
                <a16:creationId xmlns:a16="http://schemas.microsoft.com/office/drawing/2014/main" id="{08015A76-D705-C38C-003A-D5076C831AC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111438" y="8292237"/>
            <a:ext cx="3966902" cy="482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914354" indent="0">
              <a:buNone/>
              <a:defRPr sz="2800">
                <a:solidFill>
                  <a:schemeClr val="bg1"/>
                </a:solidFill>
              </a:defRPr>
            </a:lvl2pPr>
            <a:lvl3pPr marL="1828709" indent="0">
              <a:buNone/>
              <a:defRPr sz="2800">
                <a:solidFill>
                  <a:schemeClr val="bg1"/>
                </a:solidFill>
              </a:defRPr>
            </a:lvl3pPr>
            <a:lvl4pPr marL="2743063" indent="0">
              <a:buNone/>
              <a:defRPr sz="2800">
                <a:solidFill>
                  <a:schemeClr val="bg1"/>
                </a:solidFill>
              </a:defRPr>
            </a:lvl4pPr>
            <a:lvl5pPr marL="3657417" indent="0">
              <a:buNone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415E8FE2-E4CE-BBFF-D70B-DEB4B3C537FD}"/>
              </a:ext>
            </a:extLst>
          </p:cNvPr>
          <p:cNvCxnSpPr>
            <a:cxnSpLocks/>
          </p:cNvCxnSpPr>
          <p:nvPr userDrawn="1"/>
        </p:nvCxnSpPr>
        <p:spPr>
          <a:xfrm>
            <a:off x="14454975" y="8085550"/>
            <a:ext cx="0" cy="504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499CD342-3BE1-C276-4C86-6C6E8DBC767B}"/>
              </a:ext>
            </a:extLst>
          </p:cNvPr>
          <p:cNvCxnSpPr>
            <a:cxnSpLocks/>
          </p:cNvCxnSpPr>
          <p:nvPr userDrawn="1"/>
        </p:nvCxnSpPr>
        <p:spPr>
          <a:xfrm>
            <a:off x="9927440" y="8085550"/>
            <a:ext cx="0" cy="504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BF682C4-1AA3-B426-4CAB-063076FF1E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621533" y="12774661"/>
            <a:ext cx="4159541" cy="427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2902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5" y="894350"/>
            <a:ext cx="12309773" cy="4234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CA8D2E80-3E32-425F-A20B-6AA5A6FC084F}"/>
              </a:ext>
            </a:extLst>
          </p:cNvPr>
          <p:cNvCxnSpPr>
            <a:cxnSpLocks/>
          </p:cNvCxnSpPr>
          <p:nvPr userDrawn="1"/>
        </p:nvCxnSpPr>
        <p:spPr>
          <a:xfrm>
            <a:off x="600038" y="7899796"/>
            <a:ext cx="93273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>
            <a:extLst>
              <a:ext uri="{FF2B5EF4-FFF2-40B4-BE49-F238E27FC236}">
                <a16:creationId xmlns:a16="http://schemas.microsoft.com/office/drawing/2014/main" id="{97DB6552-5173-5B85-DE2F-4E675C4351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566192" y="8292235"/>
            <a:ext cx="13342696" cy="23454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914354" indent="0">
              <a:buNone/>
              <a:defRPr sz="2800">
                <a:solidFill>
                  <a:schemeClr val="bg1"/>
                </a:solidFill>
              </a:defRPr>
            </a:lvl2pPr>
            <a:lvl3pPr marL="1828709" indent="0">
              <a:buNone/>
              <a:defRPr sz="2800">
                <a:solidFill>
                  <a:schemeClr val="bg1"/>
                </a:solidFill>
              </a:defRPr>
            </a:lvl3pPr>
            <a:lvl4pPr marL="2743063" indent="0">
              <a:buNone/>
              <a:defRPr sz="2800">
                <a:solidFill>
                  <a:schemeClr val="bg1"/>
                </a:solidFill>
              </a:defRPr>
            </a:lvl4pPr>
            <a:lvl5pPr marL="3657417" indent="0">
              <a:buNone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DA828922-057E-1576-C90C-5D646CBAE249}"/>
              </a:ext>
            </a:extLst>
          </p:cNvPr>
          <p:cNvCxnSpPr>
            <a:cxnSpLocks/>
          </p:cNvCxnSpPr>
          <p:nvPr userDrawn="1"/>
        </p:nvCxnSpPr>
        <p:spPr>
          <a:xfrm>
            <a:off x="10553474" y="7899796"/>
            <a:ext cx="1322890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415E8FE2-E4CE-BBFF-D70B-DEB4B3C537FD}"/>
              </a:ext>
            </a:extLst>
          </p:cNvPr>
          <p:cNvCxnSpPr>
            <a:cxnSpLocks/>
          </p:cNvCxnSpPr>
          <p:nvPr userDrawn="1"/>
        </p:nvCxnSpPr>
        <p:spPr>
          <a:xfrm>
            <a:off x="10246807" y="8085550"/>
            <a:ext cx="0" cy="504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BF682C4-1AA3-B426-4CAB-063076FF1E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621533" y="12774661"/>
            <a:ext cx="4159541" cy="427378"/>
          </a:xfrm>
          <a:prstGeom prst="rect">
            <a:avLst/>
          </a:prstGeom>
        </p:spPr>
      </p:pic>
      <p:sp>
        <p:nvSpPr>
          <p:cNvPr id="7" name="Рисунок 3">
            <a:extLst>
              <a:ext uri="{FF2B5EF4-FFF2-40B4-BE49-F238E27FC236}">
                <a16:creationId xmlns:a16="http://schemas.microsoft.com/office/drawing/2014/main" id="{B7E98E1C-85F0-1F1E-7F03-264C31CB0B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1342" y="8292236"/>
            <a:ext cx="9326083" cy="4830040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</p:spTree>
    <p:extLst>
      <p:ext uri="{BB962C8B-B14F-4D97-AF65-F5344CB8AC3E}">
        <p14:creationId xmlns:p14="http://schemas.microsoft.com/office/powerpoint/2010/main" val="33028961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5" y="894350"/>
            <a:ext cx="12309773" cy="4234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CA8D2E80-3E32-425F-A20B-6AA5A6FC084F}"/>
              </a:ext>
            </a:extLst>
          </p:cNvPr>
          <p:cNvCxnSpPr>
            <a:cxnSpLocks/>
          </p:cNvCxnSpPr>
          <p:nvPr userDrawn="1"/>
        </p:nvCxnSpPr>
        <p:spPr>
          <a:xfrm>
            <a:off x="600037" y="7766476"/>
            <a:ext cx="122257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>
            <a:extLst>
              <a:ext uri="{FF2B5EF4-FFF2-40B4-BE49-F238E27FC236}">
                <a16:creationId xmlns:a16="http://schemas.microsoft.com/office/drawing/2014/main" id="{97DB6552-5173-5B85-DE2F-4E675C4351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0037" y="8160031"/>
            <a:ext cx="12225768" cy="290089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914354" indent="0">
              <a:buNone/>
              <a:defRPr sz="2800">
                <a:solidFill>
                  <a:schemeClr val="bg1"/>
                </a:solidFill>
              </a:defRPr>
            </a:lvl2pPr>
            <a:lvl3pPr marL="1828709" indent="0">
              <a:buNone/>
              <a:defRPr sz="2800">
                <a:solidFill>
                  <a:schemeClr val="bg1"/>
                </a:solidFill>
              </a:defRPr>
            </a:lvl3pPr>
            <a:lvl4pPr marL="2743063" indent="0">
              <a:buNone/>
              <a:defRPr sz="2800">
                <a:solidFill>
                  <a:schemeClr val="bg1"/>
                </a:solidFill>
              </a:defRPr>
            </a:lvl4pPr>
            <a:lvl5pPr marL="3657417" indent="0">
              <a:buNone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DA828922-057E-1576-C90C-5D646CBAE249}"/>
              </a:ext>
            </a:extLst>
          </p:cNvPr>
          <p:cNvCxnSpPr>
            <a:cxnSpLocks/>
          </p:cNvCxnSpPr>
          <p:nvPr userDrawn="1"/>
        </p:nvCxnSpPr>
        <p:spPr>
          <a:xfrm flipV="1">
            <a:off x="13175316" y="593726"/>
            <a:ext cx="0" cy="685367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415E8FE2-E4CE-BBFF-D70B-DEB4B3C537FD}"/>
              </a:ext>
            </a:extLst>
          </p:cNvPr>
          <p:cNvCxnSpPr>
            <a:cxnSpLocks/>
          </p:cNvCxnSpPr>
          <p:nvPr userDrawn="1"/>
        </p:nvCxnSpPr>
        <p:spPr>
          <a:xfrm>
            <a:off x="13175316" y="8085551"/>
            <a:ext cx="0" cy="42753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BF682C4-1AA3-B426-4CAB-063076FF1E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621533" y="12774661"/>
            <a:ext cx="4159541" cy="427378"/>
          </a:xfrm>
          <a:prstGeom prst="rect">
            <a:avLst/>
          </a:prstGeom>
        </p:spPr>
      </p:pic>
      <p:sp>
        <p:nvSpPr>
          <p:cNvPr id="7" name="Рисунок 3">
            <a:extLst>
              <a:ext uri="{FF2B5EF4-FFF2-40B4-BE49-F238E27FC236}">
                <a16:creationId xmlns:a16="http://schemas.microsoft.com/office/drawing/2014/main" id="{B7E98E1C-85F0-1F1E-7F03-264C31CB0B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524819" y="624756"/>
            <a:ext cx="10256258" cy="11736168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</p:spTree>
    <p:extLst>
      <p:ext uri="{BB962C8B-B14F-4D97-AF65-F5344CB8AC3E}">
        <p14:creationId xmlns:p14="http://schemas.microsoft.com/office/powerpoint/2010/main" val="12782425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с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3">
            <a:extLst>
              <a:ext uri="{FF2B5EF4-FFF2-40B4-BE49-F238E27FC236}">
                <a16:creationId xmlns:a16="http://schemas.microsoft.com/office/drawing/2014/main" id="{CC376C89-FD9D-E765-F7A8-7268B12B228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24382413" cy="13716000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</a:t>
            </a:r>
            <a:br>
              <a:rPr lang="ru-RU" dirty="0"/>
            </a:br>
            <a:r>
              <a:rPr lang="ru-RU" dirty="0"/>
              <a:t>фото сюда</a:t>
            </a:r>
          </a:p>
        </p:txBody>
      </p:sp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5" y="894350"/>
            <a:ext cx="17374267" cy="4234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" name="Объект 5">
            <a:extLst>
              <a:ext uri="{FF2B5EF4-FFF2-40B4-BE49-F238E27FC236}">
                <a16:creationId xmlns:a16="http://schemas.microsoft.com/office/drawing/2014/main" id="{91E1CCCF-2F49-653B-8675-37FB57D8794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5086" y="12457045"/>
            <a:ext cx="17220361" cy="66176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914354" indent="0">
              <a:buNone/>
              <a:defRPr sz="2800">
                <a:solidFill>
                  <a:schemeClr val="bg1"/>
                </a:solidFill>
              </a:defRPr>
            </a:lvl2pPr>
            <a:lvl3pPr marL="1828709" indent="0">
              <a:buNone/>
              <a:defRPr sz="2800">
                <a:solidFill>
                  <a:schemeClr val="bg1"/>
                </a:solidFill>
              </a:defRPr>
            </a:lvl3pPr>
            <a:lvl4pPr marL="2743063" indent="0">
              <a:buNone/>
              <a:defRPr sz="2800">
                <a:solidFill>
                  <a:schemeClr val="bg1"/>
                </a:solidFill>
              </a:defRPr>
            </a:lvl4pPr>
            <a:lvl5pPr marL="3657417" indent="0">
              <a:buNone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5684A01-2CD5-9B11-1585-3AEC9DBE44B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621533" y="12774661"/>
            <a:ext cx="4159541" cy="427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7304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Отб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01D9FD1-316C-38C1-4D66-0E78322314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4382413" cy="13716000"/>
          </a:xfrm>
          <a:prstGeom prst="rect">
            <a:avLst/>
          </a:prstGeom>
        </p:spPr>
      </p:pic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5" y="894350"/>
            <a:ext cx="17374267" cy="4234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" name="Объект 5">
            <a:extLst>
              <a:ext uri="{FF2B5EF4-FFF2-40B4-BE49-F238E27FC236}">
                <a16:creationId xmlns:a16="http://schemas.microsoft.com/office/drawing/2014/main" id="{91E1CCCF-2F49-653B-8675-37FB57D8794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5086" y="12457045"/>
            <a:ext cx="17220361" cy="66176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914354" indent="0">
              <a:buNone/>
              <a:defRPr sz="2800">
                <a:solidFill>
                  <a:schemeClr val="bg1"/>
                </a:solidFill>
              </a:defRPr>
            </a:lvl2pPr>
            <a:lvl3pPr marL="1828709" indent="0">
              <a:buNone/>
              <a:defRPr sz="2800">
                <a:solidFill>
                  <a:schemeClr val="bg1"/>
                </a:solidFill>
              </a:defRPr>
            </a:lvl3pPr>
            <a:lvl4pPr marL="2743063" indent="0">
              <a:buNone/>
              <a:defRPr sz="2800">
                <a:solidFill>
                  <a:schemeClr val="bg1"/>
                </a:solidFill>
              </a:defRPr>
            </a:lvl4pPr>
            <a:lvl5pPr marL="3657417" indent="0">
              <a:buNone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5684A01-2CD5-9B11-1585-3AEC9DBE44B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621533" y="12774661"/>
            <a:ext cx="4159541" cy="427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5848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Отб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4E550E9-6C6C-5146-1A1C-27D936697F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4382413" cy="13716000"/>
          </a:xfrm>
          <a:prstGeom prst="rect">
            <a:avLst/>
          </a:prstGeom>
        </p:spPr>
      </p:pic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5" y="894350"/>
            <a:ext cx="17374267" cy="4234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" name="Объект 5">
            <a:extLst>
              <a:ext uri="{FF2B5EF4-FFF2-40B4-BE49-F238E27FC236}">
                <a16:creationId xmlns:a16="http://schemas.microsoft.com/office/drawing/2014/main" id="{91E1CCCF-2F49-653B-8675-37FB57D8794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5086" y="12457045"/>
            <a:ext cx="17220361" cy="66176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914354" indent="0">
              <a:buNone/>
              <a:defRPr sz="2800">
                <a:solidFill>
                  <a:schemeClr val="bg1"/>
                </a:solidFill>
              </a:defRPr>
            </a:lvl2pPr>
            <a:lvl3pPr marL="1828709" indent="0">
              <a:buNone/>
              <a:defRPr sz="2800">
                <a:solidFill>
                  <a:schemeClr val="bg1"/>
                </a:solidFill>
              </a:defRPr>
            </a:lvl3pPr>
            <a:lvl4pPr marL="2743063" indent="0">
              <a:buNone/>
              <a:defRPr sz="2800">
                <a:solidFill>
                  <a:schemeClr val="bg1"/>
                </a:solidFill>
              </a:defRPr>
            </a:lvl4pPr>
            <a:lvl5pPr marL="3657417" indent="0">
              <a:buNone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5684A01-2CD5-9B11-1585-3AEC9DBE44B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621533" y="12774661"/>
            <a:ext cx="4159541" cy="427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9950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цифр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3">
            <a:extLst>
              <a:ext uri="{FF2B5EF4-FFF2-40B4-BE49-F238E27FC236}">
                <a16:creationId xmlns:a16="http://schemas.microsoft.com/office/drawing/2014/main" id="{41EE88AA-FAB4-BF42-8908-ED1379BF8F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45803" y="4764319"/>
            <a:ext cx="13354050" cy="23630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19000" baseline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r>
              <a:rPr lang="ru-RU" dirty="0"/>
              <a:t>Цифра</a:t>
            </a:r>
            <a:endParaRPr lang="en-RU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0A451C00-FF3A-A941-914B-640DA3A9A5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8348" y="1278688"/>
            <a:ext cx="13354050" cy="2474845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или важная мысль</a:t>
            </a:r>
          </a:p>
        </p:txBody>
      </p:sp>
      <p:sp>
        <p:nvSpPr>
          <p:cNvPr id="7" name="Номер слайда 9">
            <a:extLst>
              <a:ext uri="{FF2B5EF4-FFF2-40B4-BE49-F238E27FC236}">
                <a16:creationId xmlns:a16="http://schemas.microsoft.com/office/drawing/2014/main" id="{4CA2D73A-74A0-EF44-821F-5BDA249FF7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991763" y="12158276"/>
            <a:ext cx="869268" cy="730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2000">
                <a:solidFill>
                  <a:srgbClr val="BBBBBB"/>
                </a:solidFill>
              </a:defRPr>
            </a:lvl1pPr>
          </a:lstStyle>
          <a:p>
            <a:fld id="{283B1AB1-319D-4B24-A7E6-2CF2EF1A4365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10002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Отб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9109207-5A8C-9CA3-C5E3-C77AA829A7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0686" t="5937" r="47489" b="62239"/>
          <a:stretch/>
        </p:blipFill>
        <p:spPr>
          <a:xfrm flipH="1">
            <a:off x="0" y="0"/>
            <a:ext cx="24382413" cy="13716000"/>
          </a:xfrm>
          <a:prstGeom prst="rect">
            <a:avLst/>
          </a:prstGeom>
        </p:spPr>
      </p:pic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5" y="894350"/>
            <a:ext cx="17374267" cy="4234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" name="Объект 5">
            <a:extLst>
              <a:ext uri="{FF2B5EF4-FFF2-40B4-BE49-F238E27FC236}">
                <a16:creationId xmlns:a16="http://schemas.microsoft.com/office/drawing/2014/main" id="{91E1CCCF-2F49-653B-8675-37FB57D8794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5086" y="12457045"/>
            <a:ext cx="17220361" cy="66176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914354" indent="0">
              <a:buNone/>
              <a:defRPr sz="2800">
                <a:solidFill>
                  <a:schemeClr val="bg1"/>
                </a:solidFill>
              </a:defRPr>
            </a:lvl2pPr>
            <a:lvl3pPr marL="1828709" indent="0">
              <a:buNone/>
              <a:defRPr sz="2800">
                <a:solidFill>
                  <a:schemeClr val="bg1"/>
                </a:solidFill>
              </a:defRPr>
            </a:lvl3pPr>
            <a:lvl4pPr marL="2743063" indent="0">
              <a:buNone/>
              <a:defRPr sz="2800">
                <a:solidFill>
                  <a:schemeClr val="bg1"/>
                </a:solidFill>
              </a:defRPr>
            </a:lvl4pPr>
            <a:lvl5pPr marL="3657417" indent="0">
              <a:buNone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5684A01-2CD5-9B11-1585-3AEC9DBE44B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621533" y="12774661"/>
            <a:ext cx="4159541" cy="427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24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Отб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C62D8DB-7D58-93B8-8C9D-AD02406017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0896" t="5851" r="46838" b="61884"/>
          <a:stretch/>
        </p:blipFill>
        <p:spPr>
          <a:xfrm flipH="1">
            <a:off x="0" y="0"/>
            <a:ext cx="24382413" cy="13716000"/>
          </a:xfrm>
          <a:prstGeom prst="rect">
            <a:avLst/>
          </a:prstGeom>
        </p:spPr>
      </p:pic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5" y="894350"/>
            <a:ext cx="17374267" cy="4234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" name="Объект 5">
            <a:extLst>
              <a:ext uri="{FF2B5EF4-FFF2-40B4-BE49-F238E27FC236}">
                <a16:creationId xmlns:a16="http://schemas.microsoft.com/office/drawing/2014/main" id="{91E1CCCF-2F49-653B-8675-37FB57D8794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5086" y="12457045"/>
            <a:ext cx="17220361" cy="66176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914354" indent="0">
              <a:buNone/>
              <a:defRPr sz="2800">
                <a:solidFill>
                  <a:schemeClr val="bg1"/>
                </a:solidFill>
              </a:defRPr>
            </a:lvl2pPr>
            <a:lvl3pPr marL="1828709" indent="0">
              <a:buNone/>
              <a:defRPr sz="2800">
                <a:solidFill>
                  <a:schemeClr val="bg1"/>
                </a:solidFill>
              </a:defRPr>
            </a:lvl3pPr>
            <a:lvl4pPr marL="2743063" indent="0">
              <a:buNone/>
              <a:defRPr sz="2800">
                <a:solidFill>
                  <a:schemeClr val="bg1"/>
                </a:solidFill>
              </a:defRPr>
            </a:lvl4pPr>
            <a:lvl5pPr marL="3657417" indent="0">
              <a:buNone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5684A01-2CD5-9B11-1585-3AEC9DBE44B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621533" y="12774661"/>
            <a:ext cx="4159541" cy="427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0934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E1D05F5-18C1-900C-432E-C0CE370AC8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579" t="3955" r="50000" b="61625"/>
          <a:stretch/>
        </p:blipFill>
        <p:spPr>
          <a:xfrm flipH="1" flipV="1">
            <a:off x="0" y="0"/>
            <a:ext cx="24382413" cy="13716000"/>
          </a:xfrm>
          <a:prstGeom prst="rect">
            <a:avLst/>
          </a:prstGeom>
        </p:spPr>
      </p:pic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5" y="9481508"/>
            <a:ext cx="17374267" cy="42344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5684A01-2CD5-9B11-1585-3AEC9DBE44B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621533" y="12774661"/>
            <a:ext cx="4159541" cy="427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1148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5B68E7C-B5C7-14D2-0616-DFE0BB0405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66749" r="62103" b="-4645"/>
          <a:stretch/>
        </p:blipFill>
        <p:spPr>
          <a:xfrm>
            <a:off x="0" y="0"/>
            <a:ext cx="24382413" cy="13716000"/>
          </a:xfrm>
          <a:prstGeom prst="rect">
            <a:avLst/>
          </a:prstGeom>
        </p:spPr>
      </p:pic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5" y="6642054"/>
            <a:ext cx="17374267" cy="42344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5684A01-2CD5-9B11-1585-3AEC9DBE44B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621533" y="12774661"/>
            <a:ext cx="4159541" cy="427378"/>
          </a:xfrm>
          <a:prstGeom prst="rect">
            <a:avLst/>
          </a:prstGeom>
        </p:spPr>
      </p:pic>
      <p:sp>
        <p:nvSpPr>
          <p:cNvPr id="2" name="Объект 5">
            <a:extLst>
              <a:ext uri="{FF2B5EF4-FFF2-40B4-BE49-F238E27FC236}">
                <a16:creationId xmlns:a16="http://schemas.microsoft.com/office/drawing/2014/main" id="{50F1EE23-F908-3C11-A033-69AEF382D55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565556" y="11531431"/>
            <a:ext cx="3823391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marL="0" marR="0" lvl="0" indent="0" algn="l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Х (ХХХ) ХХХ ХХ ХХ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AB7DEAFB-DF23-5427-324C-48AEF4CF011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954504" y="11536341"/>
            <a:ext cx="8097603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958D26F3-8E66-7EE9-232A-316FB942EAA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973309" y="11444088"/>
            <a:ext cx="696195" cy="696240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6C7B9DF8-A58A-8732-550B-D533C294AE9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3405" y="11412882"/>
            <a:ext cx="696195" cy="69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5688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F234335-6EAD-09DD-03AE-3BDFF37FF3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6050" t="63891" r="44189" b="6348"/>
          <a:stretch/>
        </p:blipFill>
        <p:spPr>
          <a:xfrm flipH="1">
            <a:off x="0" y="0"/>
            <a:ext cx="24382413" cy="13716000"/>
          </a:xfrm>
          <a:prstGeom prst="rect">
            <a:avLst/>
          </a:prstGeom>
        </p:spPr>
      </p:pic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6" y="4740754"/>
            <a:ext cx="12731733" cy="42344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5684A01-2CD5-9B11-1585-3AEC9DBE44B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621533" y="12774661"/>
            <a:ext cx="4159541" cy="427378"/>
          </a:xfrm>
          <a:prstGeom prst="rect">
            <a:avLst/>
          </a:prstGeom>
        </p:spPr>
      </p:pic>
      <p:sp>
        <p:nvSpPr>
          <p:cNvPr id="5" name="Объект 5">
            <a:extLst>
              <a:ext uri="{FF2B5EF4-FFF2-40B4-BE49-F238E27FC236}">
                <a16:creationId xmlns:a16="http://schemas.microsoft.com/office/drawing/2014/main" id="{70FA4EEA-4F34-0F2A-2FB1-3A3694C1556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16047" y="9231428"/>
            <a:ext cx="12731731" cy="129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60381DE-CCEE-1295-FF95-AC210C02DB6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973309" y="11444088"/>
            <a:ext cx="696195" cy="69624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38535390-03A0-DFC7-B41E-7CC68FC18EA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3405" y="11412882"/>
            <a:ext cx="696195" cy="696240"/>
          </a:xfrm>
          <a:prstGeom prst="rect">
            <a:avLst/>
          </a:prstGeom>
        </p:spPr>
      </p:pic>
      <p:sp>
        <p:nvSpPr>
          <p:cNvPr id="12" name="Объект 5">
            <a:extLst>
              <a:ext uri="{FF2B5EF4-FFF2-40B4-BE49-F238E27FC236}">
                <a16:creationId xmlns:a16="http://schemas.microsoft.com/office/drawing/2014/main" id="{185586DF-22A8-5350-60B7-7398E8F72D9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565556" y="11531431"/>
            <a:ext cx="3823391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marL="0" marR="0" lvl="0" indent="0" algn="l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Х (ХХХ) ХХХ ХХ ХХ</a:t>
            </a:r>
          </a:p>
        </p:txBody>
      </p:sp>
      <p:sp>
        <p:nvSpPr>
          <p:cNvPr id="13" name="Объект 5">
            <a:extLst>
              <a:ext uri="{FF2B5EF4-FFF2-40B4-BE49-F238E27FC236}">
                <a16:creationId xmlns:a16="http://schemas.microsoft.com/office/drawing/2014/main" id="{2F897277-25F0-E915-276A-5A0C2433495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954504" y="11536341"/>
            <a:ext cx="8097603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59150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лючевые цифр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5CC0B2B-47F7-EB41-F5A6-C3BAF8CC3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0686" t="6801" r="47489" b="61375"/>
          <a:stretch/>
        </p:blipFill>
        <p:spPr>
          <a:xfrm flipH="1">
            <a:off x="-391705" y="14173200"/>
            <a:ext cx="24382413" cy="13716000"/>
          </a:xfrm>
          <a:prstGeom prst="rect">
            <a:avLst/>
          </a:prstGeom>
        </p:spPr>
      </p:pic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5" y="894350"/>
            <a:ext cx="17572856" cy="4234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" name="Объект 5">
            <a:extLst>
              <a:ext uri="{FF2B5EF4-FFF2-40B4-BE49-F238E27FC236}">
                <a16:creationId xmlns:a16="http://schemas.microsoft.com/office/drawing/2014/main" id="{91E1CCCF-2F49-653B-8675-37FB57D8794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5086" y="12457045"/>
            <a:ext cx="17220361" cy="66176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914354" indent="0">
              <a:buNone/>
              <a:defRPr sz="2800">
                <a:solidFill>
                  <a:schemeClr val="bg1"/>
                </a:solidFill>
              </a:defRPr>
            </a:lvl2pPr>
            <a:lvl3pPr marL="1828709" indent="0">
              <a:buNone/>
              <a:defRPr sz="2800">
                <a:solidFill>
                  <a:schemeClr val="bg1"/>
                </a:solidFill>
              </a:defRPr>
            </a:lvl3pPr>
            <a:lvl4pPr marL="2743063" indent="0">
              <a:buNone/>
              <a:defRPr sz="2800">
                <a:solidFill>
                  <a:schemeClr val="bg1"/>
                </a:solidFill>
              </a:defRPr>
            </a:lvl4pPr>
            <a:lvl5pPr marL="3657417" indent="0">
              <a:buNone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F9021C97-163D-4887-ACF5-8F880B06694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7329" y="5016387"/>
            <a:ext cx="8986687" cy="7368170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53197" b="0" i="0">
                <a:solidFill>
                  <a:schemeClr val="tx1"/>
                </a:solidFill>
                <a:latin typeface="YS Text Regular" pitchFamily="2" charset="0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7" name="Объект 5">
            <a:extLst>
              <a:ext uri="{FF2B5EF4-FFF2-40B4-BE49-F238E27FC236}">
                <a16:creationId xmlns:a16="http://schemas.microsoft.com/office/drawing/2014/main" id="{EC6BB22F-4105-DB9D-697D-1B483E279EA1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0035" y="11222444"/>
            <a:ext cx="8986687" cy="5267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8" name="Объект 5">
            <a:extLst>
              <a:ext uri="{FF2B5EF4-FFF2-40B4-BE49-F238E27FC236}">
                <a16:creationId xmlns:a16="http://schemas.microsoft.com/office/drawing/2014/main" id="{E2DCF343-21D0-C9D8-0ED6-86F8E34C979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13202894" y="8980004"/>
            <a:ext cx="4886008" cy="22159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5999" b="0" i="0">
                <a:solidFill>
                  <a:schemeClr val="tx1"/>
                </a:solidFill>
                <a:latin typeface="YS Text Medium" pitchFamily="2" charset="0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9" name="Объект 5">
            <a:extLst>
              <a:ext uri="{FF2B5EF4-FFF2-40B4-BE49-F238E27FC236}">
                <a16:creationId xmlns:a16="http://schemas.microsoft.com/office/drawing/2014/main" id="{0041FE1A-E50D-0312-5B58-8BE96F700BD5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3202894" y="11222442"/>
            <a:ext cx="4886008" cy="5267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0" name="Объект 5">
            <a:extLst>
              <a:ext uri="{FF2B5EF4-FFF2-40B4-BE49-F238E27FC236}">
                <a16:creationId xmlns:a16="http://schemas.microsoft.com/office/drawing/2014/main" id="{39AC359C-D667-02AD-06F8-A3417647EB0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8850972" y="8980004"/>
            <a:ext cx="4886008" cy="22159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5999" b="0" i="0">
                <a:solidFill>
                  <a:schemeClr val="tx1"/>
                </a:solidFill>
                <a:latin typeface="YS Text Medium" pitchFamily="2" charset="0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11" name="Объект 5">
            <a:extLst>
              <a:ext uri="{FF2B5EF4-FFF2-40B4-BE49-F238E27FC236}">
                <a16:creationId xmlns:a16="http://schemas.microsoft.com/office/drawing/2014/main" id="{9591003A-0F17-185E-F169-0E5372537AE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8850972" y="11222442"/>
            <a:ext cx="4886008" cy="5267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2" name="Объект 5">
            <a:extLst>
              <a:ext uri="{FF2B5EF4-FFF2-40B4-BE49-F238E27FC236}">
                <a16:creationId xmlns:a16="http://schemas.microsoft.com/office/drawing/2014/main" id="{A3919BDC-28C2-1B83-5436-5D0EA5CEED5A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13202894" y="5579078"/>
            <a:ext cx="4886008" cy="22159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5999" b="0" i="0">
                <a:solidFill>
                  <a:schemeClr val="tx1"/>
                </a:solidFill>
                <a:latin typeface="YS Text Medium" pitchFamily="2" charset="0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13" name="Объект 5">
            <a:extLst>
              <a:ext uri="{FF2B5EF4-FFF2-40B4-BE49-F238E27FC236}">
                <a16:creationId xmlns:a16="http://schemas.microsoft.com/office/drawing/2014/main" id="{10CAC847-2DFD-5190-95E3-16503255E15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13202894" y="7821516"/>
            <a:ext cx="4886008" cy="5267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5" name="Объект 5">
            <a:extLst>
              <a:ext uri="{FF2B5EF4-FFF2-40B4-BE49-F238E27FC236}">
                <a16:creationId xmlns:a16="http://schemas.microsoft.com/office/drawing/2014/main" id="{6E634D8A-1467-C8B6-5AD8-4E5EF4A0EC5D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18850972" y="5579078"/>
            <a:ext cx="4886008" cy="22159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5999" b="0" i="0">
                <a:solidFill>
                  <a:schemeClr val="tx1"/>
                </a:solidFill>
                <a:latin typeface="YS Text Medium" pitchFamily="2" charset="0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16" name="Объект 5">
            <a:extLst>
              <a:ext uri="{FF2B5EF4-FFF2-40B4-BE49-F238E27FC236}">
                <a16:creationId xmlns:a16="http://schemas.microsoft.com/office/drawing/2014/main" id="{74ED6A9F-DA52-2D08-E6DB-BC67CDF3C795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18850972" y="7821516"/>
            <a:ext cx="4886008" cy="5267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3333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лючевые цифр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5" y="894350"/>
            <a:ext cx="17572856" cy="4234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" name="Объект 5">
            <a:extLst>
              <a:ext uri="{FF2B5EF4-FFF2-40B4-BE49-F238E27FC236}">
                <a16:creationId xmlns:a16="http://schemas.microsoft.com/office/drawing/2014/main" id="{91E1CCCF-2F49-653B-8675-37FB57D8794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5086" y="12457045"/>
            <a:ext cx="17220361" cy="66176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914354" indent="0">
              <a:buNone/>
              <a:defRPr sz="2800">
                <a:solidFill>
                  <a:schemeClr val="bg1"/>
                </a:solidFill>
              </a:defRPr>
            </a:lvl2pPr>
            <a:lvl3pPr marL="1828709" indent="0">
              <a:buNone/>
              <a:defRPr sz="2800">
                <a:solidFill>
                  <a:schemeClr val="bg1"/>
                </a:solidFill>
              </a:defRPr>
            </a:lvl3pPr>
            <a:lvl4pPr marL="2743063" indent="0">
              <a:buNone/>
              <a:defRPr sz="2800">
                <a:solidFill>
                  <a:schemeClr val="bg1"/>
                </a:solidFill>
              </a:defRPr>
            </a:lvl4pPr>
            <a:lvl5pPr marL="3657417" indent="0">
              <a:buNone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F9021C97-163D-4887-ACF5-8F880B06694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7329" y="5016387"/>
            <a:ext cx="8986687" cy="7368170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53197" b="0" i="0">
                <a:solidFill>
                  <a:schemeClr val="tx1"/>
                </a:solidFill>
                <a:latin typeface="YS Text Regular" pitchFamily="2" charset="0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7" name="Объект 5">
            <a:extLst>
              <a:ext uri="{FF2B5EF4-FFF2-40B4-BE49-F238E27FC236}">
                <a16:creationId xmlns:a16="http://schemas.microsoft.com/office/drawing/2014/main" id="{EC6BB22F-4105-DB9D-697D-1B483E279EA1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0035" y="11222444"/>
            <a:ext cx="8986687" cy="5267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8" name="Объект 5">
            <a:extLst>
              <a:ext uri="{FF2B5EF4-FFF2-40B4-BE49-F238E27FC236}">
                <a16:creationId xmlns:a16="http://schemas.microsoft.com/office/drawing/2014/main" id="{E2DCF343-21D0-C9D8-0ED6-86F8E34C979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13202894" y="8980004"/>
            <a:ext cx="4886008" cy="22159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5999" b="0" i="0">
                <a:solidFill>
                  <a:schemeClr val="tx1"/>
                </a:solidFill>
                <a:latin typeface="YS Text Medium" pitchFamily="2" charset="0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9" name="Объект 5">
            <a:extLst>
              <a:ext uri="{FF2B5EF4-FFF2-40B4-BE49-F238E27FC236}">
                <a16:creationId xmlns:a16="http://schemas.microsoft.com/office/drawing/2014/main" id="{0041FE1A-E50D-0312-5B58-8BE96F700BD5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3202894" y="11222442"/>
            <a:ext cx="4886008" cy="5267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0" name="Объект 5">
            <a:extLst>
              <a:ext uri="{FF2B5EF4-FFF2-40B4-BE49-F238E27FC236}">
                <a16:creationId xmlns:a16="http://schemas.microsoft.com/office/drawing/2014/main" id="{39AC359C-D667-02AD-06F8-A3417647EB0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8850972" y="8980004"/>
            <a:ext cx="4886008" cy="22159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5999" b="0" i="0">
                <a:solidFill>
                  <a:schemeClr val="tx1"/>
                </a:solidFill>
                <a:latin typeface="YS Text Medium" pitchFamily="2" charset="0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11" name="Объект 5">
            <a:extLst>
              <a:ext uri="{FF2B5EF4-FFF2-40B4-BE49-F238E27FC236}">
                <a16:creationId xmlns:a16="http://schemas.microsoft.com/office/drawing/2014/main" id="{9591003A-0F17-185E-F169-0E5372537AE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8850972" y="11222442"/>
            <a:ext cx="4886008" cy="5267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2" name="Объект 5">
            <a:extLst>
              <a:ext uri="{FF2B5EF4-FFF2-40B4-BE49-F238E27FC236}">
                <a16:creationId xmlns:a16="http://schemas.microsoft.com/office/drawing/2014/main" id="{A3919BDC-28C2-1B83-5436-5D0EA5CEED5A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13202894" y="5579078"/>
            <a:ext cx="4886008" cy="22159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5999" b="0" i="0">
                <a:solidFill>
                  <a:schemeClr val="tx1"/>
                </a:solidFill>
                <a:latin typeface="YS Text Medium" pitchFamily="2" charset="0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13" name="Объект 5">
            <a:extLst>
              <a:ext uri="{FF2B5EF4-FFF2-40B4-BE49-F238E27FC236}">
                <a16:creationId xmlns:a16="http://schemas.microsoft.com/office/drawing/2014/main" id="{10CAC847-2DFD-5190-95E3-16503255E15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13202894" y="7821516"/>
            <a:ext cx="4886008" cy="5267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5" name="Объект 5">
            <a:extLst>
              <a:ext uri="{FF2B5EF4-FFF2-40B4-BE49-F238E27FC236}">
                <a16:creationId xmlns:a16="http://schemas.microsoft.com/office/drawing/2014/main" id="{6E634D8A-1467-C8B6-5AD8-4E5EF4A0EC5D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18850972" y="5579078"/>
            <a:ext cx="4886008" cy="22159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5999" b="0" i="0">
                <a:solidFill>
                  <a:schemeClr val="tx1"/>
                </a:solidFill>
                <a:latin typeface="YS Text Medium" pitchFamily="2" charset="0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16" name="Объект 5">
            <a:extLst>
              <a:ext uri="{FF2B5EF4-FFF2-40B4-BE49-F238E27FC236}">
                <a16:creationId xmlns:a16="http://schemas.microsoft.com/office/drawing/2014/main" id="{74ED6A9F-DA52-2D08-E6DB-BC67CDF3C795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18850972" y="7821516"/>
            <a:ext cx="4886008" cy="5267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87869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 и ключевая цифр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4F683AF-47D9-9337-C88F-5BF618A48F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3837" t="13257" r="45285" b="55866"/>
          <a:stretch/>
        </p:blipFill>
        <p:spPr>
          <a:xfrm flipH="1">
            <a:off x="0" y="0"/>
            <a:ext cx="24382413" cy="13716000"/>
          </a:xfrm>
          <a:prstGeom prst="rect">
            <a:avLst/>
          </a:prstGeom>
        </p:spPr>
      </p:pic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Объект 5">
            <a:extLst>
              <a:ext uri="{FF2B5EF4-FFF2-40B4-BE49-F238E27FC236}">
                <a16:creationId xmlns:a16="http://schemas.microsoft.com/office/drawing/2014/main" id="{D7FDAB50-B1EA-10C1-F1F1-0CB631AE549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2191204" y="6319983"/>
            <a:ext cx="11574963" cy="354558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25599" b="0" i="0">
                <a:solidFill>
                  <a:schemeClr val="tx1"/>
                </a:solidFill>
                <a:latin typeface="YS Text Regular" pitchFamily="2" charset="0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ХХ ХХХ</a:t>
            </a:r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8CB56C0D-7600-B2B3-F869-3EAEE6FD456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12213761" y="9602192"/>
            <a:ext cx="11574963" cy="5267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7" name="Объект 5">
            <a:extLst>
              <a:ext uri="{FF2B5EF4-FFF2-40B4-BE49-F238E27FC236}">
                <a16:creationId xmlns:a16="http://schemas.microsoft.com/office/drawing/2014/main" id="{26F8D955-7387-99DE-886E-417BBEFE014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16246" y="4392389"/>
            <a:ext cx="10001021" cy="606606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9" name="Объект 5">
            <a:extLst>
              <a:ext uri="{FF2B5EF4-FFF2-40B4-BE49-F238E27FC236}">
                <a16:creationId xmlns:a16="http://schemas.microsoft.com/office/drawing/2014/main" id="{961FA6E8-2771-D74F-4390-A578A9ABCA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00035" y="3257551"/>
            <a:ext cx="10000933" cy="6647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3185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тандартный 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Номер слайда 5">
            <a:extLst>
              <a:ext uri="{FF2B5EF4-FFF2-40B4-BE49-F238E27FC236}">
                <a16:creationId xmlns:a16="http://schemas.microsoft.com/office/drawing/2014/main" id="{4005A651-6082-6391-B58A-454538B2DE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0" name="Заголовок 5">
            <a:extLst>
              <a:ext uri="{FF2B5EF4-FFF2-40B4-BE49-F238E27FC236}">
                <a16:creationId xmlns:a16="http://schemas.microsoft.com/office/drawing/2014/main" id="{8EEA7F9C-39C7-CF9E-A6C8-4FF17BD4D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31828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26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 с заголовком с вол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237D9D8-FC24-20E3-875A-8BD1990F38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0896" t="5851" r="46838" b="61884"/>
          <a:stretch/>
        </p:blipFill>
        <p:spPr>
          <a:xfrm flipH="1">
            <a:off x="0" y="0"/>
            <a:ext cx="24382413" cy="13716000"/>
          </a:xfrm>
          <a:prstGeom prst="rect">
            <a:avLst/>
          </a:prstGeom>
        </p:spPr>
      </p:pic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08093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цифр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3">
            <a:extLst>
              <a:ext uri="{FF2B5EF4-FFF2-40B4-BE49-F238E27FC236}">
                <a16:creationId xmlns:a16="http://schemas.microsoft.com/office/drawing/2014/main" id="{41EE88AA-FAB4-BF42-8908-ED1379BF8F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9059" y="3429430"/>
            <a:ext cx="5002529" cy="12437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10000" baseline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r>
              <a:rPr lang="ru-RU" dirty="0"/>
              <a:t>Цифры</a:t>
            </a:r>
            <a:endParaRPr lang="en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6375E2-3CCF-2B46-9220-927D18EF0998}"/>
              </a:ext>
            </a:extLst>
          </p:cNvPr>
          <p:cNvSpPr txBox="1"/>
          <p:nvPr userDrawn="1"/>
        </p:nvSpPr>
        <p:spPr>
          <a:xfrm>
            <a:off x="15941040" y="1130808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2A558C7A-884F-EB4F-B474-489D872D44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8348" y="1278688"/>
            <a:ext cx="13354050" cy="1243738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11" name="Номер слайда 9">
            <a:extLst>
              <a:ext uri="{FF2B5EF4-FFF2-40B4-BE49-F238E27FC236}">
                <a16:creationId xmlns:a16="http://schemas.microsoft.com/office/drawing/2014/main" id="{F52E5A29-BDB0-5F49-841D-6D1D448159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991763" y="12158276"/>
            <a:ext cx="869268" cy="730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2000">
                <a:solidFill>
                  <a:srgbClr val="BBBBBB"/>
                </a:solidFill>
              </a:defRPr>
            </a:lvl1pPr>
          </a:lstStyle>
          <a:p>
            <a:fld id="{283B1AB1-319D-4B24-A7E6-2CF2EF1A4365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51275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Булли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779EC31-4351-D011-F5D7-7D80BB64BB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9522" t="-1536" r="68165" b="51350"/>
          <a:stretch/>
        </p:blipFill>
        <p:spPr>
          <a:xfrm rot="16200000">
            <a:off x="8848334" y="-1818087"/>
            <a:ext cx="13716008" cy="17352157"/>
          </a:xfrm>
          <a:prstGeom prst="rect">
            <a:avLst/>
          </a:prstGeom>
        </p:spPr>
      </p:pic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3155403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6" y="3573294"/>
            <a:ext cx="10646107" cy="612224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3098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Булли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3BDFACF-580F-2EC0-F6CE-40B1798126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904" t="3962" r="44450" b="11878"/>
          <a:stretch/>
        </p:blipFill>
        <p:spPr>
          <a:xfrm rot="16200000">
            <a:off x="9335987" y="-1330433"/>
            <a:ext cx="13716002" cy="16376854"/>
          </a:xfrm>
          <a:prstGeom prst="rect">
            <a:avLst/>
          </a:prstGeom>
        </p:spPr>
      </p:pic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3155403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" name="Объект 5">
            <a:extLst>
              <a:ext uri="{FF2B5EF4-FFF2-40B4-BE49-F238E27FC236}">
                <a16:creationId xmlns:a16="http://schemas.microsoft.com/office/drawing/2014/main" id="{2C39CD7C-FA36-7783-B3E9-D63D18B6E5E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6" y="3573294"/>
            <a:ext cx="10646107" cy="612224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7446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Булли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FFA901C-AEEB-6C3F-2253-5A42EB09B5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6326" t="-2760" r="8527" b="47613"/>
          <a:stretch/>
        </p:blipFill>
        <p:spPr>
          <a:xfrm flipH="1">
            <a:off x="0" y="0"/>
            <a:ext cx="24382413" cy="13716000"/>
          </a:xfrm>
          <a:prstGeom prst="rect">
            <a:avLst/>
          </a:prstGeom>
        </p:spPr>
      </p:pic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531839" y="3257550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4" name="Объект 5">
            <a:extLst>
              <a:ext uri="{FF2B5EF4-FFF2-40B4-BE49-F238E27FC236}">
                <a16:creationId xmlns:a16="http://schemas.microsoft.com/office/drawing/2014/main" id="{302FF599-68EC-4983-83D1-7DA81780F61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2434233" y="3257550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" name="Объект 5">
            <a:extLst>
              <a:ext uri="{FF2B5EF4-FFF2-40B4-BE49-F238E27FC236}">
                <a16:creationId xmlns:a16="http://schemas.microsoft.com/office/drawing/2014/main" id="{13425FD4-7C0E-C3AD-D568-D1EA26E3CB3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8336629" y="3257550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3155403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" name="Объект 5">
            <a:extLst>
              <a:ext uri="{FF2B5EF4-FFF2-40B4-BE49-F238E27FC236}">
                <a16:creationId xmlns:a16="http://schemas.microsoft.com/office/drawing/2014/main" id="{16435BF5-2F12-D0D0-A059-C14AEDB03CD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29445" y="3257550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25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Булли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05E94DA3-C055-7EDD-AAD8-4E0D12B082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6501" t="-9068" r="3017" b="38585"/>
          <a:stretch/>
        </p:blipFill>
        <p:spPr>
          <a:xfrm flipH="1">
            <a:off x="2" y="0"/>
            <a:ext cx="24382413" cy="13716000"/>
          </a:xfrm>
          <a:prstGeom prst="rect">
            <a:avLst/>
          </a:prstGeom>
        </p:spPr>
      </p:pic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531839" y="3257550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4" name="Объект 5">
            <a:extLst>
              <a:ext uri="{FF2B5EF4-FFF2-40B4-BE49-F238E27FC236}">
                <a16:creationId xmlns:a16="http://schemas.microsoft.com/office/drawing/2014/main" id="{302FF599-68EC-4983-83D1-7DA81780F61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2434233" y="3257550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" name="Объект 5">
            <a:extLst>
              <a:ext uri="{FF2B5EF4-FFF2-40B4-BE49-F238E27FC236}">
                <a16:creationId xmlns:a16="http://schemas.microsoft.com/office/drawing/2014/main" id="{13425FD4-7C0E-C3AD-D568-D1EA26E3CB3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8336629" y="3257550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3155403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" name="Объект 5">
            <a:extLst>
              <a:ext uri="{FF2B5EF4-FFF2-40B4-BE49-F238E27FC236}">
                <a16:creationId xmlns:a16="http://schemas.microsoft.com/office/drawing/2014/main" id="{16435BF5-2F12-D0D0-A059-C14AEDB03CD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29445" y="3257550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Объект 5">
            <a:extLst>
              <a:ext uri="{FF2B5EF4-FFF2-40B4-BE49-F238E27FC236}">
                <a16:creationId xmlns:a16="http://schemas.microsoft.com/office/drawing/2014/main" id="{E59D2250-54BB-CEBE-2AE6-939450B543C8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531839" y="6197974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0" name="Объект 5">
            <a:extLst>
              <a:ext uri="{FF2B5EF4-FFF2-40B4-BE49-F238E27FC236}">
                <a16:creationId xmlns:a16="http://schemas.microsoft.com/office/drawing/2014/main" id="{21A1E26E-2D6F-BA23-FD30-0630A64549F8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12434233" y="6197974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1" name="Объект 5">
            <a:extLst>
              <a:ext uri="{FF2B5EF4-FFF2-40B4-BE49-F238E27FC236}">
                <a16:creationId xmlns:a16="http://schemas.microsoft.com/office/drawing/2014/main" id="{E6058111-6BFF-2B2E-DBD2-8592E93C2CCD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18336629" y="6197974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2" name="Объект 5">
            <a:extLst>
              <a:ext uri="{FF2B5EF4-FFF2-40B4-BE49-F238E27FC236}">
                <a16:creationId xmlns:a16="http://schemas.microsoft.com/office/drawing/2014/main" id="{633521B6-3AC5-A9CA-D3DD-F877F0F9791B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29445" y="6197974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0656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Булли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531839" y="9580972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4" name="Объект 5">
            <a:extLst>
              <a:ext uri="{FF2B5EF4-FFF2-40B4-BE49-F238E27FC236}">
                <a16:creationId xmlns:a16="http://schemas.microsoft.com/office/drawing/2014/main" id="{302FF599-68EC-4983-83D1-7DA81780F61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2434233" y="9580972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" name="Объект 5">
            <a:extLst>
              <a:ext uri="{FF2B5EF4-FFF2-40B4-BE49-F238E27FC236}">
                <a16:creationId xmlns:a16="http://schemas.microsoft.com/office/drawing/2014/main" id="{13425FD4-7C0E-C3AD-D568-D1EA26E3CB3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8336629" y="9580972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3155403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" name="Объект 5">
            <a:extLst>
              <a:ext uri="{FF2B5EF4-FFF2-40B4-BE49-F238E27FC236}">
                <a16:creationId xmlns:a16="http://schemas.microsoft.com/office/drawing/2014/main" id="{16435BF5-2F12-D0D0-A059-C14AEDB03CD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29445" y="9580972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Объект 5">
            <a:extLst>
              <a:ext uri="{FF2B5EF4-FFF2-40B4-BE49-F238E27FC236}">
                <a16:creationId xmlns:a16="http://schemas.microsoft.com/office/drawing/2014/main" id="{444F594E-2A5D-1DD0-2FA7-50D1B6E9E9DA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9446" y="3251304"/>
            <a:ext cx="4886008" cy="22159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5999" b="0" i="0">
                <a:solidFill>
                  <a:srgbClr val="FC6D54"/>
                </a:solidFill>
                <a:latin typeface="YS Text Medium" pitchFamily="2" charset="0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10" name="Объект 5">
            <a:extLst>
              <a:ext uri="{FF2B5EF4-FFF2-40B4-BE49-F238E27FC236}">
                <a16:creationId xmlns:a16="http://schemas.microsoft.com/office/drawing/2014/main" id="{6E8D54C4-F4C3-628C-6612-65F9A1E02570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9446" y="5493742"/>
            <a:ext cx="4886008" cy="5267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1" name="Объект 5">
            <a:extLst>
              <a:ext uri="{FF2B5EF4-FFF2-40B4-BE49-F238E27FC236}">
                <a16:creationId xmlns:a16="http://schemas.microsoft.com/office/drawing/2014/main" id="{BF6ACB4A-6B37-CAA3-1DB9-7DEBD41D38C9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6531840" y="3251304"/>
            <a:ext cx="4886008" cy="22159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5999" b="0" i="0">
                <a:solidFill>
                  <a:srgbClr val="FC6D54"/>
                </a:solidFill>
                <a:latin typeface="YS Text Medium" pitchFamily="2" charset="0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12" name="Объект 5">
            <a:extLst>
              <a:ext uri="{FF2B5EF4-FFF2-40B4-BE49-F238E27FC236}">
                <a16:creationId xmlns:a16="http://schemas.microsoft.com/office/drawing/2014/main" id="{4E6DEEB2-D51F-098E-D5AF-D3B2043172FE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531840" y="5493742"/>
            <a:ext cx="4886008" cy="5267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3" name="Объект 5">
            <a:extLst>
              <a:ext uri="{FF2B5EF4-FFF2-40B4-BE49-F238E27FC236}">
                <a16:creationId xmlns:a16="http://schemas.microsoft.com/office/drawing/2014/main" id="{7BC12E08-4350-C172-629A-329E578B080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9445" y="8372177"/>
            <a:ext cx="23123523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B619D41-BA99-F0CD-33A9-77CC65FEB7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512" t="66937" r="39947" b="-7479"/>
          <a:stretch/>
        </p:blipFill>
        <p:spPr>
          <a:xfrm flipH="1">
            <a:off x="0" y="0"/>
            <a:ext cx="24382413" cy="137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005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Буллиты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12D01B8-0C5D-9068-DB3C-4FA3976AB8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6594" t="4924" r="54044" b="53466"/>
          <a:stretch/>
        </p:blipFill>
        <p:spPr>
          <a:xfrm rot="5400000" flipH="1" flipV="1">
            <a:off x="9234389" y="-1432024"/>
            <a:ext cx="13716008" cy="16580041"/>
          </a:xfrm>
          <a:prstGeom prst="rect">
            <a:avLst/>
          </a:prstGeom>
        </p:spPr>
      </p:pic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9561808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7" y="4196013"/>
            <a:ext cx="9561808" cy="631704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8405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Буллиты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229C03A-2C4B-4991-98C7-3F1A073A97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64175" t="34168" r="4805" b="10685"/>
          <a:stretch/>
        </p:blipFill>
        <p:spPr>
          <a:xfrm rot="5400000" flipH="1">
            <a:off x="10666850" y="437"/>
            <a:ext cx="13716018" cy="13715107"/>
          </a:xfrm>
          <a:prstGeom prst="rect">
            <a:avLst/>
          </a:prstGeom>
        </p:spPr>
      </p:pic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9561808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7" y="4196013"/>
            <a:ext cx="11219384" cy="631704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493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Буллиты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3ED63F3-FB12-3052-5843-872B56AA53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6088" t="16088" r="45762" b="51647"/>
          <a:stretch/>
        </p:blipFill>
        <p:spPr>
          <a:xfrm rot="5400000" flipH="1" flipV="1">
            <a:off x="10666859" y="447"/>
            <a:ext cx="13716000" cy="13715107"/>
          </a:xfrm>
          <a:prstGeom prst="rect">
            <a:avLst/>
          </a:prstGeom>
        </p:spPr>
      </p:pic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9561808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6" y="4196013"/>
            <a:ext cx="6425226" cy="631704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4" name="Объект 5">
            <a:extLst>
              <a:ext uri="{FF2B5EF4-FFF2-40B4-BE49-F238E27FC236}">
                <a16:creationId xmlns:a16="http://schemas.microsoft.com/office/drawing/2014/main" id="{4DF750BB-F113-1ED0-1DD4-1FD3DB4ADA0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7804854" y="4196013"/>
            <a:ext cx="6425226" cy="631704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37280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с текстом и большим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9561808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7" y="4196013"/>
            <a:ext cx="9561808" cy="631704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3200"/>
              </a:spcAft>
              <a:buClr>
                <a:srgbClr val="FC6D54"/>
              </a:buClr>
              <a:buFont typeface="Arial" panose="020B0604020202020204" pitchFamily="34" charset="0"/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" name="Рисунок 3">
            <a:extLst>
              <a:ext uri="{FF2B5EF4-FFF2-40B4-BE49-F238E27FC236}">
                <a16:creationId xmlns:a16="http://schemas.microsoft.com/office/drawing/2014/main" id="{F63C95C8-05F7-0374-BB27-356BB87131A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667306" y="0"/>
            <a:ext cx="13715107" cy="13716000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</p:spTree>
    <p:extLst>
      <p:ext uri="{BB962C8B-B14F-4D97-AF65-F5344CB8AC3E}">
        <p14:creationId xmlns:p14="http://schemas.microsoft.com/office/powerpoint/2010/main" val="2759441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Буллиты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3">
            <a:extLst>
              <a:ext uri="{FF2B5EF4-FFF2-40B4-BE49-F238E27FC236}">
                <a16:creationId xmlns:a16="http://schemas.microsoft.com/office/drawing/2014/main" id="{93C68F31-7EB2-E274-E758-C37A8E252E3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188428" y="543716"/>
            <a:ext cx="12577741" cy="12578560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9561808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5" y="4196013"/>
            <a:ext cx="9561808" cy="631704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ED0C6B36-470C-AE5F-44F3-71F6F2076095}"/>
              </a:ext>
            </a:extLst>
          </p:cNvPr>
          <p:cNvCxnSpPr>
            <a:cxnSpLocks/>
          </p:cNvCxnSpPr>
          <p:nvPr userDrawn="1"/>
        </p:nvCxnSpPr>
        <p:spPr>
          <a:xfrm>
            <a:off x="600038" y="3690652"/>
            <a:ext cx="101108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2DB397DD-9483-F90A-159A-007777366229}"/>
              </a:ext>
            </a:extLst>
          </p:cNvPr>
          <p:cNvCxnSpPr>
            <a:cxnSpLocks/>
          </p:cNvCxnSpPr>
          <p:nvPr userDrawn="1"/>
        </p:nvCxnSpPr>
        <p:spPr>
          <a:xfrm flipV="1">
            <a:off x="10826949" y="543717"/>
            <a:ext cx="0" cy="285262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FF15535E-63B2-1EB0-C71D-1BBD5693A4FC}"/>
              </a:ext>
            </a:extLst>
          </p:cNvPr>
          <p:cNvCxnSpPr>
            <a:cxnSpLocks/>
          </p:cNvCxnSpPr>
          <p:nvPr userDrawn="1"/>
        </p:nvCxnSpPr>
        <p:spPr>
          <a:xfrm flipV="1">
            <a:off x="10826949" y="3940060"/>
            <a:ext cx="0" cy="918221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8998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9">
            <a:extLst>
              <a:ext uri="{FF2B5EF4-FFF2-40B4-BE49-F238E27FC236}">
                <a16:creationId xmlns:a16="http://schemas.microsoft.com/office/drawing/2014/main" id="{72DE38FD-585F-0945-9415-0E6F1C1B59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991763" y="12158276"/>
            <a:ext cx="869268" cy="730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2000">
                <a:solidFill>
                  <a:srgbClr val="BBBBBB"/>
                </a:solidFill>
              </a:defRPr>
            </a:lvl1pPr>
          </a:lstStyle>
          <a:p>
            <a:fld id="{283B1AB1-319D-4B24-A7E6-2CF2EF1A4365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206403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окап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D31ED803-C496-5EB5-03DB-9808BC6D9E7B}"/>
              </a:ext>
            </a:extLst>
          </p:cNvPr>
          <p:cNvGrpSpPr/>
          <p:nvPr userDrawn="1"/>
        </p:nvGrpSpPr>
        <p:grpSpPr>
          <a:xfrm>
            <a:off x="8216212" y="1"/>
            <a:ext cx="16847473" cy="13122274"/>
            <a:chOff x="3767715" y="296863"/>
            <a:chExt cx="8424285" cy="6561137"/>
          </a:xfrm>
        </p:grpSpPr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5DF82B48-E24B-DA17-4794-EB2D660F8D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10000"/>
                      </a14:imgEffect>
                    </a14:imgLayer>
                  </a14:imgProps>
                </a:ext>
              </a:extLst>
            </a:blip>
            <a:srcRect r="6204" b="2598"/>
            <a:stretch/>
          </p:blipFill>
          <p:spPr>
            <a:xfrm>
              <a:off x="3767715" y="296863"/>
              <a:ext cx="8424285" cy="6561137"/>
            </a:xfrm>
            <a:prstGeom prst="rect">
              <a:avLst/>
            </a:prstGeom>
          </p:spPr>
        </p:pic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F9C9D011-A7EE-5921-1224-5716C70774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925339" y="3284313"/>
              <a:ext cx="3266661" cy="3266661"/>
            </a:xfrm>
            <a:prstGeom prst="rect">
              <a:avLst/>
            </a:prstGeom>
          </p:spPr>
        </p:pic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A7D3A80B-D3D5-14D7-0247-9ED27A0B907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31398" t="12840" r="31398" b="12840"/>
            <a:stretch/>
          </p:blipFill>
          <p:spPr>
            <a:xfrm>
              <a:off x="8867913" y="4785426"/>
              <a:ext cx="1110864" cy="1664288"/>
            </a:xfrm>
            <a:prstGeom prst="rect">
              <a:avLst/>
            </a:prstGeom>
          </p:spPr>
        </p:pic>
      </p:grp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3155403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5" y="4250621"/>
            <a:ext cx="9401750" cy="887165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8" name="Рисунок 17">
            <a:extLst>
              <a:ext uri="{FF2B5EF4-FFF2-40B4-BE49-F238E27FC236}">
                <a16:creationId xmlns:a16="http://schemas.microsoft.com/office/drawing/2014/main" id="{A4002080-BCB4-2491-B7A4-02D2C31559B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2765327" y="2686557"/>
            <a:ext cx="8806635" cy="4952326"/>
          </a:xfrm>
          <a:custGeom>
            <a:avLst/>
            <a:gdLst>
              <a:gd name="connsiteX0" fmla="*/ 0 w 4403604"/>
              <a:gd name="connsiteY0" fmla="*/ 0 h 2476163"/>
              <a:gd name="connsiteX1" fmla="*/ 4403604 w 4403604"/>
              <a:gd name="connsiteY1" fmla="*/ 0 h 2476163"/>
              <a:gd name="connsiteX2" fmla="*/ 4403604 w 4403604"/>
              <a:gd name="connsiteY2" fmla="*/ 1860041 h 2476163"/>
              <a:gd name="connsiteX3" fmla="*/ 3600480 w 4403604"/>
              <a:gd name="connsiteY3" fmla="*/ 1860041 h 2476163"/>
              <a:gd name="connsiteX4" fmla="*/ 3515841 w 4403604"/>
              <a:gd name="connsiteY4" fmla="*/ 1944680 h 2476163"/>
              <a:gd name="connsiteX5" fmla="*/ 3515841 w 4403604"/>
              <a:gd name="connsiteY5" fmla="*/ 2476163 h 2476163"/>
              <a:gd name="connsiteX6" fmla="*/ 2397429 w 4403604"/>
              <a:gd name="connsiteY6" fmla="*/ 2476163 h 2476163"/>
              <a:gd name="connsiteX7" fmla="*/ 2397429 w 4403604"/>
              <a:gd name="connsiteY7" fmla="*/ 1921531 h 2476163"/>
              <a:gd name="connsiteX8" fmla="*/ 2312790 w 4403604"/>
              <a:gd name="connsiteY8" fmla="*/ 1836892 h 2476163"/>
              <a:gd name="connsiteX9" fmla="*/ 0 w 4403604"/>
              <a:gd name="connsiteY9" fmla="*/ 1836892 h 2476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03604" h="2476163">
                <a:moveTo>
                  <a:pt x="0" y="0"/>
                </a:moveTo>
                <a:lnTo>
                  <a:pt x="4403604" y="0"/>
                </a:lnTo>
                <a:lnTo>
                  <a:pt x="4403604" y="1860041"/>
                </a:lnTo>
                <a:lnTo>
                  <a:pt x="3600480" y="1860041"/>
                </a:lnTo>
                <a:cubicBezTo>
                  <a:pt x="3553735" y="1860041"/>
                  <a:pt x="3515841" y="1897935"/>
                  <a:pt x="3515841" y="1944680"/>
                </a:cubicBezTo>
                <a:lnTo>
                  <a:pt x="3515841" y="2476163"/>
                </a:lnTo>
                <a:lnTo>
                  <a:pt x="2397429" y="2476163"/>
                </a:lnTo>
                <a:lnTo>
                  <a:pt x="2397429" y="1921531"/>
                </a:lnTo>
                <a:cubicBezTo>
                  <a:pt x="2397429" y="1874786"/>
                  <a:pt x="2359535" y="1836892"/>
                  <a:pt x="2312790" y="1836892"/>
                </a:cubicBezTo>
                <a:lnTo>
                  <a:pt x="0" y="1836892"/>
                </a:ln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</a:t>
            </a:r>
            <a:br>
              <a:rPr lang="ru-RU" dirty="0"/>
            </a:br>
            <a:r>
              <a:rPr lang="ru-RU" dirty="0"/>
              <a:t>скриншот сюда</a:t>
            </a:r>
          </a:p>
        </p:txBody>
      </p:sp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878A7907-A75B-4A9E-A2DB-99C11BCBAAF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9962465" y="6595877"/>
            <a:ext cx="3671761" cy="5100178"/>
          </a:xfrm>
          <a:custGeom>
            <a:avLst/>
            <a:gdLst>
              <a:gd name="connsiteX0" fmla="*/ 0 w 1836000"/>
              <a:gd name="connsiteY0" fmla="*/ 0 h 2550089"/>
              <a:gd name="connsiteX1" fmla="*/ 1836000 w 1836000"/>
              <a:gd name="connsiteY1" fmla="*/ 0 h 2550089"/>
              <a:gd name="connsiteX2" fmla="*/ 1836000 w 1836000"/>
              <a:gd name="connsiteY2" fmla="*/ 2550089 h 2550089"/>
              <a:gd name="connsiteX3" fmla="*/ 137694 w 1836000"/>
              <a:gd name="connsiteY3" fmla="*/ 2550089 h 2550089"/>
              <a:gd name="connsiteX4" fmla="*/ 137694 w 1836000"/>
              <a:gd name="connsiteY4" fmla="*/ 1371710 h 2550089"/>
              <a:gd name="connsiteX5" fmla="*/ 53055 w 1836000"/>
              <a:gd name="connsiteY5" fmla="*/ 1287071 h 2550089"/>
              <a:gd name="connsiteX6" fmla="*/ 0 w 1836000"/>
              <a:gd name="connsiteY6" fmla="*/ 1287071 h 2550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36000" h="2550089">
                <a:moveTo>
                  <a:pt x="0" y="0"/>
                </a:moveTo>
                <a:lnTo>
                  <a:pt x="1836000" y="0"/>
                </a:lnTo>
                <a:lnTo>
                  <a:pt x="1836000" y="2550089"/>
                </a:lnTo>
                <a:lnTo>
                  <a:pt x="137694" y="2550089"/>
                </a:lnTo>
                <a:lnTo>
                  <a:pt x="137694" y="1371710"/>
                </a:lnTo>
                <a:cubicBezTo>
                  <a:pt x="137694" y="1324965"/>
                  <a:pt x="99800" y="1287071"/>
                  <a:pt x="53055" y="1287071"/>
                </a:cubicBezTo>
                <a:lnTo>
                  <a:pt x="0" y="1287071"/>
                </a:ln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скриншот сюда</a:t>
            </a:r>
          </a:p>
        </p:txBody>
      </p:sp>
      <p:sp>
        <p:nvSpPr>
          <p:cNvPr id="26" name="Рисунок 25">
            <a:extLst>
              <a:ext uri="{FF2B5EF4-FFF2-40B4-BE49-F238E27FC236}">
                <a16:creationId xmlns:a16="http://schemas.microsoft.com/office/drawing/2014/main" id="{6618A877-EE93-FEA4-9C58-D1ADBEB0D70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8868853" y="9251161"/>
            <a:ext cx="1298094" cy="2775398"/>
          </a:xfrm>
          <a:custGeom>
            <a:avLst/>
            <a:gdLst>
              <a:gd name="connsiteX0" fmla="*/ 72763 w 649089"/>
              <a:gd name="connsiteY0" fmla="*/ 0 h 1387699"/>
              <a:gd name="connsiteX1" fmla="*/ 162544 w 649089"/>
              <a:gd name="connsiteY1" fmla="*/ 0 h 1387699"/>
              <a:gd name="connsiteX2" fmla="*/ 162544 w 649089"/>
              <a:gd name="connsiteY2" fmla="*/ 9407 h 1387699"/>
              <a:gd name="connsiteX3" fmla="*/ 193603 w 649089"/>
              <a:gd name="connsiteY3" fmla="*/ 40466 h 1387699"/>
              <a:gd name="connsiteX4" fmla="*/ 455485 w 649089"/>
              <a:gd name="connsiteY4" fmla="*/ 40466 h 1387699"/>
              <a:gd name="connsiteX5" fmla="*/ 486544 w 649089"/>
              <a:gd name="connsiteY5" fmla="*/ 9407 h 1387699"/>
              <a:gd name="connsiteX6" fmla="*/ 486544 w 649089"/>
              <a:gd name="connsiteY6" fmla="*/ 0 h 1387699"/>
              <a:gd name="connsiteX7" fmla="*/ 576326 w 649089"/>
              <a:gd name="connsiteY7" fmla="*/ 0 h 1387699"/>
              <a:gd name="connsiteX8" fmla="*/ 649089 w 649089"/>
              <a:gd name="connsiteY8" fmla="*/ 72763 h 1387699"/>
              <a:gd name="connsiteX9" fmla="*/ 649089 w 649089"/>
              <a:gd name="connsiteY9" fmla="*/ 1314936 h 1387699"/>
              <a:gd name="connsiteX10" fmla="*/ 576326 w 649089"/>
              <a:gd name="connsiteY10" fmla="*/ 1387699 h 1387699"/>
              <a:gd name="connsiteX11" fmla="*/ 72763 w 649089"/>
              <a:gd name="connsiteY11" fmla="*/ 1387699 h 1387699"/>
              <a:gd name="connsiteX12" fmla="*/ 0 w 649089"/>
              <a:gd name="connsiteY12" fmla="*/ 1314936 h 1387699"/>
              <a:gd name="connsiteX13" fmla="*/ 0 w 649089"/>
              <a:gd name="connsiteY13" fmla="*/ 72763 h 1387699"/>
              <a:gd name="connsiteX14" fmla="*/ 72763 w 649089"/>
              <a:gd name="connsiteY14" fmla="*/ 0 h 1387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49089" h="1387699">
                <a:moveTo>
                  <a:pt x="72763" y="0"/>
                </a:moveTo>
                <a:lnTo>
                  <a:pt x="162544" y="0"/>
                </a:lnTo>
                <a:lnTo>
                  <a:pt x="162544" y="9407"/>
                </a:lnTo>
                <a:cubicBezTo>
                  <a:pt x="162544" y="26560"/>
                  <a:pt x="176450" y="40466"/>
                  <a:pt x="193603" y="40466"/>
                </a:cubicBezTo>
                <a:lnTo>
                  <a:pt x="455485" y="40466"/>
                </a:lnTo>
                <a:cubicBezTo>
                  <a:pt x="472638" y="40466"/>
                  <a:pt x="486544" y="26560"/>
                  <a:pt x="486544" y="9407"/>
                </a:cubicBezTo>
                <a:lnTo>
                  <a:pt x="486544" y="0"/>
                </a:lnTo>
                <a:lnTo>
                  <a:pt x="576326" y="0"/>
                </a:lnTo>
                <a:cubicBezTo>
                  <a:pt x="616512" y="0"/>
                  <a:pt x="649089" y="32577"/>
                  <a:pt x="649089" y="72763"/>
                </a:cubicBezTo>
                <a:lnTo>
                  <a:pt x="649089" y="1314936"/>
                </a:lnTo>
                <a:cubicBezTo>
                  <a:pt x="649089" y="1355122"/>
                  <a:pt x="616512" y="1387699"/>
                  <a:pt x="576326" y="1387699"/>
                </a:cubicBezTo>
                <a:lnTo>
                  <a:pt x="72763" y="1387699"/>
                </a:lnTo>
                <a:cubicBezTo>
                  <a:pt x="32577" y="1387699"/>
                  <a:pt x="0" y="1355122"/>
                  <a:pt x="0" y="1314936"/>
                </a:cubicBezTo>
                <a:lnTo>
                  <a:pt x="0" y="72763"/>
                </a:lnTo>
                <a:cubicBezTo>
                  <a:pt x="0" y="32577"/>
                  <a:pt x="32577" y="0"/>
                  <a:pt x="72763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скриншот сюда</a:t>
            </a:r>
          </a:p>
        </p:txBody>
      </p:sp>
      <p:sp>
        <p:nvSpPr>
          <p:cNvPr id="27" name="Объект 5">
            <a:extLst>
              <a:ext uri="{FF2B5EF4-FFF2-40B4-BE49-F238E27FC236}">
                <a16:creationId xmlns:a16="http://schemas.microsoft.com/office/drawing/2014/main" id="{3725D6F7-8176-E23F-E9C1-C867DF3283E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6243" y="3257551"/>
            <a:ext cx="9401750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D43BDB0C-BC16-50DF-5B4D-61E6483820D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16211" y="4767122"/>
            <a:ext cx="11929624" cy="8947800"/>
          </a:xfrm>
          <a:prstGeom prst="rect">
            <a:avLst/>
          </a:prstGeom>
        </p:spPr>
      </p:pic>
      <p:sp>
        <p:nvSpPr>
          <p:cNvPr id="7" name="Рисунок 3">
            <a:extLst>
              <a:ext uri="{FF2B5EF4-FFF2-40B4-BE49-F238E27FC236}">
                <a16:creationId xmlns:a16="http://schemas.microsoft.com/office/drawing/2014/main" id="{93C68F31-7EB2-E274-E758-C37A8E252E3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904281" y="6554549"/>
            <a:ext cx="6532897" cy="4078386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скриншот сюда</a:t>
            </a:r>
          </a:p>
        </p:txBody>
      </p:sp>
    </p:spTree>
    <p:extLst>
      <p:ext uri="{BB962C8B-B14F-4D97-AF65-F5344CB8AC3E}">
        <p14:creationId xmlns:p14="http://schemas.microsoft.com/office/powerpoint/2010/main" val="4286955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окап ноутбу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9E3426B-DB6E-B8E1-F70C-879161DFF8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</a:blip>
          <a:srcRect t="5334" r="19416" b="15728"/>
          <a:stretch/>
        </p:blipFill>
        <p:spPr>
          <a:xfrm>
            <a:off x="5714228" y="0"/>
            <a:ext cx="18668185" cy="13716000"/>
          </a:xfrm>
          <a:prstGeom prst="rect">
            <a:avLst/>
          </a:prstGeom>
        </p:spPr>
      </p:pic>
      <p:sp>
        <p:nvSpPr>
          <p:cNvPr id="7" name="Рисунок 3">
            <a:extLst>
              <a:ext uri="{FF2B5EF4-FFF2-40B4-BE49-F238E27FC236}">
                <a16:creationId xmlns:a16="http://schemas.microsoft.com/office/drawing/2014/main" id="{93C68F31-7EB2-E274-E758-C37A8E252E3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931033" y="2579240"/>
            <a:ext cx="12671175" cy="7886612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скриншот сюд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5" y="4250620"/>
            <a:ext cx="9561808" cy="704023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7" name="Объект 5">
            <a:extLst>
              <a:ext uri="{FF2B5EF4-FFF2-40B4-BE49-F238E27FC236}">
                <a16:creationId xmlns:a16="http://schemas.microsoft.com/office/drawing/2014/main" id="{3725D6F7-8176-E23F-E9C1-C867DF3283E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6244" y="3257551"/>
            <a:ext cx="9534583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6" y="593726"/>
            <a:ext cx="23166132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21129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окап с двумя телефон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3D736F5-43B1-B751-0723-EDC2CB6452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1398" t="12840" r="31398" b="12840"/>
          <a:stretch/>
        </p:blipFill>
        <p:spPr>
          <a:xfrm>
            <a:off x="10498943" y="2350426"/>
            <a:ext cx="8812562" cy="13203772"/>
          </a:xfrm>
          <a:prstGeom prst="rect">
            <a:avLst/>
          </a:prstGeom>
        </p:spPr>
      </p:pic>
      <p:sp>
        <p:nvSpPr>
          <p:cNvPr id="4" name="Рисунок 3">
            <a:extLst>
              <a:ext uri="{FF2B5EF4-FFF2-40B4-BE49-F238E27FC236}">
                <a16:creationId xmlns:a16="http://schemas.microsoft.com/office/drawing/2014/main" id="{4CCFCE4D-5559-72A8-7B88-2E84F100604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321752" y="3445052"/>
            <a:ext cx="5149273" cy="11009412"/>
          </a:xfrm>
          <a:custGeom>
            <a:avLst/>
            <a:gdLst>
              <a:gd name="connsiteX0" fmla="*/ 72763 w 649089"/>
              <a:gd name="connsiteY0" fmla="*/ 0 h 1387699"/>
              <a:gd name="connsiteX1" fmla="*/ 162544 w 649089"/>
              <a:gd name="connsiteY1" fmla="*/ 0 h 1387699"/>
              <a:gd name="connsiteX2" fmla="*/ 162544 w 649089"/>
              <a:gd name="connsiteY2" fmla="*/ 9407 h 1387699"/>
              <a:gd name="connsiteX3" fmla="*/ 193603 w 649089"/>
              <a:gd name="connsiteY3" fmla="*/ 40466 h 1387699"/>
              <a:gd name="connsiteX4" fmla="*/ 455485 w 649089"/>
              <a:gd name="connsiteY4" fmla="*/ 40466 h 1387699"/>
              <a:gd name="connsiteX5" fmla="*/ 486544 w 649089"/>
              <a:gd name="connsiteY5" fmla="*/ 9407 h 1387699"/>
              <a:gd name="connsiteX6" fmla="*/ 486544 w 649089"/>
              <a:gd name="connsiteY6" fmla="*/ 0 h 1387699"/>
              <a:gd name="connsiteX7" fmla="*/ 576326 w 649089"/>
              <a:gd name="connsiteY7" fmla="*/ 0 h 1387699"/>
              <a:gd name="connsiteX8" fmla="*/ 649089 w 649089"/>
              <a:gd name="connsiteY8" fmla="*/ 72763 h 1387699"/>
              <a:gd name="connsiteX9" fmla="*/ 649089 w 649089"/>
              <a:gd name="connsiteY9" fmla="*/ 1314936 h 1387699"/>
              <a:gd name="connsiteX10" fmla="*/ 576326 w 649089"/>
              <a:gd name="connsiteY10" fmla="*/ 1387699 h 1387699"/>
              <a:gd name="connsiteX11" fmla="*/ 72763 w 649089"/>
              <a:gd name="connsiteY11" fmla="*/ 1387699 h 1387699"/>
              <a:gd name="connsiteX12" fmla="*/ 0 w 649089"/>
              <a:gd name="connsiteY12" fmla="*/ 1314936 h 1387699"/>
              <a:gd name="connsiteX13" fmla="*/ 0 w 649089"/>
              <a:gd name="connsiteY13" fmla="*/ 72763 h 1387699"/>
              <a:gd name="connsiteX14" fmla="*/ 72763 w 649089"/>
              <a:gd name="connsiteY14" fmla="*/ 0 h 1387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49089" h="1387699">
                <a:moveTo>
                  <a:pt x="72763" y="0"/>
                </a:moveTo>
                <a:lnTo>
                  <a:pt x="162544" y="0"/>
                </a:lnTo>
                <a:lnTo>
                  <a:pt x="162544" y="9407"/>
                </a:lnTo>
                <a:cubicBezTo>
                  <a:pt x="162544" y="26560"/>
                  <a:pt x="176450" y="40466"/>
                  <a:pt x="193603" y="40466"/>
                </a:cubicBezTo>
                <a:lnTo>
                  <a:pt x="455485" y="40466"/>
                </a:lnTo>
                <a:cubicBezTo>
                  <a:pt x="472638" y="40466"/>
                  <a:pt x="486544" y="26560"/>
                  <a:pt x="486544" y="9407"/>
                </a:cubicBezTo>
                <a:lnTo>
                  <a:pt x="486544" y="0"/>
                </a:lnTo>
                <a:lnTo>
                  <a:pt x="576326" y="0"/>
                </a:lnTo>
                <a:cubicBezTo>
                  <a:pt x="616512" y="0"/>
                  <a:pt x="649089" y="32577"/>
                  <a:pt x="649089" y="72763"/>
                </a:cubicBezTo>
                <a:lnTo>
                  <a:pt x="649089" y="1314936"/>
                </a:lnTo>
                <a:cubicBezTo>
                  <a:pt x="649089" y="1355122"/>
                  <a:pt x="616512" y="1387699"/>
                  <a:pt x="576326" y="1387699"/>
                </a:cubicBezTo>
                <a:lnTo>
                  <a:pt x="72763" y="1387699"/>
                </a:lnTo>
                <a:cubicBezTo>
                  <a:pt x="32577" y="1387699"/>
                  <a:pt x="0" y="1355122"/>
                  <a:pt x="0" y="1314936"/>
                </a:cubicBezTo>
                <a:lnTo>
                  <a:pt x="0" y="72763"/>
                </a:lnTo>
                <a:cubicBezTo>
                  <a:pt x="0" y="32577"/>
                  <a:pt x="32577" y="0"/>
                  <a:pt x="72763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скриншот сюд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C0C87977-595B-78DF-0913-B798ABDC82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1398" t="12840" r="31398" b="12840"/>
          <a:stretch/>
        </p:blipFill>
        <p:spPr>
          <a:xfrm>
            <a:off x="16420385" y="0"/>
            <a:ext cx="8812562" cy="13203772"/>
          </a:xfrm>
          <a:prstGeom prst="rect">
            <a:avLst/>
          </a:prstGeom>
        </p:spPr>
      </p:pic>
      <p:sp>
        <p:nvSpPr>
          <p:cNvPr id="10" name="Рисунок 9">
            <a:extLst>
              <a:ext uri="{FF2B5EF4-FFF2-40B4-BE49-F238E27FC236}">
                <a16:creationId xmlns:a16="http://schemas.microsoft.com/office/drawing/2014/main" id="{A2DDE400-D0B4-27EE-4C0A-981C8A1D52D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8243195" y="1094626"/>
            <a:ext cx="5149273" cy="11009412"/>
          </a:xfrm>
          <a:custGeom>
            <a:avLst/>
            <a:gdLst>
              <a:gd name="connsiteX0" fmla="*/ 72763 w 649089"/>
              <a:gd name="connsiteY0" fmla="*/ 0 h 1387699"/>
              <a:gd name="connsiteX1" fmla="*/ 162544 w 649089"/>
              <a:gd name="connsiteY1" fmla="*/ 0 h 1387699"/>
              <a:gd name="connsiteX2" fmla="*/ 162544 w 649089"/>
              <a:gd name="connsiteY2" fmla="*/ 9407 h 1387699"/>
              <a:gd name="connsiteX3" fmla="*/ 193603 w 649089"/>
              <a:gd name="connsiteY3" fmla="*/ 40466 h 1387699"/>
              <a:gd name="connsiteX4" fmla="*/ 455485 w 649089"/>
              <a:gd name="connsiteY4" fmla="*/ 40466 h 1387699"/>
              <a:gd name="connsiteX5" fmla="*/ 486544 w 649089"/>
              <a:gd name="connsiteY5" fmla="*/ 9407 h 1387699"/>
              <a:gd name="connsiteX6" fmla="*/ 486544 w 649089"/>
              <a:gd name="connsiteY6" fmla="*/ 0 h 1387699"/>
              <a:gd name="connsiteX7" fmla="*/ 576326 w 649089"/>
              <a:gd name="connsiteY7" fmla="*/ 0 h 1387699"/>
              <a:gd name="connsiteX8" fmla="*/ 649089 w 649089"/>
              <a:gd name="connsiteY8" fmla="*/ 72763 h 1387699"/>
              <a:gd name="connsiteX9" fmla="*/ 649089 w 649089"/>
              <a:gd name="connsiteY9" fmla="*/ 1314936 h 1387699"/>
              <a:gd name="connsiteX10" fmla="*/ 576326 w 649089"/>
              <a:gd name="connsiteY10" fmla="*/ 1387699 h 1387699"/>
              <a:gd name="connsiteX11" fmla="*/ 72763 w 649089"/>
              <a:gd name="connsiteY11" fmla="*/ 1387699 h 1387699"/>
              <a:gd name="connsiteX12" fmla="*/ 0 w 649089"/>
              <a:gd name="connsiteY12" fmla="*/ 1314936 h 1387699"/>
              <a:gd name="connsiteX13" fmla="*/ 0 w 649089"/>
              <a:gd name="connsiteY13" fmla="*/ 72763 h 1387699"/>
              <a:gd name="connsiteX14" fmla="*/ 72763 w 649089"/>
              <a:gd name="connsiteY14" fmla="*/ 0 h 1387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49089" h="1387699">
                <a:moveTo>
                  <a:pt x="72763" y="0"/>
                </a:moveTo>
                <a:lnTo>
                  <a:pt x="162544" y="0"/>
                </a:lnTo>
                <a:lnTo>
                  <a:pt x="162544" y="9407"/>
                </a:lnTo>
                <a:cubicBezTo>
                  <a:pt x="162544" y="26560"/>
                  <a:pt x="176450" y="40466"/>
                  <a:pt x="193603" y="40466"/>
                </a:cubicBezTo>
                <a:lnTo>
                  <a:pt x="455485" y="40466"/>
                </a:lnTo>
                <a:cubicBezTo>
                  <a:pt x="472638" y="40466"/>
                  <a:pt x="486544" y="26560"/>
                  <a:pt x="486544" y="9407"/>
                </a:cubicBezTo>
                <a:lnTo>
                  <a:pt x="486544" y="0"/>
                </a:lnTo>
                <a:lnTo>
                  <a:pt x="576326" y="0"/>
                </a:lnTo>
                <a:cubicBezTo>
                  <a:pt x="616512" y="0"/>
                  <a:pt x="649089" y="32577"/>
                  <a:pt x="649089" y="72763"/>
                </a:cubicBezTo>
                <a:lnTo>
                  <a:pt x="649089" y="1314936"/>
                </a:lnTo>
                <a:cubicBezTo>
                  <a:pt x="649089" y="1355122"/>
                  <a:pt x="616512" y="1387699"/>
                  <a:pt x="576326" y="1387699"/>
                </a:cubicBezTo>
                <a:lnTo>
                  <a:pt x="72763" y="1387699"/>
                </a:lnTo>
                <a:cubicBezTo>
                  <a:pt x="32577" y="1387699"/>
                  <a:pt x="0" y="1355122"/>
                  <a:pt x="0" y="1314936"/>
                </a:cubicBezTo>
                <a:lnTo>
                  <a:pt x="0" y="72763"/>
                </a:lnTo>
                <a:cubicBezTo>
                  <a:pt x="0" y="32577"/>
                  <a:pt x="32577" y="0"/>
                  <a:pt x="72763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скриншот сюда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6" y="593726"/>
            <a:ext cx="1685477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5" y="4250621"/>
            <a:ext cx="10793135" cy="887165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7" name="Объект 5">
            <a:extLst>
              <a:ext uri="{FF2B5EF4-FFF2-40B4-BE49-F238E27FC236}">
                <a16:creationId xmlns:a16="http://schemas.microsoft.com/office/drawing/2014/main" id="{3725D6F7-8176-E23F-E9C1-C867DF3283E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6244" y="3257551"/>
            <a:ext cx="10793133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1485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окап компьютер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EB0185B-9CA4-1896-4D47-8F8E55E7C2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"/>
                    </a14:imgEffect>
                  </a14:imgLayer>
                </a14:imgProps>
              </a:ext>
            </a:extLst>
          </a:blip>
          <a:srcRect t="2733" r="21411" b="22418"/>
          <a:stretch/>
        </p:blipFill>
        <p:spPr>
          <a:xfrm>
            <a:off x="5182070" y="-1"/>
            <a:ext cx="19200344" cy="13716002"/>
          </a:xfrm>
          <a:prstGeom prst="rect">
            <a:avLst/>
          </a:prstGeom>
        </p:spPr>
      </p:pic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6" y="593726"/>
            <a:ext cx="23166132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5" y="4250621"/>
            <a:ext cx="9561808" cy="631704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7" name="Объект 5">
            <a:extLst>
              <a:ext uri="{FF2B5EF4-FFF2-40B4-BE49-F238E27FC236}">
                <a16:creationId xmlns:a16="http://schemas.microsoft.com/office/drawing/2014/main" id="{3725D6F7-8176-E23F-E9C1-C867DF3283E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6244" y="3257551"/>
            <a:ext cx="7344246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7" name="Рисунок 3">
            <a:extLst>
              <a:ext uri="{FF2B5EF4-FFF2-40B4-BE49-F238E27FC236}">
                <a16:creationId xmlns:a16="http://schemas.microsoft.com/office/drawing/2014/main" id="{BB3DBA85-A004-FC44-648F-9A669B5699C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320406" y="3135084"/>
            <a:ext cx="12075100" cy="6821716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скриншот сюда</a:t>
            </a:r>
          </a:p>
        </p:txBody>
      </p:sp>
    </p:spTree>
    <p:extLst>
      <p:ext uri="{BB962C8B-B14F-4D97-AF65-F5344CB8AC3E}">
        <p14:creationId xmlns:p14="http://schemas.microsoft.com/office/powerpoint/2010/main" val="33451374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окап айпад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6" y="593726"/>
            <a:ext cx="12329653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4" y="4250621"/>
            <a:ext cx="12329653" cy="887165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7" name="Объект 5">
            <a:extLst>
              <a:ext uri="{FF2B5EF4-FFF2-40B4-BE49-F238E27FC236}">
                <a16:creationId xmlns:a16="http://schemas.microsoft.com/office/drawing/2014/main" id="{3725D6F7-8176-E23F-E9C1-C867DF3283E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6242" y="3257551"/>
            <a:ext cx="12329653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0391209-1F51-053A-43C7-82298E317B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813863" y="-334654"/>
            <a:ext cx="14774578" cy="14775540"/>
          </a:xfrm>
          <a:prstGeom prst="rect">
            <a:avLst/>
          </a:prstGeom>
        </p:spPr>
      </p:pic>
      <p:sp>
        <p:nvSpPr>
          <p:cNvPr id="4" name="Рисунок 3">
            <a:extLst>
              <a:ext uri="{FF2B5EF4-FFF2-40B4-BE49-F238E27FC236}">
                <a16:creationId xmlns:a16="http://schemas.microsoft.com/office/drawing/2014/main" id="{BE53EAE3-2E04-4D98-376C-DA986D856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5006795" y="1107103"/>
            <a:ext cx="8279461" cy="11549354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скриншот сюда</a:t>
            </a:r>
          </a:p>
        </p:txBody>
      </p:sp>
    </p:spTree>
    <p:extLst>
      <p:ext uri="{BB962C8B-B14F-4D97-AF65-F5344CB8AC3E}">
        <p14:creationId xmlns:p14="http://schemas.microsoft.com/office/powerpoint/2010/main" val="2799528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е фото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id="{86E72D2E-C53D-AE8D-F2F0-B8BBCCF96CAE}"/>
              </a:ext>
            </a:extLst>
          </p:cNvPr>
          <p:cNvSpPr/>
          <p:nvPr userDrawn="1"/>
        </p:nvSpPr>
        <p:spPr>
          <a:xfrm>
            <a:off x="616245" y="3257550"/>
            <a:ext cx="11233327" cy="9864724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sz="3600"/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99378493-3670-7E93-F126-8871B572E027}"/>
              </a:ext>
            </a:extLst>
          </p:cNvPr>
          <p:cNvSpPr/>
          <p:nvPr userDrawn="1"/>
        </p:nvSpPr>
        <p:spPr>
          <a:xfrm>
            <a:off x="12532843" y="3257550"/>
            <a:ext cx="11233327" cy="9864724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sz="360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19042075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46424" y="8592459"/>
            <a:ext cx="10110798" cy="413294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3200"/>
              </a:spcAft>
              <a:buClr>
                <a:srgbClr val="FC6D54"/>
              </a:buClr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63FC8F38-227B-C664-53EF-6CD2507FE12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6244" y="3257553"/>
            <a:ext cx="11233325" cy="4664726"/>
          </a:xfrm>
          <a:custGeom>
            <a:avLst/>
            <a:gdLst>
              <a:gd name="connsiteX0" fmla="*/ 104527 w 3678992"/>
              <a:gd name="connsiteY0" fmla="*/ 0 h 2332363"/>
              <a:gd name="connsiteX1" fmla="*/ 3574465 w 3678992"/>
              <a:gd name="connsiteY1" fmla="*/ 0 h 2332363"/>
              <a:gd name="connsiteX2" fmla="*/ 3678992 w 3678992"/>
              <a:gd name="connsiteY2" fmla="*/ 104527 h 2332363"/>
              <a:gd name="connsiteX3" fmla="*/ 3678992 w 3678992"/>
              <a:gd name="connsiteY3" fmla="*/ 2332363 h 2332363"/>
              <a:gd name="connsiteX4" fmla="*/ 0 w 3678992"/>
              <a:gd name="connsiteY4" fmla="*/ 2332363 h 2332363"/>
              <a:gd name="connsiteX5" fmla="*/ 0 w 3678992"/>
              <a:gd name="connsiteY5" fmla="*/ 104527 h 2332363"/>
              <a:gd name="connsiteX6" fmla="*/ 104527 w 3678992"/>
              <a:gd name="connsiteY6" fmla="*/ 0 h 2332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78992" h="2332363">
                <a:moveTo>
                  <a:pt x="104527" y="0"/>
                </a:moveTo>
                <a:lnTo>
                  <a:pt x="3574465" y="0"/>
                </a:lnTo>
                <a:cubicBezTo>
                  <a:pt x="3632194" y="0"/>
                  <a:pt x="3678992" y="46798"/>
                  <a:pt x="3678992" y="104527"/>
                </a:cubicBezTo>
                <a:lnTo>
                  <a:pt x="3678992" y="2332363"/>
                </a:lnTo>
                <a:lnTo>
                  <a:pt x="0" y="2332363"/>
                </a:lnTo>
                <a:lnTo>
                  <a:pt x="0" y="104527"/>
                </a:lnTo>
                <a:cubicBezTo>
                  <a:pt x="0" y="46798"/>
                  <a:pt x="46798" y="0"/>
                  <a:pt x="104527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5" name="Объект 5">
            <a:extLst>
              <a:ext uri="{FF2B5EF4-FFF2-40B4-BE49-F238E27FC236}">
                <a16:creationId xmlns:a16="http://schemas.microsoft.com/office/drawing/2014/main" id="{E8DE167D-5304-FE85-BFF9-046B2E77388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2863023" y="8592459"/>
            <a:ext cx="10110798" cy="413294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3200"/>
              </a:spcAft>
              <a:buClr>
                <a:srgbClr val="FC6D54"/>
              </a:buClr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1F1F0A75-8294-9FD5-4369-76BDF8905C9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2532842" y="3257553"/>
            <a:ext cx="11233325" cy="4664726"/>
          </a:xfrm>
          <a:custGeom>
            <a:avLst/>
            <a:gdLst>
              <a:gd name="connsiteX0" fmla="*/ 104527 w 3678992"/>
              <a:gd name="connsiteY0" fmla="*/ 0 h 2332363"/>
              <a:gd name="connsiteX1" fmla="*/ 3574465 w 3678992"/>
              <a:gd name="connsiteY1" fmla="*/ 0 h 2332363"/>
              <a:gd name="connsiteX2" fmla="*/ 3678992 w 3678992"/>
              <a:gd name="connsiteY2" fmla="*/ 104527 h 2332363"/>
              <a:gd name="connsiteX3" fmla="*/ 3678992 w 3678992"/>
              <a:gd name="connsiteY3" fmla="*/ 2332363 h 2332363"/>
              <a:gd name="connsiteX4" fmla="*/ 0 w 3678992"/>
              <a:gd name="connsiteY4" fmla="*/ 2332363 h 2332363"/>
              <a:gd name="connsiteX5" fmla="*/ 0 w 3678992"/>
              <a:gd name="connsiteY5" fmla="*/ 104527 h 2332363"/>
              <a:gd name="connsiteX6" fmla="*/ 104527 w 3678992"/>
              <a:gd name="connsiteY6" fmla="*/ 0 h 2332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78992" h="2332363">
                <a:moveTo>
                  <a:pt x="104527" y="0"/>
                </a:moveTo>
                <a:lnTo>
                  <a:pt x="3574465" y="0"/>
                </a:lnTo>
                <a:cubicBezTo>
                  <a:pt x="3632194" y="0"/>
                  <a:pt x="3678992" y="46798"/>
                  <a:pt x="3678992" y="104527"/>
                </a:cubicBezTo>
                <a:lnTo>
                  <a:pt x="3678992" y="2332363"/>
                </a:lnTo>
                <a:lnTo>
                  <a:pt x="0" y="2332363"/>
                </a:lnTo>
                <a:lnTo>
                  <a:pt x="0" y="104527"/>
                </a:lnTo>
                <a:cubicBezTo>
                  <a:pt x="0" y="46798"/>
                  <a:pt x="46798" y="0"/>
                  <a:pt x="104527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</p:spTree>
    <p:extLst>
      <p:ext uri="{BB962C8B-B14F-4D97-AF65-F5344CB8AC3E}">
        <p14:creationId xmlns:p14="http://schemas.microsoft.com/office/powerpoint/2010/main" val="1498445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ри фото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id="{86E72D2E-C53D-AE8D-F2F0-B8BBCCF96CAE}"/>
              </a:ext>
            </a:extLst>
          </p:cNvPr>
          <p:cNvSpPr/>
          <p:nvPr userDrawn="1"/>
        </p:nvSpPr>
        <p:spPr>
          <a:xfrm>
            <a:off x="616247" y="3257550"/>
            <a:ext cx="7357507" cy="9864724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sz="3600"/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99378493-3670-7E93-F126-8871B572E027}"/>
              </a:ext>
            </a:extLst>
          </p:cNvPr>
          <p:cNvSpPr/>
          <p:nvPr userDrawn="1"/>
        </p:nvSpPr>
        <p:spPr>
          <a:xfrm>
            <a:off x="8515133" y="3257550"/>
            <a:ext cx="7357507" cy="9864724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sz="3600"/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5B25FCE4-3F71-30A7-AC3C-F97108CD9044}"/>
              </a:ext>
            </a:extLst>
          </p:cNvPr>
          <p:cNvSpPr/>
          <p:nvPr userDrawn="1"/>
        </p:nvSpPr>
        <p:spPr>
          <a:xfrm>
            <a:off x="16414019" y="3257550"/>
            <a:ext cx="7357507" cy="9864724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sz="360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19042075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46425" y="9963751"/>
            <a:ext cx="6622283" cy="27616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3200"/>
              </a:spcAft>
              <a:buClr>
                <a:srgbClr val="FC6D54"/>
              </a:buClr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" name="Рисунок 3">
            <a:extLst>
              <a:ext uri="{FF2B5EF4-FFF2-40B4-BE49-F238E27FC236}">
                <a16:creationId xmlns:a16="http://schemas.microsoft.com/office/drawing/2014/main" id="{F63C95C8-05F7-0374-BB27-356BB87131A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6246" y="3257550"/>
            <a:ext cx="7357505" cy="6283572"/>
          </a:xfrm>
          <a:prstGeom prst="round2SameRect">
            <a:avLst>
              <a:gd name="adj1" fmla="val 3327"/>
              <a:gd name="adj2" fmla="val 0"/>
            </a:avLst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5" name="Объект 5">
            <a:extLst>
              <a:ext uri="{FF2B5EF4-FFF2-40B4-BE49-F238E27FC236}">
                <a16:creationId xmlns:a16="http://schemas.microsoft.com/office/drawing/2014/main" id="{E8DE167D-5304-FE85-BFF9-046B2E77388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845311" y="9963751"/>
            <a:ext cx="6622283" cy="27616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3200"/>
              </a:spcAft>
              <a:buClr>
                <a:srgbClr val="FC6D54"/>
              </a:buClr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7" name="Рисунок 3">
            <a:extLst>
              <a:ext uri="{FF2B5EF4-FFF2-40B4-BE49-F238E27FC236}">
                <a16:creationId xmlns:a16="http://schemas.microsoft.com/office/drawing/2014/main" id="{954A5278-1349-0DCA-21E3-5517E528CA9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515132" y="3257550"/>
            <a:ext cx="7357505" cy="6283572"/>
          </a:xfrm>
          <a:prstGeom prst="round2SameRect">
            <a:avLst>
              <a:gd name="adj1" fmla="val 3327"/>
              <a:gd name="adj2" fmla="val 0"/>
            </a:avLst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11" name="Объект 5">
            <a:extLst>
              <a:ext uri="{FF2B5EF4-FFF2-40B4-BE49-F238E27FC236}">
                <a16:creationId xmlns:a16="http://schemas.microsoft.com/office/drawing/2014/main" id="{9DB98213-D44F-82FB-4552-A3F186DEE4F5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6744197" y="9963751"/>
            <a:ext cx="6622283" cy="27616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3200"/>
              </a:spcAft>
              <a:buClr>
                <a:srgbClr val="FC6D54"/>
              </a:buClr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2" name="Рисунок 3">
            <a:extLst>
              <a:ext uri="{FF2B5EF4-FFF2-40B4-BE49-F238E27FC236}">
                <a16:creationId xmlns:a16="http://schemas.microsoft.com/office/drawing/2014/main" id="{F9F1B503-3361-9CA4-9C00-C024F89BFA8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6414018" y="3257550"/>
            <a:ext cx="7357505" cy="6283572"/>
          </a:xfrm>
          <a:prstGeom prst="round2SameRect">
            <a:avLst>
              <a:gd name="adj1" fmla="val 3327"/>
              <a:gd name="adj2" fmla="val 0"/>
            </a:avLst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</p:spTree>
    <p:extLst>
      <p:ext uri="{BB962C8B-B14F-4D97-AF65-F5344CB8AC3E}">
        <p14:creationId xmlns:p14="http://schemas.microsoft.com/office/powerpoint/2010/main" val="2818907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Изображение на весь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3">
            <a:extLst>
              <a:ext uri="{FF2B5EF4-FFF2-40B4-BE49-F238E27FC236}">
                <a16:creationId xmlns:a16="http://schemas.microsoft.com/office/drawing/2014/main" id="{19F2B3E9-F71D-07AB-76A4-3AFF3CACAF3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2082801"/>
            <a:ext cx="24382413" cy="11633198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19042075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3661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Изображение на весь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3">
            <a:extLst>
              <a:ext uri="{FF2B5EF4-FFF2-40B4-BE49-F238E27FC236}">
                <a16:creationId xmlns:a16="http://schemas.microsoft.com/office/drawing/2014/main" id="{19F2B3E9-F71D-07AB-76A4-3AFF3CACAF3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24382413" cy="13715998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A61807B9-F128-DB4E-2EA6-484BEFFB11D8}"/>
              </a:ext>
            </a:extLst>
          </p:cNvPr>
          <p:cNvSpPr/>
          <p:nvPr userDrawn="1"/>
        </p:nvSpPr>
        <p:spPr>
          <a:xfrm>
            <a:off x="16414143" y="593726"/>
            <a:ext cx="7357507" cy="12436568"/>
          </a:xfrm>
          <a:prstGeom prst="roundRect">
            <a:avLst>
              <a:gd name="adj" fmla="val 3355"/>
            </a:avLst>
          </a:prstGeom>
          <a:solidFill>
            <a:schemeClr val="tx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4" name="Объект 5">
            <a:extLst>
              <a:ext uri="{FF2B5EF4-FFF2-40B4-BE49-F238E27FC236}">
                <a16:creationId xmlns:a16="http://schemas.microsoft.com/office/drawing/2014/main" id="{3237515C-37B5-6AC7-A5CA-F097AD98CBCF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16773670" y="4797915"/>
            <a:ext cx="6627641" cy="7835506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73672" y="1200027"/>
            <a:ext cx="6627641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75388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Буллиты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3">
            <a:extLst>
              <a:ext uri="{FF2B5EF4-FFF2-40B4-BE49-F238E27FC236}">
                <a16:creationId xmlns:a16="http://schemas.microsoft.com/office/drawing/2014/main" id="{93C68F31-7EB2-E274-E758-C37A8E252E3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667308" y="4227751"/>
            <a:ext cx="13098863" cy="8894510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9561808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5" y="4227751"/>
            <a:ext cx="9561808" cy="631704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1C656F75-5705-D50A-08CC-766FB3572A16}"/>
              </a:ext>
            </a:extLst>
          </p:cNvPr>
          <p:cNvCxnSpPr>
            <a:cxnSpLocks/>
          </p:cNvCxnSpPr>
          <p:nvPr userDrawn="1"/>
        </p:nvCxnSpPr>
        <p:spPr>
          <a:xfrm>
            <a:off x="616245" y="3734196"/>
            <a:ext cx="95618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230BF053-C397-9682-B355-D20C1AFB96C4}"/>
              </a:ext>
            </a:extLst>
          </p:cNvPr>
          <p:cNvCxnSpPr>
            <a:cxnSpLocks/>
          </p:cNvCxnSpPr>
          <p:nvPr userDrawn="1"/>
        </p:nvCxnSpPr>
        <p:spPr>
          <a:xfrm>
            <a:off x="10667307" y="3734196"/>
            <a:ext cx="1313127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BA05FFD5-95E4-A484-CA8C-4071800136A1}"/>
              </a:ext>
            </a:extLst>
          </p:cNvPr>
          <p:cNvCxnSpPr>
            <a:cxnSpLocks/>
          </p:cNvCxnSpPr>
          <p:nvPr userDrawn="1"/>
        </p:nvCxnSpPr>
        <p:spPr>
          <a:xfrm>
            <a:off x="10422678" y="3919951"/>
            <a:ext cx="0" cy="920232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61229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bg>
      <p:bgPr>
        <a:solidFill>
          <a:schemeClr val="bg2">
            <a:lumMod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44A1AC5-FF74-4CD6-B6A7-067D983CA1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6276" y="1228459"/>
            <a:ext cx="21755487" cy="44546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180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08B7F08-83D3-E44E-9492-950CD41884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11352" y="11731652"/>
            <a:ext cx="7740650" cy="105404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035C08B-8751-1B4B-921E-E4E784040729}"/>
              </a:ext>
            </a:extLst>
          </p:cNvPr>
          <p:cNvSpPr txBox="1"/>
          <p:nvPr userDrawn="1"/>
        </p:nvSpPr>
        <p:spPr>
          <a:xfrm>
            <a:off x="20704629" y="881742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EE37A55-47B8-3646-B196-265116C6B9AB}"/>
              </a:ext>
            </a:extLst>
          </p:cNvPr>
          <p:cNvSpPr txBox="1"/>
          <p:nvPr userDrawn="1"/>
        </p:nvSpPr>
        <p:spPr>
          <a:xfrm>
            <a:off x="12217400" y="-5842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93E385-4AEE-1B40-A5C9-0C1B40DD947F}"/>
              </a:ext>
            </a:extLst>
          </p:cNvPr>
          <p:cNvSpPr txBox="1"/>
          <p:nvPr userDrawn="1"/>
        </p:nvSpPr>
        <p:spPr>
          <a:xfrm>
            <a:off x="12217400" y="-21590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5400" indent="-25400" algn="l">
              <a:tabLst/>
            </a:pPr>
            <a:endParaRPr lang="en-RU" sz="3200" err="1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2281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Буллиты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3">
            <a:extLst>
              <a:ext uri="{FF2B5EF4-FFF2-40B4-BE49-F238E27FC236}">
                <a16:creationId xmlns:a16="http://schemas.microsoft.com/office/drawing/2014/main" id="{93C68F31-7EB2-E274-E758-C37A8E252E3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4241459" y="4227751"/>
            <a:ext cx="9524712" cy="8894510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9561808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6" y="5362588"/>
            <a:ext cx="6165115" cy="775965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1C656F75-5705-D50A-08CC-766FB3572A16}"/>
              </a:ext>
            </a:extLst>
          </p:cNvPr>
          <p:cNvCxnSpPr>
            <a:cxnSpLocks/>
          </p:cNvCxnSpPr>
          <p:nvPr userDrawn="1"/>
        </p:nvCxnSpPr>
        <p:spPr>
          <a:xfrm>
            <a:off x="616245" y="3734196"/>
            <a:ext cx="616511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230BF053-C397-9682-B355-D20C1AFB96C4}"/>
              </a:ext>
            </a:extLst>
          </p:cNvPr>
          <p:cNvCxnSpPr>
            <a:cxnSpLocks/>
          </p:cNvCxnSpPr>
          <p:nvPr userDrawn="1"/>
        </p:nvCxnSpPr>
        <p:spPr>
          <a:xfrm>
            <a:off x="14273872" y="3734196"/>
            <a:ext cx="952471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BA05FFD5-95E4-A484-CA8C-4071800136A1}"/>
              </a:ext>
            </a:extLst>
          </p:cNvPr>
          <p:cNvCxnSpPr>
            <a:cxnSpLocks/>
          </p:cNvCxnSpPr>
          <p:nvPr userDrawn="1"/>
        </p:nvCxnSpPr>
        <p:spPr>
          <a:xfrm>
            <a:off x="7120893" y="3919951"/>
            <a:ext cx="0" cy="920232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Объект 5">
            <a:extLst>
              <a:ext uri="{FF2B5EF4-FFF2-40B4-BE49-F238E27FC236}">
                <a16:creationId xmlns:a16="http://schemas.microsoft.com/office/drawing/2014/main" id="{2DDB62A0-43DB-CCBA-CC7E-F519A38F921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7397604" y="5362588"/>
            <a:ext cx="6165115" cy="775965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9BA0CC98-0C82-DC37-18A6-AB191D33EE7C}"/>
              </a:ext>
            </a:extLst>
          </p:cNvPr>
          <p:cNvCxnSpPr>
            <a:cxnSpLocks/>
          </p:cNvCxnSpPr>
          <p:nvPr userDrawn="1"/>
        </p:nvCxnSpPr>
        <p:spPr>
          <a:xfrm>
            <a:off x="7397603" y="3734196"/>
            <a:ext cx="616511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A3BAF73B-D184-4CBB-5D0D-318CEDD103E2}"/>
              </a:ext>
            </a:extLst>
          </p:cNvPr>
          <p:cNvCxnSpPr>
            <a:cxnSpLocks/>
          </p:cNvCxnSpPr>
          <p:nvPr userDrawn="1"/>
        </p:nvCxnSpPr>
        <p:spPr>
          <a:xfrm>
            <a:off x="13902251" y="3919951"/>
            <a:ext cx="0" cy="920232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Объект 5">
            <a:extLst>
              <a:ext uri="{FF2B5EF4-FFF2-40B4-BE49-F238E27FC236}">
                <a16:creationId xmlns:a16="http://schemas.microsoft.com/office/drawing/2014/main" id="{C1ADA6BE-183D-B841-38C1-7AE5CFC9C2C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0036" y="4227751"/>
            <a:ext cx="6165061" cy="6647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6" name="Объект 5">
            <a:extLst>
              <a:ext uri="{FF2B5EF4-FFF2-40B4-BE49-F238E27FC236}">
                <a16:creationId xmlns:a16="http://schemas.microsoft.com/office/drawing/2014/main" id="{0A9C05CF-914B-0FEA-A723-7EA894D098DC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7397603" y="4227751"/>
            <a:ext cx="6165061" cy="6647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21340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с поясн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Номер слайда 5">
            <a:extLst>
              <a:ext uri="{FF2B5EF4-FFF2-40B4-BE49-F238E27FC236}">
                <a16:creationId xmlns:a16="http://schemas.microsoft.com/office/drawing/2014/main" id="{4005A651-6082-6391-B58A-454538B2DE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5">
            <a:extLst>
              <a:ext uri="{FF2B5EF4-FFF2-40B4-BE49-F238E27FC236}">
                <a16:creationId xmlns:a16="http://schemas.microsoft.com/office/drawing/2014/main" id="{C49BAB62-2ADC-4E64-6B44-3B3FE5A5E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6" y="3946819"/>
            <a:ext cx="12337725" cy="291118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70000"/>
              </a:lnSpc>
              <a:defRPr sz="13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0C884AB-2306-B1FF-CA83-DC42D66D95D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16046" y="7350828"/>
            <a:ext cx="11675160" cy="129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559737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26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Крупный тезис с описа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27FC221-2432-DF8B-A15B-3028584F9B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6594" t="4924" r="54044" b="53466"/>
          <a:stretch/>
        </p:blipFill>
        <p:spPr>
          <a:xfrm rot="16200000" flipH="1">
            <a:off x="9234389" y="-1432024"/>
            <a:ext cx="13716008" cy="16580041"/>
          </a:xfrm>
          <a:prstGeom prst="rect">
            <a:avLst/>
          </a:prstGeom>
        </p:spPr>
      </p:pic>
      <p:sp>
        <p:nvSpPr>
          <p:cNvPr id="2" name="Заголовок 5">
            <a:extLst>
              <a:ext uri="{FF2B5EF4-FFF2-40B4-BE49-F238E27FC236}">
                <a16:creationId xmlns:a16="http://schemas.microsoft.com/office/drawing/2014/main" id="{C49BAB62-2ADC-4E64-6B44-3B3FE5A5E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6" y="4476067"/>
            <a:ext cx="12337725" cy="238193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70000"/>
              </a:lnSpc>
              <a:defRPr sz="107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0C884AB-2306-B1FF-CA83-DC42D66D95D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16046" y="7350828"/>
            <a:ext cx="11675160" cy="129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A77A64C7-FB25-0AF0-1B84-FC063A5F3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37288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26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Крупный тезис с описа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F695515-425D-AA53-8A9E-AE00BFE435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904" t="3962" r="44450" b="11878"/>
          <a:stretch/>
        </p:blipFill>
        <p:spPr>
          <a:xfrm rot="16200000">
            <a:off x="9335987" y="-1330433"/>
            <a:ext cx="13716002" cy="16376854"/>
          </a:xfrm>
          <a:prstGeom prst="rect">
            <a:avLst/>
          </a:prstGeom>
        </p:spPr>
      </p:pic>
      <p:sp>
        <p:nvSpPr>
          <p:cNvPr id="2" name="Заголовок 5">
            <a:extLst>
              <a:ext uri="{FF2B5EF4-FFF2-40B4-BE49-F238E27FC236}">
                <a16:creationId xmlns:a16="http://schemas.microsoft.com/office/drawing/2014/main" id="{C49BAB62-2ADC-4E64-6B44-3B3FE5A5E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6" y="4476067"/>
            <a:ext cx="12337725" cy="238193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70000"/>
              </a:lnSpc>
              <a:defRPr sz="107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0C884AB-2306-B1FF-CA83-DC42D66D95D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16046" y="7350828"/>
            <a:ext cx="11675160" cy="129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A77A64C7-FB25-0AF0-1B84-FC063A5F3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5787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26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Крупный тезис с описа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>
            <a:extLst>
              <a:ext uri="{FF2B5EF4-FFF2-40B4-BE49-F238E27FC236}">
                <a16:creationId xmlns:a16="http://schemas.microsoft.com/office/drawing/2014/main" id="{2CD621C7-4F66-A09D-E2B8-7F0689A665B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384541" y="0"/>
            <a:ext cx="10997872" cy="13716000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2" name="Заголовок 5">
            <a:extLst>
              <a:ext uri="{FF2B5EF4-FFF2-40B4-BE49-F238E27FC236}">
                <a16:creationId xmlns:a16="http://schemas.microsoft.com/office/drawing/2014/main" id="{C49BAB62-2ADC-4E64-6B44-3B3FE5A5E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7" y="4476067"/>
            <a:ext cx="12068169" cy="238193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70000"/>
              </a:lnSpc>
              <a:defRPr sz="107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0C884AB-2306-B1FF-CA83-DC42D66D95D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16046" y="7350828"/>
            <a:ext cx="12068167" cy="129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A77A64C7-FB25-0AF0-1B84-FC063A5F3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2153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26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с пояснением для графи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5">
            <a:extLst>
              <a:ext uri="{FF2B5EF4-FFF2-40B4-BE49-F238E27FC236}">
                <a16:creationId xmlns:a16="http://schemas.microsoft.com/office/drawing/2014/main" id="{C49BAB62-2ADC-4E64-6B44-3B3FE5A5E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6" y="2531675"/>
            <a:ext cx="12337725" cy="291118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70000"/>
              </a:lnSpc>
              <a:defRPr sz="13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0C884AB-2306-B1FF-CA83-DC42D66D95D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16046" y="5935684"/>
            <a:ext cx="11675160" cy="129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A77A64C7-FB25-0AF0-1B84-FC063A5F3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1555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26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3">
            <a:extLst>
              <a:ext uri="{FF2B5EF4-FFF2-40B4-BE49-F238E27FC236}">
                <a16:creationId xmlns:a16="http://schemas.microsoft.com/office/drawing/2014/main" id="{59711A3A-7415-E168-40FD-804F90FFE12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667306" y="0"/>
            <a:ext cx="13715107" cy="13716000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2" name="Заголовок 5">
            <a:extLst>
              <a:ext uri="{FF2B5EF4-FFF2-40B4-BE49-F238E27FC236}">
                <a16:creationId xmlns:a16="http://schemas.microsoft.com/office/drawing/2014/main" id="{C49BAB62-2ADC-4E64-6B44-3B3FE5A5E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8095" y="6871855"/>
            <a:ext cx="12337725" cy="291118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70000"/>
              </a:lnSpc>
              <a:defRPr sz="13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0C884AB-2306-B1FF-CA83-DC42D66D95D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1458095" y="10275864"/>
            <a:ext cx="11675160" cy="129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A77A64C7-FB25-0AF0-1B84-FC063A5F3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9398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26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Цитата / маленькая фотограф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A0FB5E3-1ACD-5501-CBF0-4E70F95C15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05" t="64638" r="64921" b="4008"/>
          <a:stretch/>
        </p:blipFill>
        <p:spPr>
          <a:xfrm rot="5400000" flipH="1">
            <a:off x="9904900" y="-761514"/>
            <a:ext cx="13716018" cy="15239008"/>
          </a:xfrm>
          <a:prstGeom prst="rect">
            <a:avLst/>
          </a:prstGeom>
        </p:spPr>
      </p:pic>
      <p:sp>
        <p:nvSpPr>
          <p:cNvPr id="7" name="Овал 6">
            <a:extLst>
              <a:ext uri="{FF2B5EF4-FFF2-40B4-BE49-F238E27FC236}">
                <a16:creationId xmlns:a16="http://schemas.microsoft.com/office/drawing/2014/main" id="{BC195574-5523-02BD-84B2-DE7A1477B26F}"/>
              </a:ext>
            </a:extLst>
          </p:cNvPr>
          <p:cNvSpPr/>
          <p:nvPr userDrawn="1"/>
        </p:nvSpPr>
        <p:spPr>
          <a:xfrm>
            <a:off x="1458096" y="2416931"/>
            <a:ext cx="2566495" cy="2566662"/>
          </a:xfrm>
          <a:prstGeom prst="ellipse">
            <a:avLst/>
          </a:prstGeom>
          <a:ln w="38100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2600BD94-DDE6-6E7A-46D1-0796AECFD59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458095" y="2416930"/>
            <a:ext cx="2566497" cy="2566664"/>
          </a:xfrm>
          <a:custGeom>
            <a:avLst/>
            <a:gdLst>
              <a:gd name="connsiteX0" fmla="*/ 641666 w 1283332"/>
              <a:gd name="connsiteY0" fmla="*/ 0 h 1283332"/>
              <a:gd name="connsiteX1" fmla="*/ 1283332 w 1283332"/>
              <a:gd name="connsiteY1" fmla="*/ 641666 h 1283332"/>
              <a:gd name="connsiteX2" fmla="*/ 641666 w 1283332"/>
              <a:gd name="connsiteY2" fmla="*/ 1283332 h 1283332"/>
              <a:gd name="connsiteX3" fmla="*/ 0 w 1283332"/>
              <a:gd name="connsiteY3" fmla="*/ 641666 h 1283332"/>
              <a:gd name="connsiteX4" fmla="*/ 641666 w 1283332"/>
              <a:gd name="connsiteY4" fmla="*/ 0 h 1283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3332" h="1283332">
                <a:moveTo>
                  <a:pt x="641666" y="0"/>
                </a:moveTo>
                <a:cubicBezTo>
                  <a:pt x="996048" y="0"/>
                  <a:pt x="1283332" y="287284"/>
                  <a:pt x="1283332" y="641666"/>
                </a:cubicBezTo>
                <a:cubicBezTo>
                  <a:pt x="1283332" y="996048"/>
                  <a:pt x="996048" y="1283332"/>
                  <a:pt x="641666" y="1283332"/>
                </a:cubicBezTo>
                <a:cubicBezTo>
                  <a:pt x="287284" y="1283332"/>
                  <a:pt x="0" y="996048"/>
                  <a:pt x="0" y="641666"/>
                </a:cubicBezTo>
                <a:cubicBezTo>
                  <a:pt x="0" y="287284"/>
                  <a:pt x="287284" y="0"/>
                  <a:pt x="641666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2" name="Заголовок 5">
            <a:extLst>
              <a:ext uri="{FF2B5EF4-FFF2-40B4-BE49-F238E27FC236}">
                <a16:creationId xmlns:a16="http://schemas.microsoft.com/office/drawing/2014/main" id="{C49BAB62-2ADC-4E64-6B44-3B3FE5A5E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8094" y="5684290"/>
            <a:ext cx="22313554" cy="162480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lnSpc>
                <a:spcPct val="70000"/>
              </a:lnSpc>
              <a:defRPr sz="143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0C884AB-2306-B1FF-CA83-DC42D66D95D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497981" y="3052262"/>
            <a:ext cx="11675160" cy="129600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A77A64C7-FB25-0AF0-1B84-FC063A5F3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2067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26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Цитата / маленькая фотограф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FC1699B-6B3A-6134-4CFD-80502E7D73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475" t="55030" r="64287" b="5195"/>
          <a:stretch/>
        </p:blipFill>
        <p:spPr>
          <a:xfrm rot="16200000" flipH="1">
            <a:off x="1562360" y="-1628918"/>
            <a:ext cx="13782560" cy="16907276"/>
          </a:xfrm>
          <a:prstGeom prst="rect">
            <a:avLst/>
          </a:prstGeom>
        </p:spPr>
      </p:pic>
      <p:sp>
        <p:nvSpPr>
          <p:cNvPr id="7" name="Овал 6">
            <a:extLst>
              <a:ext uri="{FF2B5EF4-FFF2-40B4-BE49-F238E27FC236}">
                <a16:creationId xmlns:a16="http://schemas.microsoft.com/office/drawing/2014/main" id="{BC195574-5523-02BD-84B2-DE7A1477B26F}"/>
              </a:ext>
            </a:extLst>
          </p:cNvPr>
          <p:cNvSpPr/>
          <p:nvPr userDrawn="1"/>
        </p:nvSpPr>
        <p:spPr>
          <a:xfrm>
            <a:off x="779309" y="2713800"/>
            <a:ext cx="7462294" cy="7462780"/>
          </a:xfrm>
          <a:prstGeom prst="ellipse">
            <a:avLst/>
          </a:prstGeom>
          <a:ln w="38100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200"/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2600BD94-DDE6-6E7A-46D1-0796AECFD59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79308" y="2713799"/>
            <a:ext cx="7462300" cy="7462786"/>
          </a:xfrm>
          <a:custGeom>
            <a:avLst/>
            <a:gdLst>
              <a:gd name="connsiteX0" fmla="*/ 641666 w 1283332"/>
              <a:gd name="connsiteY0" fmla="*/ 0 h 1283332"/>
              <a:gd name="connsiteX1" fmla="*/ 1283332 w 1283332"/>
              <a:gd name="connsiteY1" fmla="*/ 641666 h 1283332"/>
              <a:gd name="connsiteX2" fmla="*/ 641666 w 1283332"/>
              <a:gd name="connsiteY2" fmla="*/ 1283332 h 1283332"/>
              <a:gd name="connsiteX3" fmla="*/ 0 w 1283332"/>
              <a:gd name="connsiteY3" fmla="*/ 641666 h 1283332"/>
              <a:gd name="connsiteX4" fmla="*/ 641666 w 1283332"/>
              <a:gd name="connsiteY4" fmla="*/ 0 h 1283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3332" h="1283332">
                <a:moveTo>
                  <a:pt x="641666" y="0"/>
                </a:moveTo>
                <a:cubicBezTo>
                  <a:pt x="996048" y="0"/>
                  <a:pt x="1283332" y="287284"/>
                  <a:pt x="1283332" y="641666"/>
                </a:cubicBezTo>
                <a:cubicBezTo>
                  <a:pt x="1283332" y="996048"/>
                  <a:pt x="996048" y="1283332"/>
                  <a:pt x="641666" y="1283332"/>
                </a:cubicBezTo>
                <a:cubicBezTo>
                  <a:pt x="287284" y="1283332"/>
                  <a:pt x="0" y="996048"/>
                  <a:pt x="0" y="641666"/>
                </a:cubicBezTo>
                <a:cubicBezTo>
                  <a:pt x="0" y="287284"/>
                  <a:pt x="287284" y="0"/>
                  <a:pt x="641666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6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</a:t>
            </a:r>
            <a:br>
              <a:rPr lang="ru-RU" dirty="0"/>
            </a:br>
            <a:r>
              <a:rPr lang="ru-RU" dirty="0"/>
              <a:t>фото сюда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A77A64C7-FB25-0AF0-1B84-FC063A5F3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Объект 5">
            <a:extLst>
              <a:ext uri="{FF2B5EF4-FFF2-40B4-BE49-F238E27FC236}">
                <a16:creationId xmlns:a16="http://schemas.microsoft.com/office/drawing/2014/main" id="{EE5E40FE-FB92-8D5F-DDBD-2918294A493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10457903" y="5362620"/>
            <a:ext cx="9977911" cy="775965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7CA374C9-E03B-127D-B45D-6680DB7FF3D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441692" y="3257551"/>
            <a:ext cx="9977823" cy="6647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0" name="Объект 5">
            <a:extLst>
              <a:ext uri="{FF2B5EF4-FFF2-40B4-BE49-F238E27FC236}">
                <a16:creationId xmlns:a16="http://schemas.microsoft.com/office/drawing/2014/main" id="{EFAB43EA-0214-D15E-FA31-E682ACBD3C8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0441692" y="4001129"/>
            <a:ext cx="9977823" cy="4985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80843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26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Цитата / маленькая фотограф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F50FDF6-81AF-1CBC-1DDD-26A58B56E5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-13226" r="77687" b="63040"/>
          <a:stretch/>
        </p:blipFill>
        <p:spPr>
          <a:xfrm rot="16200000" flipH="1" flipV="1">
            <a:off x="1818075" y="-1818087"/>
            <a:ext cx="13716008" cy="17352157"/>
          </a:xfrm>
          <a:prstGeom prst="rect">
            <a:avLst/>
          </a:prstGeom>
        </p:spPr>
      </p:pic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A77A64C7-FB25-0AF0-1B84-FC063A5F3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5">
            <a:extLst>
              <a:ext uri="{FF2B5EF4-FFF2-40B4-BE49-F238E27FC236}">
                <a16:creationId xmlns:a16="http://schemas.microsoft.com/office/drawing/2014/main" id="{6FAB41B6-733F-B2A2-17F8-6713FB98D6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3194" y="3981031"/>
            <a:ext cx="10257520" cy="238193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lnSpc>
                <a:spcPct val="70000"/>
              </a:lnSpc>
              <a:defRPr sz="107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FDE0FA3D-189B-F1AB-42F0-6741DBA91A0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2753193" y="6633795"/>
            <a:ext cx="10257518" cy="4985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2" name="Объект 5">
            <a:extLst>
              <a:ext uri="{FF2B5EF4-FFF2-40B4-BE49-F238E27FC236}">
                <a16:creationId xmlns:a16="http://schemas.microsoft.com/office/drawing/2014/main" id="{5E665952-8C5D-3401-404E-B80E9287D6F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3766835" y="8030571"/>
            <a:ext cx="9243872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3" name="Объект 5">
            <a:extLst>
              <a:ext uri="{FF2B5EF4-FFF2-40B4-BE49-F238E27FC236}">
                <a16:creationId xmlns:a16="http://schemas.microsoft.com/office/drawing/2014/main" id="{B9EFB1E1-4822-9FC8-EA33-512FA17D489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3766835" y="9078793"/>
            <a:ext cx="9243872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7" name="Рисунок 3">
            <a:extLst>
              <a:ext uri="{FF2B5EF4-FFF2-40B4-BE49-F238E27FC236}">
                <a16:creationId xmlns:a16="http://schemas.microsoft.com/office/drawing/2014/main" id="{0FE308D6-E1C1-257E-E606-B6865613B4F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69646" y="2415600"/>
            <a:ext cx="8884222" cy="8884800"/>
          </a:xfrm>
          <a:prstGeom prst="roundRect">
            <a:avLst>
              <a:gd name="adj" fmla="val 2210"/>
            </a:avLst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QR </a:t>
            </a:r>
            <a:r>
              <a:rPr lang="ru-RU" dirty="0"/>
              <a:t>код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4E6352A-4CAA-45C0-CCB5-02E0DE1F85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779128" y="8988130"/>
            <a:ext cx="696195" cy="69624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933531C-D652-B719-48EE-75F11E8ABE8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779128" y="7904048"/>
            <a:ext cx="696195" cy="69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3689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2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2035C08B-8751-1B4B-921E-E4E784040729}"/>
              </a:ext>
            </a:extLst>
          </p:cNvPr>
          <p:cNvSpPr txBox="1"/>
          <p:nvPr userDrawn="1"/>
        </p:nvSpPr>
        <p:spPr>
          <a:xfrm>
            <a:off x="20704629" y="881742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3DB6E3-9B06-CF4A-9B2D-85F4E8CCE7C2}"/>
              </a:ext>
            </a:extLst>
          </p:cNvPr>
          <p:cNvSpPr txBox="1"/>
          <p:nvPr userDrawn="1"/>
        </p:nvSpPr>
        <p:spPr>
          <a:xfrm>
            <a:off x="12496800" y="92964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09786C3-0447-4F46-851C-4016DA9ECB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11352" y="11731652"/>
            <a:ext cx="7740650" cy="105404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5F5D402-02C4-5740-B6B7-767551A4943D}"/>
              </a:ext>
            </a:extLst>
          </p:cNvPr>
          <p:cNvSpPr txBox="1"/>
          <p:nvPr userDrawn="1"/>
        </p:nvSpPr>
        <p:spPr>
          <a:xfrm>
            <a:off x="17094200" y="77216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BA0BDC5C-5AC9-A943-A53F-88B4510F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6276" y="1228459"/>
            <a:ext cx="21755487" cy="44546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180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24787975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аймлай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BDAB4C17-3C20-D81E-73D2-58DD4DC0073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0036" y="3807793"/>
            <a:ext cx="7145517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4" name="Объект 5">
            <a:extLst>
              <a:ext uri="{FF2B5EF4-FFF2-40B4-BE49-F238E27FC236}">
                <a16:creationId xmlns:a16="http://schemas.microsoft.com/office/drawing/2014/main" id="{ED292064-F681-489C-DFDF-398F012CD6A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0036" y="6467869"/>
            <a:ext cx="7145517" cy="63190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1" name="Объект 5">
            <a:extLst>
              <a:ext uri="{FF2B5EF4-FFF2-40B4-BE49-F238E27FC236}">
                <a16:creationId xmlns:a16="http://schemas.microsoft.com/office/drawing/2014/main" id="{4003BA2D-852B-9A3E-FC63-631174BCC38E}"/>
              </a:ext>
            </a:extLst>
          </p:cNvPr>
          <p:cNvSpPr>
            <a:spLocks noGrp="1"/>
          </p:cNvSpPr>
          <p:nvPr userDrawn="1">
            <p:ph sz="quarter" idx="20"/>
          </p:nvPr>
        </p:nvSpPr>
        <p:spPr>
          <a:xfrm>
            <a:off x="8656554" y="3807793"/>
            <a:ext cx="7145517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2" name="Объект 5">
            <a:extLst>
              <a:ext uri="{FF2B5EF4-FFF2-40B4-BE49-F238E27FC236}">
                <a16:creationId xmlns:a16="http://schemas.microsoft.com/office/drawing/2014/main" id="{6402800C-CC35-3AF3-60D7-542E300B0F8E}"/>
              </a:ext>
            </a:extLst>
          </p:cNvPr>
          <p:cNvSpPr>
            <a:spLocks noGrp="1"/>
          </p:cNvSpPr>
          <p:nvPr userDrawn="1">
            <p:ph sz="quarter" idx="21"/>
          </p:nvPr>
        </p:nvSpPr>
        <p:spPr>
          <a:xfrm>
            <a:off x="8656554" y="6467869"/>
            <a:ext cx="7145517" cy="63190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96DFC4D6-B708-BD98-FBE6-0A213712719F}"/>
              </a:ext>
            </a:extLst>
          </p:cNvPr>
          <p:cNvSpPr>
            <a:spLocks noGrp="1"/>
          </p:cNvSpPr>
          <p:nvPr userDrawn="1">
            <p:ph sz="quarter" idx="22"/>
          </p:nvPr>
        </p:nvSpPr>
        <p:spPr>
          <a:xfrm>
            <a:off x="16626099" y="3807793"/>
            <a:ext cx="7145517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71E6B38C-EDA8-1C6A-0DA6-D333DBE82606}"/>
              </a:ext>
            </a:extLst>
          </p:cNvPr>
          <p:cNvSpPr>
            <a:spLocks noGrp="1"/>
          </p:cNvSpPr>
          <p:nvPr userDrawn="1">
            <p:ph sz="quarter" idx="23"/>
          </p:nvPr>
        </p:nvSpPr>
        <p:spPr>
          <a:xfrm>
            <a:off x="16626099" y="6467869"/>
            <a:ext cx="7145517" cy="63190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41" name="Объект 5">
            <a:extLst>
              <a:ext uri="{FF2B5EF4-FFF2-40B4-BE49-F238E27FC236}">
                <a16:creationId xmlns:a16="http://schemas.microsoft.com/office/drawing/2014/main" id="{9C5BE594-AC21-2227-4BDA-E94BD540520A}"/>
              </a:ext>
            </a:extLst>
          </p:cNvPr>
          <p:cNvSpPr>
            <a:spLocks noGrp="1"/>
          </p:cNvSpPr>
          <p:nvPr userDrawn="1">
            <p:ph sz="quarter" idx="30" hasCustomPrompt="1"/>
          </p:nvPr>
        </p:nvSpPr>
        <p:spPr>
          <a:xfrm>
            <a:off x="600036" y="3257265"/>
            <a:ext cx="7145517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2" name="Объект 5">
            <a:extLst>
              <a:ext uri="{FF2B5EF4-FFF2-40B4-BE49-F238E27FC236}">
                <a16:creationId xmlns:a16="http://schemas.microsoft.com/office/drawing/2014/main" id="{B74F9462-55A6-250C-698B-C516DC1BCEAE}"/>
              </a:ext>
            </a:extLst>
          </p:cNvPr>
          <p:cNvSpPr>
            <a:spLocks noGrp="1"/>
          </p:cNvSpPr>
          <p:nvPr userDrawn="1">
            <p:ph sz="quarter" idx="31" hasCustomPrompt="1"/>
          </p:nvPr>
        </p:nvSpPr>
        <p:spPr>
          <a:xfrm>
            <a:off x="8656554" y="3257265"/>
            <a:ext cx="7145517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3" name="Объект 5">
            <a:extLst>
              <a:ext uri="{FF2B5EF4-FFF2-40B4-BE49-F238E27FC236}">
                <a16:creationId xmlns:a16="http://schemas.microsoft.com/office/drawing/2014/main" id="{29C33DD4-9181-D858-D7E2-14A39D2E9E1D}"/>
              </a:ext>
            </a:extLst>
          </p:cNvPr>
          <p:cNvSpPr>
            <a:spLocks noGrp="1"/>
          </p:cNvSpPr>
          <p:nvPr userDrawn="1">
            <p:ph sz="quarter" idx="32" hasCustomPrompt="1"/>
          </p:nvPr>
        </p:nvSpPr>
        <p:spPr>
          <a:xfrm>
            <a:off x="16626099" y="3257265"/>
            <a:ext cx="7145517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3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935B8348-0BC5-A51B-0163-F67A1AA0812F}"/>
              </a:ext>
            </a:extLst>
          </p:cNvPr>
          <p:cNvCxnSpPr>
            <a:cxnSpLocks/>
          </p:cNvCxnSpPr>
          <p:nvPr userDrawn="1"/>
        </p:nvCxnSpPr>
        <p:spPr>
          <a:xfrm>
            <a:off x="8197096" y="6210174"/>
            <a:ext cx="0" cy="662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D8E299EE-FAE6-40E4-AEAF-4CDB8AD8290B}"/>
              </a:ext>
            </a:extLst>
          </p:cNvPr>
          <p:cNvCxnSpPr>
            <a:cxnSpLocks/>
          </p:cNvCxnSpPr>
          <p:nvPr userDrawn="1"/>
        </p:nvCxnSpPr>
        <p:spPr>
          <a:xfrm>
            <a:off x="16198826" y="6210174"/>
            <a:ext cx="0" cy="662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C5B035BF-F844-5340-7BD9-761799099C14}"/>
              </a:ext>
            </a:extLst>
          </p:cNvPr>
          <p:cNvCxnSpPr>
            <a:cxnSpLocks/>
          </p:cNvCxnSpPr>
          <p:nvPr userDrawn="1"/>
        </p:nvCxnSpPr>
        <p:spPr>
          <a:xfrm>
            <a:off x="8617617" y="5976406"/>
            <a:ext cx="7152302" cy="0"/>
          </a:xfrm>
          <a:prstGeom prst="line">
            <a:avLst/>
          </a:prstGeom>
          <a:ln>
            <a:solidFill>
              <a:schemeClr val="tx1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A3F7F731-6D25-3831-AE0B-E081E64E9B09}"/>
              </a:ext>
            </a:extLst>
          </p:cNvPr>
          <p:cNvCxnSpPr>
            <a:cxnSpLocks/>
          </p:cNvCxnSpPr>
          <p:nvPr userDrawn="1"/>
        </p:nvCxnSpPr>
        <p:spPr>
          <a:xfrm>
            <a:off x="585218" y="5976406"/>
            <a:ext cx="7301309" cy="0"/>
          </a:xfrm>
          <a:prstGeom prst="line">
            <a:avLst/>
          </a:prstGeom>
          <a:ln>
            <a:solidFill>
              <a:schemeClr val="tx1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750EB279-C3CC-AD01-E358-8FBC9D79164F}"/>
              </a:ext>
            </a:extLst>
          </p:cNvPr>
          <p:cNvCxnSpPr>
            <a:cxnSpLocks/>
          </p:cNvCxnSpPr>
          <p:nvPr userDrawn="1"/>
        </p:nvCxnSpPr>
        <p:spPr>
          <a:xfrm>
            <a:off x="16619347" y="5976406"/>
            <a:ext cx="7152302" cy="0"/>
          </a:xfrm>
          <a:prstGeom prst="line">
            <a:avLst/>
          </a:prstGeom>
          <a:ln>
            <a:solidFill>
              <a:schemeClr val="tx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52124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аймлай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BDAB4C17-3C20-D81E-73D2-58DD4DC0073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0036" y="3807793"/>
            <a:ext cx="5222866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4" name="Объект 5">
            <a:extLst>
              <a:ext uri="{FF2B5EF4-FFF2-40B4-BE49-F238E27FC236}">
                <a16:creationId xmlns:a16="http://schemas.microsoft.com/office/drawing/2014/main" id="{ED292064-F681-489C-DFDF-398F012CD6A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0036" y="6467869"/>
            <a:ext cx="5222866" cy="63190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1" name="Объект 5">
            <a:extLst>
              <a:ext uri="{FF2B5EF4-FFF2-40B4-BE49-F238E27FC236}">
                <a16:creationId xmlns:a16="http://schemas.microsoft.com/office/drawing/2014/main" id="{4003BA2D-852B-9A3E-FC63-631174BCC38E}"/>
              </a:ext>
            </a:extLst>
          </p:cNvPr>
          <p:cNvSpPr>
            <a:spLocks noGrp="1"/>
          </p:cNvSpPr>
          <p:nvPr userDrawn="1">
            <p:ph sz="quarter" idx="20"/>
          </p:nvPr>
        </p:nvSpPr>
        <p:spPr>
          <a:xfrm>
            <a:off x="6649880" y="3807793"/>
            <a:ext cx="5222866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2" name="Объект 5">
            <a:extLst>
              <a:ext uri="{FF2B5EF4-FFF2-40B4-BE49-F238E27FC236}">
                <a16:creationId xmlns:a16="http://schemas.microsoft.com/office/drawing/2014/main" id="{6402800C-CC35-3AF3-60D7-542E300B0F8E}"/>
              </a:ext>
            </a:extLst>
          </p:cNvPr>
          <p:cNvSpPr>
            <a:spLocks noGrp="1"/>
          </p:cNvSpPr>
          <p:nvPr userDrawn="1">
            <p:ph sz="quarter" idx="21"/>
          </p:nvPr>
        </p:nvSpPr>
        <p:spPr>
          <a:xfrm>
            <a:off x="6649880" y="6467869"/>
            <a:ext cx="5222866" cy="63190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96DFC4D6-B708-BD98-FBE6-0A213712719F}"/>
              </a:ext>
            </a:extLst>
          </p:cNvPr>
          <p:cNvSpPr>
            <a:spLocks noGrp="1"/>
          </p:cNvSpPr>
          <p:nvPr userDrawn="1">
            <p:ph sz="quarter" idx="22"/>
          </p:nvPr>
        </p:nvSpPr>
        <p:spPr>
          <a:xfrm>
            <a:off x="12578404" y="3807793"/>
            <a:ext cx="5222866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71E6B38C-EDA8-1C6A-0DA6-D333DBE82606}"/>
              </a:ext>
            </a:extLst>
          </p:cNvPr>
          <p:cNvSpPr>
            <a:spLocks noGrp="1"/>
          </p:cNvSpPr>
          <p:nvPr userDrawn="1">
            <p:ph sz="quarter" idx="23"/>
          </p:nvPr>
        </p:nvSpPr>
        <p:spPr>
          <a:xfrm>
            <a:off x="12578404" y="6467869"/>
            <a:ext cx="5222866" cy="63190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5" name="Объект 5">
            <a:extLst>
              <a:ext uri="{FF2B5EF4-FFF2-40B4-BE49-F238E27FC236}">
                <a16:creationId xmlns:a16="http://schemas.microsoft.com/office/drawing/2014/main" id="{548E12E6-654A-4509-AFD9-88EBC3953671}"/>
              </a:ext>
            </a:extLst>
          </p:cNvPr>
          <p:cNvSpPr>
            <a:spLocks noGrp="1"/>
          </p:cNvSpPr>
          <p:nvPr userDrawn="1">
            <p:ph sz="quarter" idx="24"/>
          </p:nvPr>
        </p:nvSpPr>
        <p:spPr>
          <a:xfrm>
            <a:off x="18529139" y="3807793"/>
            <a:ext cx="5222866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6" name="Объект 5">
            <a:extLst>
              <a:ext uri="{FF2B5EF4-FFF2-40B4-BE49-F238E27FC236}">
                <a16:creationId xmlns:a16="http://schemas.microsoft.com/office/drawing/2014/main" id="{582B5D1A-F8DB-DEBC-FC04-230CD249271D}"/>
              </a:ext>
            </a:extLst>
          </p:cNvPr>
          <p:cNvSpPr>
            <a:spLocks noGrp="1"/>
          </p:cNvSpPr>
          <p:nvPr userDrawn="1">
            <p:ph sz="quarter" idx="25"/>
          </p:nvPr>
        </p:nvSpPr>
        <p:spPr>
          <a:xfrm>
            <a:off x="18529139" y="6467869"/>
            <a:ext cx="5222866" cy="63190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F7E6FF4F-C736-543F-FD2A-069F0F1546DD}"/>
              </a:ext>
            </a:extLst>
          </p:cNvPr>
          <p:cNvGrpSpPr/>
          <p:nvPr userDrawn="1"/>
        </p:nvGrpSpPr>
        <p:grpSpPr>
          <a:xfrm>
            <a:off x="585217" y="5976406"/>
            <a:ext cx="23197160" cy="6857768"/>
            <a:chOff x="292628" y="2988203"/>
            <a:chExt cx="7536089" cy="3428884"/>
          </a:xfrm>
        </p:grpSpPr>
        <p:cxnSp>
          <p:nvCxnSpPr>
            <p:cNvPr id="15" name="Прямая соединительная линия 14">
              <a:extLst>
                <a:ext uri="{FF2B5EF4-FFF2-40B4-BE49-F238E27FC236}">
                  <a16:creationId xmlns:a16="http://schemas.microsoft.com/office/drawing/2014/main" id="{935B8348-0BC5-A51B-0163-F67A1AA0812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131662" y="3105087"/>
              <a:ext cx="0" cy="3312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id="{D8E299EE-FAE6-40E4-AEAF-4CDB8AD8290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64884" y="3105087"/>
              <a:ext cx="0" cy="3312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id="{F40C7F88-0A08-2BCE-8827-940B210B85B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998106" y="3105087"/>
              <a:ext cx="0" cy="3312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Прямая соединительная линия 30">
              <a:extLst>
                <a:ext uri="{FF2B5EF4-FFF2-40B4-BE49-F238E27FC236}">
                  <a16:creationId xmlns:a16="http://schemas.microsoft.com/office/drawing/2014/main" id="{D5363D29-426D-3A55-C783-8EFE2AD23A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100717" y="2988203"/>
              <a:ext cx="1728000" cy="0"/>
            </a:xfrm>
            <a:prstGeom prst="line">
              <a:avLst/>
            </a:prstGeom>
            <a:ln>
              <a:solidFill>
                <a:schemeClr val="tx1"/>
              </a:solidFill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Прямая соединительная линия 34">
              <a:extLst>
                <a:ext uri="{FF2B5EF4-FFF2-40B4-BE49-F238E27FC236}">
                  <a16:creationId xmlns:a16="http://schemas.microsoft.com/office/drawing/2014/main" id="{DD50BFB4-27C7-9288-B8DE-4D6025ACF5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66482" y="2988203"/>
              <a:ext cx="1728000" cy="0"/>
            </a:xfrm>
            <a:prstGeom prst="line">
              <a:avLst/>
            </a:prstGeom>
            <a:ln>
              <a:solidFill>
                <a:schemeClr val="tx1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Прямая соединительная линия 35">
              <a:extLst>
                <a:ext uri="{FF2B5EF4-FFF2-40B4-BE49-F238E27FC236}">
                  <a16:creationId xmlns:a16="http://schemas.microsoft.com/office/drawing/2014/main" id="{C5B035BF-F844-5340-7BD9-761799099C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33260" y="2988203"/>
              <a:ext cx="1728000" cy="0"/>
            </a:xfrm>
            <a:prstGeom prst="line">
              <a:avLst/>
            </a:prstGeom>
            <a:ln>
              <a:solidFill>
                <a:schemeClr val="tx1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Прямая соединительная линия 36">
              <a:extLst>
                <a:ext uri="{FF2B5EF4-FFF2-40B4-BE49-F238E27FC236}">
                  <a16:creationId xmlns:a16="http://schemas.microsoft.com/office/drawing/2014/main" id="{A3F7F731-6D25-3831-AE0B-E081E64E9B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92628" y="2988203"/>
              <a:ext cx="1764000" cy="0"/>
            </a:xfrm>
            <a:prstGeom prst="line">
              <a:avLst/>
            </a:prstGeom>
            <a:ln>
              <a:solidFill>
                <a:schemeClr val="tx1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Объект 5">
            <a:extLst>
              <a:ext uri="{FF2B5EF4-FFF2-40B4-BE49-F238E27FC236}">
                <a16:creationId xmlns:a16="http://schemas.microsoft.com/office/drawing/2014/main" id="{9C5BE594-AC21-2227-4BDA-E94BD540520A}"/>
              </a:ext>
            </a:extLst>
          </p:cNvPr>
          <p:cNvSpPr>
            <a:spLocks noGrp="1"/>
          </p:cNvSpPr>
          <p:nvPr userDrawn="1">
            <p:ph sz="quarter" idx="30" hasCustomPrompt="1"/>
          </p:nvPr>
        </p:nvSpPr>
        <p:spPr>
          <a:xfrm>
            <a:off x="600036" y="3257265"/>
            <a:ext cx="5222866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2" name="Объект 5">
            <a:extLst>
              <a:ext uri="{FF2B5EF4-FFF2-40B4-BE49-F238E27FC236}">
                <a16:creationId xmlns:a16="http://schemas.microsoft.com/office/drawing/2014/main" id="{B74F9462-55A6-250C-698B-C516DC1BCEAE}"/>
              </a:ext>
            </a:extLst>
          </p:cNvPr>
          <p:cNvSpPr>
            <a:spLocks noGrp="1"/>
          </p:cNvSpPr>
          <p:nvPr userDrawn="1">
            <p:ph sz="quarter" idx="31" hasCustomPrompt="1"/>
          </p:nvPr>
        </p:nvSpPr>
        <p:spPr>
          <a:xfrm>
            <a:off x="6649880" y="3257265"/>
            <a:ext cx="5222866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3" name="Объект 5">
            <a:extLst>
              <a:ext uri="{FF2B5EF4-FFF2-40B4-BE49-F238E27FC236}">
                <a16:creationId xmlns:a16="http://schemas.microsoft.com/office/drawing/2014/main" id="{29C33DD4-9181-D858-D7E2-14A39D2E9E1D}"/>
              </a:ext>
            </a:extLst>
          </p:cNvPr>
          <p:cNvSpPr>
            <a:spLocks noGrp="1"/>
          </p:cNvSpPr>
          <p:nvPr userDrawn="1">
            <p:ph sz="quarter" idx="32" hasCustomPrompt="1"/>
          </p:nvPr>
        </p:nvSpPr>
        <p:spPr>
          <a:xfrm>
            <a:off x="12578404" y="3257265"/>
            <a:ext cx="5222866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44" name="Объект 5">
            <a:extLst>
              <a:ext uri="{FF2B5EF4-FFF2-40B4-BE49-F238E27FC236}">
                <a16:creationId xmlns:a16="http://schemas.microsoft.com/office/drawing/2014/main" id="{48FD99DD-83AD-6D58-7F1F-70F49C0B95F6}"/>
              </a:ext>
            </a:extLst>
          </p:cNvPr>
          <p:cNvSpPr>
            <a:spLocks noGrp="1"/>
          </p:cNvSpPr>
          <p:nvPr userDrawn="1">
            <p:ph sz="quarter" idx="33" hasCustomPrompt="1"/>
          </p:nvPr>
        </p:nvSpPr>
        <p:spPr>
          <a:xfrm>
            <a:off x="18529139" y="3257265"/>
            <a:ext cx="5222866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906639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аймлай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BDAB4C17-3C20-D81E-73D2-58DD4DC0073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0037" y="4695221"/>
            <a:ext cx="4048157" cy="4431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4" name="Объект 5">
            <a:extLst>
              <a:ext uri="{FF2B5EF4-FFF2-40B4-BE49-F238E27FC236}">
                <a16:creationId xmlns:a16="http://schemas.microsoft.com/office/drawing/2014/main" id="{ED292064-F681-489C-DFDF-398F012CD6A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0037" y="5245748"/>
            <a:ext cx="4048157" cy="216860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1" name="Объект 5">
            <a:extLst>
              <a:ext uri="{FF2B5EF4-FFF2-40B4-BE49-F238E27FC236}">
                <a16:creationId xmlns:a16="http://schemas.microsoft.com/office/drawing/2014/main" id="{4003BA2D-852B-9A3E-FC63-631174BCC38E}"/>
              </a:ext>
            </a:extLst>
          </p:cNvPr>
          <p:cNvSpPr>
            <a:spLocks noGrp="1"/>
          </p:cNvSpPr>
          <p:nvPr userDrawn="1">
            <p:ph sz="quarter" idx="20"/>
          </p:nvPr>
        </p:nvSpPr>
        <p:spPr>
          <a:xfrm>
            <a:off x="5464032" y="4695221"/>
            <a:ext cx="4048157" cy="4431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2" name="Объект 5">
            <a:extLst>
              <a:ext uri="{FF2B5EF4-FFF2-40B4-BE49-F238E27FC236}">
                <a16:creationId xmlns:a16="http://schemas.microsoft.com/office/drawing/2014/main" id="{6402800C-CC35-3AF3-60D7-542E300B0F8E}"/>
              </a:ext>
            </a:extLst>
          </p:cNvPr>
          <p:cNvSpPr>
            <a:spLocks noGrp="1"/>
          </p:cNvSpPr>
          <p:nvPr userDrawn="1">
            <p:ph sz="quarter" idx="21"/>
          </p:nvPr>
        </p:nvSpPr>
        <p:spPr>
          <a:xfrm>
            <a:off x="5464032" y="5245748"/>
            <a:ext cx="4048157" cy="216860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96DFC4D6-B708-BD98-FBE6-0A213712719F}"/>
              </a:ext>
            </a:extLst>
          </p:cNvPr>
          <p:cNvSpPr>
            <a:spLocks noGrp="1"/>
          </p:cNvSpPr>
          <p:nvPr userDrawn="1">
            <p:ph sz="quarter" idx="22"/>
          </p:nvPr>
        </p:nvSpPr>
        <p:spPr>
          <a:xfrm>
            <a:off x="10156393" y="4695221"/>
            <a:ext cx="4048157" cy="4431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71E6B38C-EDA8-1C6A-0DA6-D333DBE82606}"/>
              </a:ext>
            </a:extLst>
          </p:cNvPr>
          <p:cNvSpPr>
            <a:spLocks noGrp="1"/>
          </p:cNvSpPr>
          <p:nvPr userDrawn="1">
            <p:ph sz="quarter" idx="23"/>
          </p:nvPr>
        </p:nvSpPr>
        <p:spPr>
          <a:xfrm>
            <a:off x="10156393" y="5245748"/>
            <a:ext cx="4048157" cy="216860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5" name="Объект 5">
            <a:extLst>
              <a:ext uri="{FF2B5EF4-FFF2-40B4-BE49-F238E27FC236}">
                <a16:creationId xmlns:a16="http://schemas.microsoft.com/office/drawing/2014/main" id="{548E12E6-654A-4509-AFD9-88EBC3953671}"/>
              </a:ext>
            </a:extLst>
          </p:cNvPr>
          <p:cNvSpPr>
            <a:spLocks noGrp="1"/>
          </p:cNvSpPr>
          <p:nvPr userDrawn="1">
            <p:ph sz="quarter" idx="24"/>
          </p:nvPr>
        </p:nvSpPr>
        <p:spPr>
          <a:xfrm>
            <a:off x="14848753" y="4695221"/>
            <a:ext cx="4048157" cy="4431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6" name="Объект 5">
            <a:extLst>
              <a:ext uri="{FF2B5EF4-FFF2-40B4-BE49-F238E27FC236}">
                <a16:creationId xmlns:a16="http://schemas.microsoft.com/office/drawing/2014/main" id="{582B5D1A-F8DB-DEBC-FC04-230CD249271D}"/>
              </a:ext>
            </a:extLst>
          </p:cNvPr>
          <p:cNvSpPr>
            <a:spLocks noGrp="1"/>
          </p:cNvSpPr>
          <p:nvPr userDrawn="1">
            <p:ph sz="quarter" idx="25"/>
          </p:nvPr>
        </p:nvSpPr>
        <p:spPr>
          <a:xfrm>
            <a:off x="14848753" y="5245748"/>
            <a:ext cx="4048157" cy="216860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0DCDB218-A177-1890-C935-C11C8ED14742}"/>
              </a:ext>
            </a:extLst>
          </p:cNvPr>
          <p:cNvGrpSpPr/>
          <p:nvPr userDrawn="1"/>
        </p:nvGrpSpPr>
        <p:grpSpPr>
          <a:xfrm>
            <a:off x="585215" y="4144978"/>
            <a:ext cx="23197164" cy="5419740"/>
            <a:chOff x="292626" y="1431758"/>
            <a:chExt cx="11599337" cy="2709870"/>
          </a:xfrm>
        </p:grpSpPr>
        <p:cxnSp>
          <p:nvCxnSpPr>
            <p:cNvPr id="31" name="Прямая соединительная линия 30">
              <a:extLst>
                <a:ext uri="{FF2B5EF4-FFF2-40B4-BE49-F238E27FC236}">
                  <a16:creationId xmlns:a16="http://schemas.microsoft.com/office/drawing/2014/main" id="{D5363D29-426D-3A55-C783-8EFE2AD23A55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677963" y="4141628"/>
              <a:ext cx="2214000" cy="0"/>
            </a:xfrm>
            <a:prstGeom prst="line">
              <a:avLst/>
            </a:prstGeom>
            <a:ln>
              <a:solidFill>
                <a:schemeClr val="tx1"/>
              </a:solidFill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Прямая соединительная линия 34">
              <a:extLst>
                <a:ext uri="{FF2B5EF4-FFF2-40B4-BE49-F238E27FC236}">
                  <a16:creationId xmlns:a16="http://schemas.microsoft.com/office/drawing/2014/main" id="{DD50BFB4-27C7-9288-B8DE-4D6025ACF58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331628" y="4141628"/>
              <a:ext cx="2214000" cy="0"/>
            </a:xfrm>
            <a:prstGeom prst="line">
              <a:avLst/>
            </a:prstGeom>
            <a:ln>
              <a:solidFill>
                <a:schemeClr val="tx1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Прямая соединительная линия 35">
              <a:extLst>
                <a:ext uri="{FF2B5EF4-FFF2-40B4-BE49-F238E27FC236}">
                  <a16:creationId xmlns:a16="http://schemas.microsoft.com/office/drawing/2014/main" id="{C5B035BF-F844-5340-7BD9-761799099C14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638960" y="4141628"/>
              <a:ext cx="2214000" cy="0"/>
            </a:xfrm>
            <a:prstGeom prst="line">
              <a:avLst/>
            </a:prstGeom>
            <a:ln>
              <a:solidFill>
                <a:schemeClr val="tx1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Прямая соединительная линия 36">
              <a:extLst>
                <a:ext uri="{FF2B5EF4-FFF2-40B4-BE49-F238E27FC236}">
                  <a16:creationId xmlns:a16="http://schemas.microsoft.com/office/drawing/2014/main" id="{A3F7F731-6D25-3831-AE0B-E081E64E9B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92626" y="4141628"/>
              <a:ext cx="2214000" cy="0"/>
            </a:xfrm>
            <a:prstGeom prst="line">
              <a:avLst/>
            </a:prstGeom>
            <a:ln>
              <a:solidFill>
                <a:schemeClr val="tx1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Группа 11">
              <a:extLst>
                <a:ext uri="{FF2B5EF4-FFF2-40B4-BE49-F238E27FC236}">
                  <a16:creationId xmlns:a16="http://schemas.microsoft.com/office/drawing/2014/main" id="{BD4CEC7F-06B7-ED2E-047F-8813F7D04C48}"/>
                </a:ext>
              </a:extLst>
            </p:cNvPr>
            <p:cNvGrpSpPr/>
            <p:nvPr userDrawn="1"/>
          </p:nvGrpSpPr>
          <p:grpSpPr>
            <a:xfrm>
              <a:off x="2572793" y="1431758"/>
              <a:ext cx="7039002" cy="2592986"/>
              <a:chOff x="2572793" y="712744"/>
              <a:chExt cx="7039002" cy="3312000"/>
            </a:xfrm>
          </p:grpSpPr>
          <p:cxnSp>
            <p:nvCxnSpPr>
              <p:cNvPr id="15" name="Прямая соединительная линия 14">
                <a:extLst>
                  <a:ext uri="{FF2B5EF4-FFF2-40B4-BE49-F238E27FC236}">
                    <a16:creationId xmlns:a16="http://schemas.microsoft.com/office/drawing/2014/main" id="{935B8348-0BC5-A51B-0163-F67A1AA0812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919127" y="712744"/>
                <a:ext cx="0" cy="3312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Прямая соединительная линия 15">
                <a:extLst>
                  <a:ext uri="{FF2B5EF4-FFF2-40B4-BE49-F238E27FC236}">
                    <a16:creationId xmlns:a16="http://schemas.microsoft.com/office/drawing/2014/main" id="{D8E299EE-FAE6-40E4-AEAF-4CDB8AD829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7265461" y="712744"/>
                <a:ext cx="0" cy="3312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Прямая соединительная линия 16">
                <a:extLst>
                  <a:ext uri="{FF2B5EF4-FFF2-40B4-BE49-F238E27FC236}">
                    <a16:creationId xmlns:a16="http://schemas.microsoft.com/office/drawing/2014/main" id="{F40C7F88-0A08-2BCE-8827-940B210B85B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9611795" y="712744"/>
                <a:ext cx="0" cy="3312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" name="Прямая соединительная линия 6">
                <a:extLst>
                  <a:ext uri="{FF2B5EF4-FFF2-40B4-BE49-F238E27FC236}">
                    <a16:creationId xmlns:a16="http://schemas.microsoft.com/office/drawing/2014/main" id="{DDE7C08F-888C-0201-8CF2-B5DAAC22598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2572793" y="712744"/>
                <a:ext cx="0" cy="3312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1" name="Прямая соединительная линия 10">
              <a:extLst>
                <a:ext uri="{FF2B5EF4-FFF2-40B4-BE49-F238E27FC236}">
                  <a16:creationId xmlns:a16="http://schemas.microsoft.com/office/drawing/2014/main" id="{4AF0C8EF-B701-9269-A203-83CF93E612E3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985294" y="4141628"/>
              <a:ext cx="2214000" cy="0"/>
            </a:xfrm>
            <a:prstGeom prst="line">
              <a:avLst/>
            </a:prstGeom>
            <a:ln>
              <a:solidFill>
                <a:schemeClr val="tx1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Объект 5">
            <a:extLst>
              <a:ext uri="{FF2B5EF4-FFF2-40B4-BE49-F238E27FC236}">
                <a16:creationId xmlns:a16="http://schemas.microsoft.com/office/drawing/2014/main" id="{2BB5B34F-B217-4969-A100-82AD76C26742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19516703" y="4695221"/>
            <a:ext cx="4048157" cy="4431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8" name="Объект 5">
            <a:extLst>
              <a:ext uri="{FF2B5EF4-FFF2-40B4-BE49-F238E27FC236}">
                <a16:creationId xmlns:a16="http://schemas.microsoft.com/office/drawing/2014/main" id="{091CAE1C-0A62-82CA-4857-7B9348A8A19E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19516703" y="5245748"/>
            <a:ext cx="4048157" cy="216860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2740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аймлай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BDAB4C17-3C20-D81E-73D2-58DD4DC0073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0037" y="3807793"/>
            <a:ext cx="3455775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4" name="Объект 5">
            <a:extLst>
              <a:ext uri="{FF2B5EF4-FFF2-40B4-BE49-F238E27FC236}">
                <a16:creationId xmlns:a16="http://schemas.microsoft.com/office/drawing/2014/main" id="{ED292064-F681-489C-DFDF-398F012CD6A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0037" y="6467869"/>
            <a:ext cx="3455775" cy="63190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grpSp>
        <p:nvGrpSpPr>
          <p:cNvPr id="47" name="Группа 46">
            <a:extLst>
              <a:ext uri="{FF2B5EF4-FFF2-40B4-BE49-F238E27FC236}">
                <a16:creationId xmlns:a16="http://schemas.microsoft.com/office/drawing/2014/main" id="{B584B01A-B2CF-596E-61FD-7C7FC1F93CF2}"/>
              </a:ext>
            </a:extLst>
          </p:cNvPr>
          <p:cNvGrpSpPr/>
          <p:nvPr userDrawn="1"/>
        </p:nvGrpSpPr>
        <p:grpSpPr>
          <a:xfrm>
            <a:off x="4263047" y="6210174"/>
            <a:ext cx="15464769" cy="6624000"/>
            <a:chOff x="2131662" y="2831085"/>
            <a:chExt cx="7732888" cy="3577544"/>
          </a:xfrm>
        </p:grpSpPr>
        <p:cxnSp>
          <p:nvCxnSpPr>
            <p:cNvPr id="15" name="Прямая соединительная линия 14">
              <a:extLst>
                <a:ext uri="{FF2B5EF4-FFF2-40B4-BE49-F238E27FC236}">
                  <a16:creationId xmlns:a16="http://schemas.microsoft.com/office/drawing/2014/main" id="{935B8348-0BC5-A51B-0163-F67A1AA0812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131662" y="2831085"/>
              <a:ext cx="0" cy="357754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id="{D8E299EE-FAE6-40E4-AEAF-4CDB8AD8290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64884" y="2831085"/>
              <a:ext cx="0" cy="357754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id="{F40C7F88-0A08-2BCE-8827-940B210B85B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998106" y="2831085"/>
              <a:ext cx="0" cy="357754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>
              <a:extLst>
                <a:ext uri="{FF2B5EF4-FFF2-40B4-BE49-F238E27FC236}">
                  <a16:creationId xmlns:a16="http://schemas.microsoft.com/office/drawing/2014/main" id="{1AFA7825-9B55-02FF-2FA9-D74D1AF425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931328" y="2831085"/>
              <a:ext cx="0" cy="357754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id="{F38E3311-F54D-D31E-FA81-87D6A0055E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864550" y="2831085"/>
              <a:ext cx="0" cy="357754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Объект 5">
            <a:extLst>
              <a:ext uri="{FF2B5EF4-FFF2-40B4-BE49-F238E27FC236}">
                <a16:creationId xmlns:a16="http://schemas.microsoft.com/office/drawing/2014/main" id="{4003BA2D-852B-9A3E-FC63-631174BCC38E}"/>
              </a:ext>
            </a:extLst>
          </p:cNvPr>
          <p:cNvSpPr>
            <a:spLocks noGrp="1"/>
          </p:cNvSpPr>
          <p:nvPr userDrawn="1">
            <p:ph sz="quarter" idx="20"/>
          </p:nvPr>
        </p:nvSpPr>
        <p:spPr>
          <a:xfrm>
            <a:off x="4466229" y="3807793"/>
            <a:ext cx="3455775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2" name="Объект 5">
            <a:extLst>
              <a:ext uri="{FF2B5EF4-FFF2-40B4-BE49-F238E27FC236}">
                <a16:creationId xmlns:a16="http://schemas.microsoft.com/office/drawing/2014/main" id="{6402800C-CC35-3AF3-60D7-542E300B0F8E}"/>
              </a:ext>
            </a:extLst>
          </p:cNvPr>
          <p:cNvSpPr>
            <a:spLocks noGrp="1"/>
          </p:cNvSpPr>
          <p:nvPr userDrawn="1">
            <p:ph sz="quarter" idx="21"/>
          </p:nvPr>
        </p:nvSpPr>
        <p:spPr>
          <a:xfrm>
            <a:off x="4466229" y="6467869"/>
            <a:ext cx="3455775" cy="63190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96DFC4D6-B708-BD98-FBE6-0A213712719F}"/>
              </a:ext>
            </a:extLst>
          </p:cNvPr>
          <p:cNvSpPr>
            <a:spLocks noGrp="1"/>
          </p:cNvSpPr>
          <p:nvPr userDrawn="1">
            <p:ph sz="quarter" idx="22"/>
          </p:nvPr>
        </p:nvSpPr>
        <p:spPr>
          <a:xfrm>
            <a:off x="8332422" y="3807793"/>
            <a:ext cx="3455775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71E6B38C-EDA8-1C6A-0DA6-D333DBE82606}"/>
              </a:ext>
            </a:extLst>
          </p:cNvPr>
          <p:cNvSpPr>
            <a:spLocks noGrp="1"/>
          </p:cNvSpPr>
          <p:nvPr userDrawn="1">
            <p:ph sz="quarter" idx="23"/>
          </p:nvPr>
        </p:nvSpPr>
        <p:spPr>
          <a:xfrm>
            <a:off x="8332422" y="6467869"/>
            <a:ext cx="3455775" cy="63190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5" name="Объект 5">
            <a:extLst>
              <a:ext uri="{FF2B5EF4-FFF2-40B4-BE49-F238E27FC236}">
                <a16:creationId xmlns:a16="http://schemas.microsoft.com/office/drawing/2014/main" id="{548E12E6-654A-4509-AFD9-88EBC3953671}"/>
              </a:ext>
            </a:extLst>
          </p:cNvPr>
          <p:cNvSpPr>
            <a:spLocks noGrp="1"/>
          </p:cNvSpPr>
          <p:nvPr userDrawn="1">
            <p:ph sz="quarter" idx="24"/>
          </p:nvPr>
        </p:nvSpPr>
        <p:spPr>
          <a:xfrm>
            <a:off x="12198614" y="3807793"/>
            <a:ext cx="3455775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6" name="Объект 5">
            <a:extLst>
              <a:ext uri="{FF2B5EF4-FFF2-40B4-BE49-F238E27FC236}">
                <a16:creationId xmlns:a16="http://schemas.microsoft.com/office/drawing/2014/main" id="{582B5D1A-F8DB-DEBC-FC04-230CD249271D}"/>
              </a:ext>
            </a:extLst>
          </p:cNvPr>
          <p:cNvSpPr>
            <a:spLocks noGrp="1"/>
          </p:cNvSpPr>
          <p:nvPr userDrawn="1">
            <p:ph sz="quarter" idx="25"/>
          </p:nvPr>
        </p:nvSpPr>
        <p:spPr>
          <a:xfrm>
            <a:off x="12198614" y="6467869"/>
            <a:ext cx="3455775" cy="63190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7" name="Объект 5">
            <a:extLst>
              <a:ext uri="{FF2B5EF4-FFF2-40B4-BE49-F238E27FC236}">
                <a16:creationId xmlns:a16="http://schemas.microsoft.com/office/drawing/2014/main" id="{7B0120E8-F557-F1AA-4B11-38D319448A44}"/>
              </a:ext>
            </a:extLst>
          </p:cNvPr>
          <p:cNvSpPr>
            <a:spLocks noGrp="1"/>
          </p:cNvSpPr>
          <p:nvPr userDrawn="1">
            <p:ph sz="quarter" idx="26"/>
          </p:nvPr>
        </p:nvSpPr>
        <p:spPr>
          <a:xfrm>
            <a:off x="16064806" y="3807793"/>
            <a:ext cx="3455775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8" name="Объект 5">
            <a:extLst>
              <a:ext uri="{FF2B5EF4-FFF2-40B4-BE49-F238E27FC236}">
                <a16:creationId xmlns:a16="http://schemas.microsoft.com/office/drawing/2014/main" id="{CC55C8C1-05C2-5D84-817D-DD2F0615B140}"/>
              </a:ext>
            </a:extLst>
          </p:cNvPr>
          <p:cNvSpPr>
            <a:spLocks noGrp="1"/>
          </p:cNvSpPr>
          <p:nvPr userDrawn="1">
            <p:ph sz="quarter" idx="27"/>
          </p:nvPr>
        </p:nvSpPr>
        <p:spPr>
          <a:xfrm>
            <a:off x="16064806" y="6467869"/>
            <a:ext cx="3455775" cy="63190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9" name="Объект 5">
            <a:extLst>
              <a:ext uri="{FF2B5EF4-FFF2-40B4-BE49-F238E27FC236}">
                <a16:creationId xmlns:a16="http://schemas.microsoft.com/office/drawing/2014/main" id="{C83B9166-BE32-7F94-E71F-A83DFA2721F2}"/>
              </a:ext>
            </a:extLst>
          </p:cNvPr>
          <p:cNvSpPr>
            <a:spLocks noGrp="1"/>
          </p:cNvSpPr>
          <p:nvPr userDrawn="1">
            <p:ph sz="quarter" idx="28"/>
          </p:nvPr>
        </p:nvSpPr>
        <p:spPr>
          <a:xfrm>
            <a:off x="19930999" y="3807793"/>
            <a:ext cx="3455775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0" name="Объект 5">
            <a:extLst>
              <a:ext uri="{FF2B5EF4-FFF2-40B4-BE49-F238E27FC236}">
                <a16:creationId xmlns:a16="http://schemas.microsoft.com/office/drawing/2014/main" id="{5DCBFACB-F39B-CDE2-46DD-B05BF9A6B2A1}"/>
              </a:ext>
            </a:extLst>
          </p:cNvPr>
          <p:cNvSpPr>
            <a:spLocks noGrp="1"/>
          </p:cNvSpPr>
          <p:nvPr userDrawn="1">
            <p:ph sz="quarter" idx="29"/>
          </p:nvPr>
        </p:nvSpPr>
        <p:spPr>
          <a:xfrm>
            <a:off x="19930999" y="6467869"/>
            <a:ext cx="3455775" cy="63190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D5363D29-426D-3A55-C783-8EFE2AD23A55}"/>
              </a:ext>
            </a:extLst>
          </p:cNvPr>
          <p:cNvCxnSpPr>
            <a:cxnSpLocks/>
          </p:cNvCxnSpPr>
          <p:nvPr userDrawn="1"/>
        </p:nvCxnSpPr>
        <p:spPr>
          <a:xfrm>
            <a:off x="19931000" y="5976406"/>
            <a:ext cx="3866194" cy="0"/>
          </a:xfrm>
          <a:prstGeom prst="line">
            <a:avLst/>
          </a:prstGeom>
          <a:ln>
            <a:solidFill>
              <a:schemeClr val="tx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B6B4D285-FC88-57F0-ECE9-F1D847698467}"/>
              </a:ext>
            </a:extLst>
          </p:cNvPr>
          <p:cNvCxnSpPr>
            <a:cxnSpLocks/>
          </p:cNvCxnSpPr>
          <p:nvPr userDrawn="1"/>
        </p:nvCxnSpPr>
        <p:spPr>
          <a:xfrm>
            <a:off x="16064806" y="5976406"/>
            <a:ext cx="3455775" cy="0"/>
          </a:xfrm>
          <a:prstGeom prst="line">
            <a:avLst/>
          </a:prstGeom>
          <a:ln>
            <a:solidFill>
              <a:schemeClr val="tx1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9AF062C1-7964-79E1-087D-38FF9FFB8372}"/>
              </a:ext>
            </a:extLst>
          </p:cNvPr>
          <p:cNvCxnSpPr>
            <a:cxnSpLocks/>
          </p:cNvCxnSpPr>
          <p:nvPr userDrawn="1"/>
        </p:nvCxnSpPr>
        <p:spPr>
          <a:xfrm>
            <a:off x="12198614" y="5976406"/>
            <a:ext cx="3455775" cy="0"/>
          </a:xfrm>
          <a:prstGeom prst="line">
            <a:avLst/>
          </a:prstGeom>
          <a:ln>
            <a:solidFill>
              <a:schemeClr val="tx1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DD50BFB4-27C7-9288-B8DE-4D6025ACF589}"/>
              </a:ext>
            </a:extLst>
          </p:cNvPr>
          <p:cNvCxnSpPr>
            <a:cxnSpLocks/>
          </p:cNvCxnSpPr>
          <p:nvPr userDrawn="1"/>
        </p:nvCxnSpPr>
        <p:spPr>
          <a:xfrm>
            <a:off x="8332422" y="5976406"/>
            <a:ext cx="3455775" cy="0"/>
          </a:xfrm>
          <a:prstGeom prst="line">
            <a:avLst/>
          </a:prstGeom>
          <a:ln>
            <a:solidFill>
              <a:schemeClr val="tx1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C5B035BF-F844-5340-7BD9-761799099C14}"/>
              </a:ext>
            </a:extLst>
          </p:cNvPr>
          <p:cNvCxnSpPr>
            <a:cxnSpLocks/>
          </p:cNvCxnSpPr>
          <p:nvPr userDrawn="1"/>
        </p:nvCxnSpPr>
        <p:spPr>
          <a:xfrm>
            <a:off x="4466229" y="5976406"/>
            <a:ext cx="3455775" cy="0"/>
          </a:xfrm>
          <a:prstGeom prst="line">
            <a:avLst/>
          </a:prstGeom>
          <a:ln>
            <a:solidFill>
              <a:schemeClr val="tx1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A3F7F731-6D25-3831-AE0B-E081E64E9B09}"/>
              </a:ext>
            </a:extLst>
          </p:cNvPr>
          <p:cNvCxnSpPr>
            <a:cxnSpLocks/>
          </p:cNvCxnSpPr>
          <p:nvPr userDrawn="1"/>
        </p:nvCxnSpPr>
        <p:spPr>
          <a:xfrm>
            <a:off x="585218" y="5976406"/>
            <a:ext cx="3527770" cy="0"/>
          </a:xfrm>
          <a:prstGeom prst="line">
            <a:avLst/>
          </a:prstGeom>
          <a:ln>
            <a:solidFill>
              <a:schemeClr val="tx1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Объект 5">
            <a:extLst>
              <a:ext uri="{FF2B5EF4-FFF2-40B4-BE49-F238E27FC236}">
                <a16:creationId xmlns:a16="http://schemas.microsoft.com/office/drawing/2014/main" id="{9C5BE594-AC21-2227-4BDA-E94BD540520A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600037" y="3257265"/>
            <a:ext cx="3455775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rgbClr val="799DFF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2" name="Объект 5">
            <a:extLst>
              <a:ext uri="{FF2B5EF4-FFF2-40B4-BE49-F238E27FC236}">
                <a16:creationId xmlns:a16="http://schemas.microsoft.com/office/drawing/2014/main" id="{B74F9462-55A6-250C-698B-C516DC1BCEAE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466229" y="3257265"/>
            <a:ext cx="3455775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rgbClr val="799DFF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3" name="Объект 5">
            <a:extLst>
              <a:ext uri="{FF2B5EF4-FFF2-40B4-BE49-F238E27FC236}">
                <a16:creationId xmlns:a16="http://schemas.microsoft.com/office/drawing/2014/main" id="{29C33DD4-9181-D858-D7E2-14A39D2E9E1D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8332422" y="3257265"/>
            <a:ext cx="3455775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rgbClr val="799DFF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44" name="Объект 5">
            <a:extLst>
              <a:ext uri="{FF2B5EF4-FFF2-40B4-BE49-F238E27FC236}">
                <a16:creationId xmlns:a16="http://schemas.microsoft.com/office/drawing/2014/main" id="{48FD99DD-83AD-6D58-7F1F-70F49C0B95F6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12198614" y="3257265"/>
            <a:ext cx="3455775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rgbClr val="799DFF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5" name="Объект 5">
            <a:extLst>
              <a:ext uri="{FF2B5EF4-FFF2-40B4-BE49-F238E27FC236}">
                <a16:creationId xmlns:a16="http://schemas.microsoft.com/office/drawing/2014/main" id="{33EB54CF-1CEF-71C3-9266-9F2E20687BBD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16064806" y="3257265"/>
            <a:ext cx="3455775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rgbClr val="799DFF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6" name="Объект 5">
            <a:extLst>
              <a:ext uri="{FF2B5EF4-FFF2-40B4-BE49-F238E27FC236}">
                <a16:creationId xmlns:a16="http://schemas.microsoft.com/office/drawing/2014/main" id="{67983904-EB69-0C67-597C-97FB16F87770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19930999" y="3257265"/>
            <a:ext cx="3455775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rgbClr val="799DFF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732795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блока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9" name="Объект 5">
            <a:extLst>
              <a:ext uri="{FF2B5EF4-FFF2-40B4-BE49-F238E27FC236}">
                <a16:creationId xmlns:a16="http://schemas.microsoft.com/office/drawing/2014/main" id="{FBD0BA45-3FAD-5EB5-3CF2-74F8747D64F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2782004" y="4724897"/>
            <a:ext cx="7344246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0" name="Объект 5">
            <a:extLst>
              <a:ext uri="{FF2B5EF4-FFF2-40B4-BE49-F238E27FC236}">
                <a16:creationId xmlns:a16="http://schemas.microsoft.com/office/drawing/2014/main" id="{B6F1663F-742F-8350-9DE1-BE9B08ABA9E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200406" y="4724897"/>
            <a:ext cx="7344246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805081D3-D58B-D9C5-FEC2-B34EBE4E1B0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1200406" y="5670019"/>
            <a:ext cx="7344246" cy="745225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C0E1428E-F5C5-309B-F691-7D6CD0D2B66E}"/>
              </a:ext>
            </a:extLst>
          </p:cNvPr>
          <p:cNvGrpSpPr/>
          <p:nvPr userDrawn="1"/>
        </p:nvGrpSpPr>
        <p:grpSpPr>
          <a:xfrm>
            <a:off x="610764" y="3248074"/>
            <a:ext cx="23136662" cy="9874204"/>
            <a:chOff x="308142" y="1498600"/>
            <a:chExt cx="11569084" cy="5062537"/>
          </a:xfrm>
        </p:grpSpPr>
        <p:cxnSp>
          <p:nvCxnSpPr>
            <p:cNvPr id="2" name="Прямая соединительная линия 1">
              <a:extLst>
                <a:ext uri="{FF2B5EF4-FFF2-40B4-BE49-F238E27FC236}">
                  <a16:creationId xmlns:a16="http://schemas.microsoft.com/office/drawing/2014/main" id="{2E1FB57B-9D80-7502-E27B-AF9B39E5C31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8142" y="1498600"/>
              <a:ext cx="557424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Прямая соединительная линия 2">
              <a:extLst>
                <a:ext uri="{FF2B5EF4-FFF2-40B4-BE49-F238E27FC236}">
                  <a16:creationId xmlns:a16="http://schemas.microsoft.com/office/drawing/2014/main" id="{1466F0C8-30CD-E0C5-1923-E1D25A07AFD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1659036"/>
              <a:ext cx="0" cy="490210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Прямая соединительная линия 4">
              <a:extLst>
                <a:ext uri="{FF2B5EF4-FFF2-40B4-BE49-F238E27FC236}">
                  <a16:creationId xmlns:a16="http://schemas.microsoft.com/office/drawing/2014/main" id="{6ED886FC-F24F-D334-232B-32B57279C2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02986" y="1498600"/>
              <a:ext cx="557424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Объект 5">
            <a:extLst>
              <a:ext uri="{FF2B5EF4-FFF2-40B4-BE49-F238E27FC236}">
                <a16:creationId xmlns:a16="http://schemas.microsoft.com/office/drawing/2014/main" id="{78836102-A9B4-CFB2-9F12-43A537F54BB7}"/>
              </a:ext>
            </a:extLst>
          </p:cNvPr>
          <p:cNvSpPr>
            <a:spLocks noGrp="1"/>
          </p:cNvSpPr>
          <p:nvPr userDrawn="1">
            <p:ph sz="quarter" idx="20"/>
          </p:nvPr>
        </p:nvSpPr>
        <p:spPr>
          <a:xfrm>
            <a:off x="12782006" y="5670019"/>
            <a:ext cx="7344246" cy="74522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4347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ри текстов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F24C7062-4984-C857-0DA3-FF310B19E7C2}"/>
              </a:ext>
            </a:extLst>
          </p:cNvPr>
          <p:cNvCxnSpPr>
            <a:cxnSpLocks/>
          </p:cNvCxnSpPr>
          <p:nvPr userDrawn="1"/>
        </p:nvCxnSpPr>
        <p:spPr>
          <a:xfrm>
            <a:off x="600037" y="3269146"/>
            <a:ext cx="231716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29ECBAD8-5306-1412-A441-3F2F335F9A5B}"/>
              </a:ext>
            </a:extLst>
          </p:cNvPr>
          <p:cNvCxnSpPr>
            <a:cxnSpLocks/>
          </p:cNvCxnSpPr>
          <p:nvPr userDrawn="1"/>
        </p:nvCxnSpPr>
        <p:spPr>
          <a:xfrm>
            <a:off x="600037" y="6553520"/>
            <a:ext cx="231716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7FD6C3FB-84BB-0545-BC41-6C1520FFF797}"/>
              </a:ext>
            </a:extLst>
          </p:cNvPr>
          <p:cNvCxnSpPr>
            <a:cxnSpLocks/>
          </p:cNvCxnSpPr>
          <p:nvPr userDrawn="1"/>
        </p:nvCxnSpPr>
        <p:spPr>
          <a:xfrm>
            <a:off x="600037" y="9837894"/>
            <a:ext cx="231716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5">
            <a:extLst>
              <a:ext uri="{FF2B5EF4-FFF2-40B4-BE49-F238E27FC236}">
                <a16:creationId xmlns:a16="http://schemas.microsoft.com/office/drawing/2014/main" id="{966424DE-F68C-6A57-7D24-9251650B2B6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5088" y="7132161"/>
            <a:ext cx="1945667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17" name="Объект 5">
            <a:extLst>
              <a:ext uri="{FF2B5EF4-FFF2-40B4-BE49-F238E27FC236}">
                <a16:creationId xmlns:a16="http://schemas.microsoft.com/office/drawing/2014/main" id="{0A6D5CDE-C814-36D5-7533-3BA1C8E130E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5088" y="3847787"/>
            <a:ext cx="1945667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18" name="Объект 5">
            <a:extLst>
              <a:ext uri="{FF2B5EF4-FFF2-40B4-BE49-F238E27FC236}">
                <a16:creationId xmlns:a16="http://schemas.microsoft.com/office/drawing/2014/main" id="{89E86485-14A2-50C2-F00D-5003EB0944C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5088" y="10416535"/>
            <a:ext cx="1945667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19" name="Объект 5">
            <a:extLst>
              <a:ext uri="{FF2B5EF4-FFF2-40B4-BE49-F238E27FC236}">
                <a16:creationId xmlns:a16="http://schemas.microsoft.com/office/drawing/2014/main" id="{FBD0BA45-3FAD-5EB5-3CF2-74F8747D64F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210041" y="7132161"/>
            <a:ext cx="18547285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0" name="Объект 5">
            <a:extLst>
              <a:ext uri="{FF2B5EF4-FFF2-40B4-BE49-F238E27FC236}">
                <a16:creationId xmlns:a16="http://schemas.microsoft.com/office/drawing/2014/main" id="{B6F1663F-742F-8350-9DE1-BE9B08ABA9E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210041" y="3847787"/>
            <a:ext cx="18547285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1" name="Объект 5">
            <a:extLst>
              <a:ext uri="{FF2B5EF4-FFF2-40B4-BE49-F238E27FC236}">
                <a16:creationId xmlns:a16="http://schemas.microsoft.com/office/drawing/2014/main" id="{01B71E5B-CF92-EC6D-90CA-37C8E6C65DC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210041" y="10416535"/>
            <a:ext cx="18547285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2" name="Объект 5">
            <a:extLst>
              <a:ext uri="{FF2B5EF4-FFF2-40B4-BE49-F238E27FC236}">
                <a16:creationId xmlns:a16="http://schemas.microsoft.com/office/drawing/2014/main" id="{DE5E0CD2-4EF2-0ACC-E931-37419A98ED1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210041" y="7980300"/>
            <a:ext cx="18547285" cy="129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805081D3-D58B-D9C5-FEC2-B34EBE4E1B0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210041" y="4695926"/>
            <a:ext cx="18547285" cy="129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AAB9A2D6-1D6B-7884-7470-5FA0BD99322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210041" y="11264674"/>
            <a:ext cx="18547285" cy="129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2373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ри текстов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9" name="Объект 5">
            <a:extLst>
              <a:ext uri="{FF2B5EF4-FFF2-40B4-BE49-F238E27FC236}">
                <a16:creationId xmlns:a16="http://schemas.microsoft.com/office/drawing/2014/main" id="{FBD0BA45-3FAD-5EB5-3CF2-74F8747D64F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519084" y="4724897"/>
            <a:ext cx="7344246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0" name="Объект 5">
            <a:extLst>
              <a:ext uri="{FF2B5EF4-FFF2-40B4-BE49-F238E27FC236}">
                <a16:creationId xmlns:a16="http://schemas.microsoft.com/office/drawing/2014/main" id="{B6F1663F-742F-8350-9DE1-BE9B08ABA9E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6244" y="4724897"/>
            <a:ext cx="7344246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1" name="Объект 5">
            <a:extLst>
              <a:ext uri="{FF2B5EF4-FFF2-40B4-BE49-F238E27FC236}">
                <a16:creationId xmlns:a16="http://schemas.microsoft.com/office/drawing/2014/main" id="{01B71E5B-CF92-EC6D-90CA-37C8E6C65DC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6408660" y="4724897"/>
            <a:ext cx="7344246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2" name="Объект 5">
            <a:extLst>
              <a:ext uri="{FF2B5EF4-FFF2-40B4-BE49-F238E27FC236}">
                <a16:creationId xmlns:a16="http://schemas.microsoft.com/office/drawing/2014/main" id="{DE5E0CD2-4EF2-0ACC-E931-37419A98ED1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519084" y="5670019"/>
            <a:ext cx="7344246" cy="745225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805081D3-D58B-D9C5-FEC2-B34EBE4E1B0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4" y="5670019"/>
            <a:ext cx="7344246" cy="745225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AAB9A2D6-1D6B-7884-7470-5FA0BD99322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6408660" y="5670019"/>
            <a:ext cx="7344246" cy="745225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F3FC676D-BEC1-F6E2-D36C-232031C834B5}"/>
              </a:ext>
            </a:extLst>
          </p:cNvPr>
          <p:cNvGrpSpPr/>
          <p:nvPr userDrawn="1"/>
        </p:nvGrpSpPr>
        <p:grpSpPr>
          <a:xfrm>
            <a:off x="616244" y="4237797"/>
            <a:ext cx="23141082" cy="8884478"/>
            <a:chOff x="308142" y="1634573"/>
            <a:chExt cx="9713495" cy="4926565"/>
          </a:xfrm>
        </p:grpSpPr>
        <p:cxnSp>
          <p:nvCxnSpPr>
            <p:cNvPr id="2" name="Прямая соединительная линия 1">
              <a:extLst>
                <a:ext uri="{FF2B5EF4-FFF2-40B4-BE49-F238E27FC236}">
                  <a16:creationId xmlns:a16="http://schemas.microsoft.com/office/drawing/2014/main" id="{2E1FB57B-9D80-7502-E27B-AF9B39E5C31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8142" y="1634573"/>
              <a:ext cx="308275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Прямая соединительная линия 2">
              <a:extLst>
                <a:ext uri="{FF2B5EF4-FFF2-40B4-BE49-F238E27FC236}">
                  <a16:creationId xmlns:a16="http://schemas.microsoft.com/office/drawing/2014/main" id="{1466F0C8-30CD-E0C5-1923-E1D25A07AFD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07205" y="1790700"/>
              <a:ext cx="0" cy="477043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Прямая соединительная линия 4">
              <a:extLst>
                <a:ext uri="{FF2B5EF4-FFF2-40B4-BE49-F238E27FC236}">
                  <a16:creationId xmlns:a16="http://schemas.microsoft.com/office/drawing/2014/main" id="{6ED886FC-F24F-D334-232B-32B57279C2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23510" y="1634573"/>
              <a:ext cx="308275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Прямая соединительная линия 6">
              <a:extLst>
                <a:ext uri="{FF2B5EF4-FFF2-40B4-BE49-F238E27FC236}">
                  <a16:creationId xmlns:a16="http://schemas.microsoft.com/office/drawing/2014/main" id="{4EA40904-D0BF-C191-0AB3-EBEE3BF2335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38878" y="1634573"/>
              <a:ext cx="308275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10">
              <a:extLst>
                <a:ext uri="{FF2B5EF4-FFF2-40B4-BE49-F238E27FC236}">
                  <a16:creationId xmlns:a16="http://schemas.microsoft.com/office/drawing/2014/main" id="{F7314600-178F-4FF9-7227-E6F8DFBC5EF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822574" y="1790700"/>
              <a:ext cx="0" cy="477043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Объект 5">
            <a:extLst>
              <a:ext uri="{FF2B5EF4-FFF2-40B4-BE49-F238E27FC236}">
                <a16:creationId xmlns:a16="http://schemas.microsoft.com/office/drawing/2014/main" id="{D071ED9A-5BAC-D7EB-293D-AE5BCF8795A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519084" y="3267037"/>
            <a:ext cx="7344246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8" name="Объект 5">
            <a:extLst>
              <a:ext uri="{FF2B5EF4-FFF2-40B4-BE49-F238E27FC236}">
                <a16:creationId xmlns:a16="http://schemas.microsoft.com/office/drawing/2014/main" id="{EEF6BC94-F32C-B2CE-5685-AE986E6F146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6244" y="3267037"/>
            <a:ext cx="7344246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9" name="Объект 5">
            <a:extLst>
              <a:ext uri="{FF2B5EF4-FFF2-40B4-BE49-F238E27FC236}">
                <a16:creationId xmlns:a16="http://schemas.microsoft.com/office/drawing/2014/main" id="{3D0F1BA8-35D3-6E34-6F19-8C83F0493C4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16408660" y="3267037"/>
            <a:ext cx="7344246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3575128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ри блока с буллит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id="{3CEC6337-AE0C-7581-6F91-2FF0D72E2A1A}"/>
              </a:ext>
            </a:extLst>
          </p:cNvPr>
          <p:cNvSpPr/>
          <p:nvPr userDrawn="1"/>
        </p:nvSpPr>
        <p:spPr>
          <a:xfrm>
            <a:off x="616247" y="3257550"/>
            <a:ext cx="7357507" cy="9864724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sz="3600"/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6D8286B9-5774-A27B-AB90-533EEC67A5E5}"/>
              </a:ext>
            </a:extLst>
          </p:cNvPr>
          <p:cNvSpPr/>
          <p:nvPr userDrawn="1"/>
        </p:nvSpPr>
        <p:spPr>
          <a:xfrm>
            <a:off x="8515133" y="3257550"/>
            <a:ext cx="7357507" cy="9864724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79817173-B251-C621-9A6D-3267D5A12602}"/>
              </a:ext>
            </a:extLst>
          </p:cNvPr>
          <p:cNvSpPr/>
          <p:nvPr userDrawn="1"/>
        </p:nvSpPr>
        <p:spPr>
          <a:xfrm>
            <a:off x="16414019" y="3257550"/>
            <a:ext cx="7357507" cy="9864724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2" name="Объект 5">
            <a:extLst>
              <a:ext uri="{FF2B5EF4-FFF2-40B4-BE49-F238E27FC236}">
                <a16:creationId xmlns:a16="http://schemas.microsoft.com/office/drawing/2014/main" id="{DE5E0CD2-4EF2-0ACC-E931-37419A98ED1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874660" y="5638800"/>
            <a:ext cx="6627641" cy="70866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buClr>
                <a:schemeClr val="bg1"/>
              </a:buClr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805081D3-D58B-D9C5-FEC2-B34EBE4E1B0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71821" y="5638800"/>
            <a:ext cx="6627641" cy="70866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buClr>
                <a:schemeClr val="bg1"/>
              </a:buClr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AAB9A2D6-1D6B-7884-7470-5FA0BD99322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6764237" y="5638800"/>
            <a:ext cx="6627641" cy="70866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buClr>
                <a:schemeClr val="bg1"/>
              </a:buClr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8706F713-F963-A124-A8E6-0BE42E0C2F1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874660" y="4549289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" name="Объект 5">
            <a:extLst>
              <a:ext uri="{FF2B5EF4-FFF2-40B4-BE49-F238E27FC236}">
                <a16:creationId xmlns:a16="http://schemas.microsoft.com/office/drawing/2014/main" id="{65A94CE6-6407-284D-CEFC-D436C99A661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71821" y="4549289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7" name="Объект 5">
            <a:extLst>
              <a:ext uri="{FF2B5EF4-FFF2-40B4-BE49-F238E27FC236}">
                <a16:creationId xmlns:a16="http://schemas.microsoft.com/office/drawing/2014/main" id="{1E1734E1-C364-11AC-8002-0950E6A8C21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6764237" y="4549289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384522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анные и выво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79817173-B251-C621-9A6D-3267D5A12602}"/>
              </a:ext>
            </a:extLst>
          </p:cNvPr>
          <p:cNvSpPr/>
          <p:nvPr userDrawn="1"/>
        </p:nvSpPr>
        <p:spPr>
          <a:xfrm>
            <a:off x="16414019" y="3257550"/>
            <a:ext cx="7357507" cy="9864724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AAB9A2D6-1D6B-7884-7470-5FA0BD99322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6764237" y="5638800"/>
            <a:ext cx="6627641" cy="70866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buClr>
                <a:schemeClr val="bg1"/>
              </a:buClr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7" name="Объект 5">
            <a:extLst>
              <a:ext uri="{FF2B5EF4-FFF2-40B4-BE49-F238E27FC236}">
                <a16:creationId xmlns:a16="http://schemas.microsoft.com/office/drawing/2014/main" id="{1E1734E1-C364-11AC-8002-0950E6A8C21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6764237" y="4549289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5315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блока и акц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id="{3CEC6337-AE0C-7581-6F91-2FF0D72E2A1A}"/>
              </a:ext>
            </a:extLst>
          </p:cNvPr>
          <p:cNvSpPr/>
          <p:nvPr userDrawn="1"/>
        </p:nvSpPr>
        <p:spPr>
          <a:xfrm>
            <a:off x="616247" y="3257550"/>
            <a:ext cx="7357507" cy="9864724"/>
          </a:xfrm>
          <a:prstGeom prst="roundRect">
            <a:avLst>
              <a:gd name="adj" fmla="val 3355"/>
            </a:avLst>
          </a:prstGeom>
          <a:solidFill>
            <a:srgbClr val="799D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6D8286B9-5774-A27B-AB90-533EEC67A5E5}"/>
              </a:ext>
            </a:extLst>
          </p:cNvPr>
          <p:cNvSpPr/>
          <p:nvPr userDrawn="1"/>
        </p:nvSpPr>
        <p:spPr>
          <a:xfrm>
            <a:off x="8515133" y="3257550"/>
            <a:ext cx="7357507" cy="9864724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79817173-B251-C621-9A6D-3267D5A12602}"/>
              </a:ext>
            </a:extLst>
          </p:cNvPr>
          <p:cNvSpPr/>
          <p:nvPr userDrawn="1"/>
        </p:nvSpPr>
        <p:spPr>
          <a:xfrm>
            <a:off x="16414019" y="3257550"/>
            <a:ext cx="7357507" cy="9864724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9" name="Объект 5">
            <a:extLst>
              <a:ext uri="{FF2B5EF4-FFF2-40B4-BE49-F238E27FC236}">
                <a16:creationId xmlns:a16="http://schemas.microsoft.com/office/drawing/2014/main" id="{FBD0BA45-3FAD-5EB5-3CF2-74F8747D64F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874660" y="3944771"/>
            <a:ext cx="6627641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0" name="Объект 5">
            <a:extLst>
              <a:ext uri="{FF2B5EF4-FFF2-40B4-BE49-F238E27FC236}">
                <a16:creationId xmlns:a16="http://schemas.microsoft.com/office/drawing/2014/main" id="{B6F1663F-742F-8350-9DE1-BE9B08ABA9E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71821" y="3944771"/>
            <a:ext cx="6627641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1" name="Объект 5">
            <a:extLst>
              <a:ext uri="{FF2B5EF4-FFF2-40B4-BE49-F238E27FC236}">
                <a16:creationId xmlns:a16="http://schemas.microsoft.com/office/drawing/2014/main" id="{01B71E5B-CF92-EC6D-90CA-37C8E6C65DC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6764237" y="3944771"/>
            <a:ext cx="6627641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2" name="Объект 5">
            <a:extLst>
              <a:ext uri="{FF2B5EF4-FFF2-40B4-BE49-F238E27FC236}">
                <a16:creationId xmlns:a16="http://schemas.microsoft.com/office/drawing/2014/main" id="{DE5E0CD2-4EF2-0ACC-E931-37419A98ED1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874660" y="4889895"/>
            <a:ext cx="6627641" cy="783550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805081D3-D58B-D9C5-FEC2-B34EBE4E1B0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71821" y="4889895"/>
            <a:ext cx="6627641" cy="783550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AAB9A2D6-1D6B-7884-7470-5FA0BD99322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6764237" y="4889895"/>
            <a:ext cx="6627641" cy="783550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7716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итульный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2035C08B-8751-1B4B-921E-E4E784040729}"/>
              </a:ext>
            </a:extLst>
          </p:cNvPr>
          <p:cNvSpPr txBox="1"/>
          <p:nvPr userDrawn="1"/>
        </p:nvSpPr>
        <p:spPr>
          <a:xfrm>
            <a:off x="20704629" y="881742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3DB6E3-9B06-CF4A-9B2D-85F4E8CCE7C2}"/>
              </a:ext>
            </a:extLst>
          </p:cNvPr>
          <p:cNvSpPr txBox="1"/>
          <p:nvPr userDrawn="1"/>
        </p:nvSpPr>
        <p:spPr>
          <a:xfrm>
            <a:off x="12496800" y="92964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5F5D402-02C4-5740-B6B7-767551A4943D}"/>
              </a:ext>
            </a:extLst>
          </p:cNvPr>
          <p:cNvSpPr txBox="1"/>
          <p:nvPr userDrawn="1"/>
        </p:nvSpPr>
        <p:spPr>
          <a:xfrm>
            <a:off x="17094200" y="77216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BA0BDC5C-5AC9-A943-A53F-88B4510F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6276" y="1228459"/>
            <a:ext cx="21755487" cy="44546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180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38798585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ять бло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Скругленный прямоугольник 24">
            <a:extLst>
              <a:ext uri="{FF2B5EF4-FFF2-40B4-BE49-F238E27FC236}">
                <a16:creationId xmlns:a16="http://schemas.microsoft.com/office/drawing/2014/main" id="{D2ED0E6B-6062-2C5F-5A7C-DB36CAECE852}"/>
              </a:ext>
            </a:extLst>
          </p:cNvPr>
          <p:cNvSpPr/>
          <p:nvPr userDrawn="1"/>
        </p:nvSpPr>
        <p:spPr>
          <a:xfrm>
            <a:off x="8515133" y="3257551"/>
            <a:ext cx="7357507" cy="9496226"/>
          </a:xfrm>
          <a:prstGeom prst="roundRect">
            <a:avLst>
              <a:gd name="adj" fmla="val 231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id="{3CEC6337-AE0C-7581-6F91-2FF0D72E2A1A}"/>
              </a:ext>
            </a:extLst>
          </p:cNvPr>
          <p:cNvSpPr/>
          <p:nvPr userDrawn="1"/>
        </p:nvSpPr>
        <p:spPr>
          <a:xfrm>
            <a:off x="616247" y="3257551"/>
            <a:ext cx="7357507" cy="4489450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sz="3600"/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79817173-B251-C621-9A6D-3267D5A12602}"/>
              </a:ext>
            </a:extLst>
          </p:cNvPr>
          <p:cNvSpPr/>
          <p:nvPr userDrawn="1"/>
        </p:nvSpPr>
        <p:spPr>
          <a:xfrm>
            <a:off x="16414019" y="3257551"/>
            <a:ext cx="7357507" cy="4489450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805081D3-D58B-D9C5-FEC2-B34EBE4E1B0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71821" y="4830717"/>
            <a:ext cx="6627641" cy="12419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AAB9A2D6-1D6B-7884-7470-5FA0BD99322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6764237" y="4830717"/>
            <a:ext cx="6627641" cy="12419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5" name="Объект 5">
            <a:extLst>
              <a:ext uri="{FF2B5EF4-FFF2-40B4-BE49-F238E27FC236}">
                <a16:creationId xmlns:a16="http://schemas.microsoft.com/office/drawing/2014/main" id="{65A94CE6-6407-284D-CEFC-D436C99A661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71821" y="3928331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7" name="Объект 5">
            <a:extLst>
              <a:ext uri="{FF2B5EF4-FFF2-40B4-BE49-F238E27FC236}">
                <a16:creationId xmlns:a16="http://schemas.microsoft.com/office/drawing/2014/main" id="{1E1734E1-C364-11AC-8002-0950E6A8C21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6764237" y="3928331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69CEFD38-B5A8-7D2D-FA50-B1195FFFEE61}"/>
              </a:ext>
            </a:extLst>
          </p:cNvPr>
          <p:cNvSpPr/>
          <p:nvPr userDrawn="1"/>
        </p:nvSpPr>
        <p:spPr>
          <a:xfrm>
            <a:off x="616247" y="8264327"/>
            <a:ext cx="7357507" cy="4489450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sz="3600"/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5724276D-EDF9-D4B3-C150-0AB1B10735FD}"/>
              </a:ext>
            </a:extLst>
          </p:cNvPr>
          <p:cNvSpPr/>
          <p:nvPr userDrawn="1"/>
        </p:nvSpPr>
        <p:spPr>
          <a:xfrm>
            <a:off x="16414019" y="8264327"/>
            <a:ext cx="7357507" cy="4489450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14" name="Объект 5">
            <a:extLst>
              <a:ext uri="{FF2B5EF4-FFF2-40B4-BE49-F238E27FC236}">
                <a16:creationId xmlns:a16="http://schemas.microsoft.com/office/drawing/2014/main" id="{7CA45B54-BEEE-79A5-D9AB-E1FE4770FCC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971821" y="9837493"/>
            <a:ext cx="6627641" cy="12419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15" name="Объект 5">
            <a:extLst>
              <a:ext uri="{FF2B5EF4-FFF2-40B4-BE49-F238E27FC236}">
                <a16:creationId xmlns:a16="http://schemas.microsoft.com/office/drawing/2014/main" id="{C4175B50-BE82-65DA-08E8-748353A5082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6764237" y="9837493"/>
            <a:ext cx="6627641" cy="12419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17" name="Объект 5">
            <a:extLst>
              <a:ext uri="{FF2B5EF4-FFF2-40B4-BE49-F238E27FC236}">
                <a16:creationId xmlns:a16="http://schemas.microsoft.com/office/drawing/2014/main" id="{9BB3F355-8EDE-68F7-1CE5-2AA8F5D5164B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71821" y="8935107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18" name="Объект 5">
            <a:extLst>
              <a:ext uri="{FF2B5EF4-FFF2-40B4-BE49-F238E27FC236}">
                <a16:creationId xmlns:a16="http://schemas.microsoft.com/office/drawing/2014/main" id="{A2C517D9-D278-6158-AD36-C304CAA53BD8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16764237" y="8935107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5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1D85D007-A8B2-D9E0-C5D5-C7B7BBE2FE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075" t="-7613" r="58161" b="61106"/>
          <a:stretch/>
        </p:blipFill>
        <p:spPr>
          <a:xfrm rot="16200000">
            <a:off x="7445775" y="4326910"/>
            <a:ext cx="9496226" cy="7357505"/>
          </a:xfrm>
          <a:custGeom>
            <a:avLst/>
            <a:gdLst>
              <a:gd name="connsiteX0" fmla="*/ 4748113 w 4748113"/>
              <a:gd name="connsiteY0" fmla="*/ 85316 h 3678992"/>
              <a:gd name="connsiteX1" fmla="*/ 4748113 w 4748113"/>
              <a:gd name="connsiteY1" fmla="*/ 3593677 h 3678992"/>
              <a:gd name="connsiteX2" fmla="*/ 4696006 w 4748113"/>
              <a:gd name="connsiteY2" fmla="*/ 3672288 h 3678992"/>
              <a:gd name="connsiteX3" fmla="*/ 4662800 w 4748113"/>
              <a:gd name="connsiteY3" fmla="*/ 3678992 h 3678992"/>
              <a:gd name="connsiteX4" fmla="*/ 85314 w 4748113"/>
              <a:gd name="connsiteY4" fmla="*/ 3678992 h 3678992"/>
              <a:gd name="connsiteX5" fmla="*/ 52107 w 4748113"/>
              <a:gd name="connsiteY5" fmla="*/ 3672288 h 3678992"/>
              <a:gd name="connsiteX6" fmla="*/ 0 w 4748113"/>
              <a:gd name="connsiteY6" fmla="*/ 3593677 h 3678992"/>
              <a:gd name="connsiteX7" fmla="*/ 0 w 4748113"/>
              <a:gd name="connsiteY7" fmla="*/ 85316 h 3678992"/>
              <a:gd name="connsiteX8" fmla="*/ 85316 w 4748113"/>
              <a:gd name="connsiteY8" fmla="*/ 0 h 3678992"/>
              <a:gd name="connsiteX9" fmla="*/ 4662797 w 4748113"/>
              <a:gd name="connsiteY9" fmla="*/ 0 h 3678992"/>
              <a:gd name="connsiteX10" fmla="*/ 4748113 w 4748113"/>
              <a:gd name="connsiteY10" fmla="*/ 85316 h 3678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48113" h="3678992">
                <a:moveTo>
                  <a:pt x="4748113" y="85316"/>
                </a:moveTo>
                <a:lnTo>
                  <a:pt x="4748113" y="3593677"/>
                </a:lnTo>
                <a:cubicBezTo>
                  <a:pt x="4748113" y="3629016"/>
                  <a:pt x="4726628" y="3659337"/>
                  <a:pt x="4696006" y="3672288"/>
                </a:cubicBezTo>
                <a:lnTo>
                  <a:pt x="4662800" y="3678992"/>
                </a:lnTo>
                <a:lnTo>
                  <a:pt x="85314" y="3678992"/>
                </a:lnTo>
                <a:lnTo>
                  <a:pt x="52107" y="3672288"/>
                </a:lnTo>
                <a:cubicBezTo>
                  <a:pt x="21486" y="3659337"/>
                  <a:pt x="0" y="3629016"/>
                  <a:pt x="0" y="3593677"/>
                </a:cubicBezTo>
                <a:lnTo>
                  <a:pt x="0" y="85316"/>
                </a:lnTo>
                <a:cubicBezTo>
                  <a:pt x="0" y="38197"/>
                  <a:pt x="38197" y="0"/>
                  <a:pt x="85316" y="0"/>
                </a:cubicBezTo>
                <a:lnTo>
                  <a:pt x="4662797" y="0"/>
                </a:lnTo>
                <a:cubicBezTo>
                  <a:pt x="4709916" y="0"/>
                  <a:pt x="4748113" y="38197"/>
                  <a:pt x="4748113" y="85316"/>
                </a:cubicBezTo>
                <a:close/>
              </a:path>
            </a:pathLst>
          </a:custGeom>
        </p:spPr>
      </p:pic>
      <p:sp>
        <p:nvSpPr>
          <p:cNvPr id="22" name="Объект 5">
            <a:extLst>
              <a:ext uri="{FF2B5EF4-FFF2-40B4-BE49-F238E27FC236}">
                <a16:creationId xmlns:a16="http://schemas.microsoft.com/office/drawing/2014/main" id="{DE5E0CD2-4EF2-0ACC-E931-37419A98ED1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874661" y="4830717"/>
            <a:ext cx="5729389" cy="562773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8706F713-F963-A124-A8E6-0BE42E0C2F1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874661" y="3928331"/>
            <a:ext cx="5729389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42160674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Шесть бло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id="{3CEC6337-AE0C-7581-6F91-2FF0D72E2A1A}"/>
              </a:ext>
            </a:extLst>
          </p:cNvPr>
          <p:cNvSpPr/>
          <p:nvPr userDrawn="1"/>
        </p:nvSpPr>
        <p:spPr>
          <a:xfrm>
            <a:off x="616247" y="3257551"/>
            <a:ext cx="7357507" cy="4489450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sz="3600"/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6D8286B9-5774-A27B-AB90-533EEC67A5E5}"/>
              </a:ext>
            </a:extLst>
          </p:cNvPr>
          <p:cNvSpPr/>
          <p:nvPr userDrawn="1"/>
        </p:nvSpPr>
        <p:spPr>
          <a:xfrm>
            <a:off x="8515133" y="3257551"/>
            <a:ext cx="7357507" cy="4489450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79817173-B251-C621-9A6D-3267D5A12602}"/>
              </a:ext>
            </a:extLst>
          </p:cNvPr>
          <p:cNvSpPr/>
          <p:nvPr userDrawn="1"/>
        </p:nvSpPr>
        <p:spPr>
          <a:xfrm>
            <a:off x="16414019" y="3257551"/>
            <a:ext cx="7357507" cy="4489450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69CEFD38-B5A8-7D2D-FA50-B1195FFFEE61}"/>
              </a:ext>
            </a:extLst>
          </p:cNvPr>
          <p:cNvSpPr/>
          <p:nvPr userDrawn="1"/>
        </p:nvSpPr>
        <p:spPr>
          <a:xfrm>
            <a:off x="616247" y="8264327"/>
            <a:ext cx="7357507" cy="4489450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sz="3600"/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FFE839FD-56C0-03CF-7855-641E64BB271E}"/>
              </a:ext>
            </a:extLst>
          </p:cNvPr>
          <p:cNvSpPr/>
          <p:nvPr userDrawn="1"/>
        </p:nvSpPr>
        <p:spPr>
          <a:xfrm>
            <a:off x="8515133" y="8264327"/>
            <a:ext cx="7357507" cy="4489450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5724276D-EDF9-D4B3-C150-0AB1B10735FD}"/>
              </a:ext>
            </a:extLst>
          </p:cNvPr>
          <p:cNvSpPr/>
          <p:nvPr userDrawn="1"/>
        </p:nvSpPr>
        <p:spPr>
          <a:xfrm>
            <a:off x="16414019" y="8264327"/>
            <a:ext cx="7357507" cy="4489450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2" name="Объект 5">
            <a:extLst>
              <a:ext uri="{FF2B5EF4-FFF2-40B4-BE49-F238E27FC236}">
                <a16:creationId xmlns:a16="http://schemas.microsoft.com/office/drawing/2014/main" id="{DE5E0CD2-4EF2-0ACC-E931-37419A98ED1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874660" y="5451675"/>
            <a:ext cx="6627641" cy="12419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805081D3-D58B-D9C5-FEC2-B34EBE4E1B0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71821" y="5451675"/>
            <a:ext cx="6627641" cy="12419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AAB9A2D6-1D6B-7884-7470-5FA0BD99322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6764237" y="5451675"/>
            <a:ext cx="6627641" cy="12419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8706F713-F963-A124-A8E6-0BE42E0C2F1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874660" y="4549289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" name="Объект 5">
            <a:extLst>
              <a:ext uri="{FF2B5EF4-FFF2-40B4-BE49-F238E27FC236}">
                <a16:creationId xmlns:a16="http://schemas.microsoft.com/office/drawing/2014/main" id="{65A94CE6-6407-284D-CEFC-D436C99A661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71821" y="4549289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7" name="Объект 5">
            <a:extLst>
              <a:ext uri="{FF2B5EF4-FFF2-40B4-BE49-F238E27FC236}">
                <a16:creationId xmlns:a16="http://schemas.microsoft.com/office/drawing/2014/main" id="{1E1734E1-C364-11AC-8002-0950E6A8C21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6764237" y="4549289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3" name="Объект 5">
            <a:extLst>
              <a:ext uri="{FF2B5EF4-FFF2-40B4-BE49-F238E27FC236}">
                <a16:creationId xmlns:a16="http://schemas.microsoft.com/office/drawing/2014/main" id="{D579D5CA-0449-494D-A8A9-F5F687FA4C1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8874660" y="10458451"/>
            <a:ext cx="6627641" cy="12419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14" name="Объект 5">
            <a:extLst>
              <a:ext uri="{FF2B5EF4-FFF2-40B4-BE49-F238E27FC236}">
                <a16:creationId xmlns:a16="http://schemas.microsoft.com/office/drawing/2014/main" id="{7CA45B54-BEEE-79A5-D9AB-E1FE4770FCC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971821" y="10458451"/>
            <a:ext cx="6627641" cy="12419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15" name="Объект 5">
            <a:extLst>
              <a:ext uri="{FF2B5EF4-FFF2-40B4-BE49-F238E27FC236}">
                <a16:creationId xmlns:a16="http://schemas.microsoft.com/office/drawing/2014/main" id="{C4175B50-BE82-65DA-08E8-748353A5082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6764237" y="10458451"/>
            <a:ext cx="6627641" cy="12419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16" name="Объект 5">
            <a:extLst>
              <a:ext uri="{FF2B5EF4-FFF2-40B4-BE49-F238E27FC236}">
                <a16:creationId xmlns:a16="http://schemas.microsoft.com/office/drawing/2014/main" id="{6908356F-B03F-A486-C0EE-19F9C11D7F14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874660" y="9556065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7" name="Объект 5">
            <a:extLst>
              <a:ext uri="{FF2B5EF4-FFF2-40B4-BE49-F238E27FC236}">
                <a16:creationId xmlns:a16="http://schemas.microsoft.com/office/drawing/2014/main" id="{9BB3F355-8EDE-68F7-1CE5-2AA8F5D5164B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71821" y="9556065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8" name="Объект 5">
            <a:extLst>
              <a:ext uri="{FF2B5EF4-FFF2-40B4-BE49-F238E27FC236}">
                <a16:creationId xmlns:a16="http://schemas.microsoft.com/office/drawing/2014/main" id="{A2C517D9-D278-6158-AD36-C304CAA53BD8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16764237" y="9556065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2149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ри текстовых блока с ико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9" name="Объект 5">
            <a:extLst>
              <a:ext uri="{FF2B5EF4-FFF2-40B4-BE49-F238E27FC236}">
                <a16:creationId xmlns:a16="http://schemas.microsoft.com/office/drawing/2014/main" id="{FBD0BA45-3FAD-5EB5-3CF2-74F8747D64F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519084" y="5620291"/>
            <a:ext cx="7344246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0" name="Объект 5">
            <a:extLst>
              <a:ext uri="{FF2B5EF4-FFF2-40B4-BE49-F238E27FC236}">
                <a16:creationId xmlns:a16="http://schemas.microsoft.com/office/drawing/2014/main" id="{B6F1663F-742F-8350-9DE1-BE9B08ABA9E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6244" y="5620291"/>
            <a:ext cx="7344246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1" name="Объект 5">
            <a:extLst>
              <a:ext uri="{FF2B5EF4-FFF2-40B4-BE49-F238E27FC236}">
                <a16:creationId xmlns:a16="http://schemas.microsoft.com/office/drawing/2014/main" id="{01B71E5B-CF92-EC6D-90CA-37C8E6C65DC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6408660" y="5620291"/>
            <a:ext cx="7344246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2" name="Объект 5">
            <a:extLst>
              <a:ext uri="{FF2B5EF4-FFF2-40B4-BE49-F238E27FC236}">
                <a16:creationId xmlns:a16="http://schemas.microsoft.com/office/drawing/2014/main" id="{DE5E0CD2-4EF2-0ACC-E931-37419A98ED1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519084" y="6567019"/>
            <a:ext cx="7344246" cy="649793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805081D3-D58B-D9C5-FEC2-B34EBE4E1B0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4" y="6567019"/>
            <a:ext cx="7344246" cy="649793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AAB9A2D6-1D6B-7884-7470-5FA0BD99322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6408660" y="6567019"/>
            <a:ext cx="7344246" cy="649793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2E1FB57B-9D80-7502-E27B-AF9B39E5C318}"/>
              </a:ext>
            </a:extLst>
          </p:cNvPr>
          <p:cNvCxnSpPr>
            <a:cxnSpLocks/>
          </p:cNvCxnSpPr>
          <p:nvPr userDrawn="1"/>
        </p:nvCxnSpPr>
        <p:spPr>
          <a:xfrm>
            <a:off x="616244" y="3274878"/>
            <a:ext cx="734424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AA0991C0-BF84-A920-7964-79DE308CAA12}"/>
              </a:ext>
            </a:extLst>
          </p:cNvPr>
          <p:cNvCxnSpPr>
            <a:cxnSpLocks/>
          </p:cNvCxnSpPr>
          <p:nvPr userDrawn="1"/>
        </p:nvCxnSpPr>
        <p:spPr>
          <a:xfrm>
            <a:off x="8519084" y="3274878"/>
            <a:ext cx="734424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9320CBB4-D22D-3A2B-EDE3-5F37E43C3543}"/>
              </a:ext>
            </a:extLst>
          </p:cNvPr>
          <p:cNvCxnSpPr>
            <a:cxnSpLocks/>
          </p:cNvCxnSpPr>
          <p:nvPr userDrawn="1"/>
        </p:nvCxnSpPr>
        <p:spPr>
          <a:xfrm>
            <a:off x="16408660" y="3274878"/>
            <a:ext cx="734424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90345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Шесть текстовых блоков с ико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9" name="Объект 5">
            <a:extLst>
              <a:ext uri="{FF2B5EF4-FFF2-40B4-BE49-F238E27FC236}">
                <a16:creationId xmlns:a16="http://schemas.microsoft.com/office/drawing/2014/main" id="{FBD0BA45-3FAD-5EB5-3CF2-74F8747D64F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519084" y="4517971"/>
            <a:ext cx="7344246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0" name="Объект 5">
            <a:extLst>
              <a:ext uri="{FF2B5EF4-FFF2-40B4-BE49-F238E27FC236}">
                <a16:creationId xmlns:a16="http://schemas.microsoft.com/office/drawing/2014/main" id="{B6F1663F-742F-8350-9DE1-BE9B08ABA9E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6244" y="4517971"/>
            <a:ext cx="7344246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1" name="Объект 5">
            <a:extLst>
              <a:ext uri="{FF2B5EF4-FFF2-40B4-BE49-F238E27FC236}">
                <a16:creationId xmlns:a16="http://schemas.microsoft.com/office/drawing/2014/main" id="{01B71E5B-CF92-EC6D-90CA-37C8E6C65DC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6408660" y="4517971"/>
            <a:ext cx="7344246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2" name="Объект 5">
            <a:extLst>
              <a:ext uri="{FF2B5EF4-FFF2-40B4-BE49-F238E27FC236}">
                <a16:creationId xmlns:a16="http://schemas.microsoft.com/office/drawing/2014/main" id="{DE5E0CD2-4EF2-0ACC-E931-37419A98ED1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519084" y="5463092"/>
            <a:ext cx="7344246" cy="26692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805081D3-D58B-D9C5-FEC2-B34EBE4E1B0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4" y="5463092"/>
            <a:ext cx="7344246" cy="26692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AAB9A2D6-1D6B-7884-7470-5FA0BD99322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6408660" y="5463092"/>
            <a:ext cx="7344246" cy="26692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2E1FB57B-9D80-7502-E27B-AF9B39E5C318}"/>
              </a:ext>
            </a:extLst>
          </p:cNvPr>
          <p:cNvCxnSpPr>
            <a:cxnSpLocks/>
          </p:cNvCxnSpPr>
          <p:nvPr userDrawn="1"/>
        </p:nvCxnSpPr>
        <p:spPr>
          <a:xfrm>
            <a:off x="616244" y="3274878"/>
            <a:ext cx="734424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Объект 5">
            <a:extLst>
              <a:ext uri="{FF2B5EF4-FFF2-40B4-BE49-F238E27FC236}">
                <a16:creationId xmlns:a16="http://schemas.microsoft.com/office/drawing/2014/main" id="{78737C60-1D94-2E51-3C59-48F96C6E911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8519084" y="9507913"/>
            <a:ext cx="7344246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2" name="Объект 5">
            <a:extLst>
              <a:ext uri="{FF2B5EF4-FFF2-40B4-BE49-F238E27FC236}">
                <a16:creationId xmlns:a16="http://schemas.microsoft.com/office/drawing/2014/main" id="{2102B9B8-E673-E610-80C6-853AFE5A13AE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6244" y="9507913"/>
            <a:ext cx="7344246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3" name="Объект 5">
            <a:extLst>
              <a:ext uri="{FF2B5EF4-FFF2-40B4-BE49-F238E27FC236}">
                <a16:creationId xmlns:a16="http://schemas.microsoft.com/office/drawing/2014/main" id="{47E74572-D121-3739-8753-EFAB0196B74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6408660" y="9507913"/>
            <a:ext cx="7344246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4" name="Объект 5">
            <a:extLst>
              <a:ext uri="{FF2B5EF4-FFF2-40B4-BE49-F238E27FC236}">
                <a16:creationId xmlns:a16="http://schemas.microsoft.com/office/drawing/2014/main" id="{28321FBB-24FA-34DA-0B69-BDDB27A8C594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519084" y="10453034"/>
            <a:ext cx="7344246" cy="26692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5" name="Объект 5">
            <a:extLst>
              <a:ext uri="{FF2B5EF4-FFF2-40B4-BE49-F238E27FC236}">
                <a16:creationId xmlns:a16="http://schemas.microsoft.com/office/drawing/2014/main" id="{12AFF2C6-382E-F937-6662-F92733CAB342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16244" y="10453034"/>
            <a:ext cx="7344246" cy="26692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6" name="Объект 5">
            <a:extLst>
              <a:ext uri="{FF2B5EF4-FFF2-40B4-BE49-F238E27FC236}">
                <a16:creationId xmlns:a16="http://schemas.microsoft.com/office/drawing/2014/main" id="{8A0F3F06-FCDE-031E-F843-2AB3F3F2AAD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16408660" y="10453034"/>
            <a:ext cx="7344246" cy="26692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AA0991C0-BF84-A920-7964-79DE308CAA12}"/>
              </a:ext>
            </a:extLst>
          </p:cNvPr>
          <p:cNvCxnSpPr>
            <a:cxnSpLocks/>
          </p:cNvCxnSpPr>
          <p:nvPr userDrawn="1"/>
        </p:nvCxnSpPr>
        <p:spPr>
          <a:xfrm>
            <a:off x="8519084" y="3274878"/>
            <a:ext cx="734424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9320CBB4-D22D-3A2B-EDE3-5F37E43C3543}"/>
              </a:ext>
            </a:extLst>
          </p:cNvPr>
          <p:cNvCxnSpPr>
            <a:cxnSpLocks/>
          </p:cNvCxnSpPr>
          <p:nvPr userDrawn="1"/>
        </p:nvCxnSpPr>
        <p:spPr>
          <a:xfrm>
            <a:off x="16408660" y="3274878"/>
            <a:ext cx="734424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0329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Шесть бло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2" name="Объект 5">
            <a:extLst>
              <a:ext uri="{FF2B5EF4-FFF2-40B4-BE49-F238E27FC236}">
                <a16:creationId xmlns:a16="http://schemas.microsoft.com/office/drawing/2014/main" id="{DE5E0CD2-4EF2-0ACC-E931-37419A98ED1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874660" y="4637472"/>
            <a:ext cx="6627641" cy="318572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tx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805081D3-D58B-D9C5-FEC2-B34EBE4E1B0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71821" y="4637472"/>
            <a:ext cx="6627641" cy="318572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tx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AAB9A2D6-1D6B-7884-7470-5FA0BD99322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6764237" y="4637472"/>
            <a:ext cx="6627641" cy="318572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tx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8706F713-F963-A124-A8E6-0BE42E0C2F1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874660" y="3735087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" name="Объект 5">
            <a:extLst>
              <a:ext uri="{FF2B5EF4-FFF2-40B4-BE49-F238E27FC236}">
                <a16:creationId xmlns:a16="http://schemas.microsoft.com/office/drawing/2014/main" id="{65A94CE6-6407-284D-CEFC-D436C99A661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71821" y="3735087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7" name="Объект 5">
            <a:extLst>
              <a:ext uri="{FF2B5EF4-FFF2-40B4-BE49-F238E27FC236}">
                <a16:creationId xmlns:a16="http://schemas.microsoft.com/office/drawing/2014/main" id="{1E1734E1-C364-11AC-8002-0950E6A8C21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6764237" y="3735087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3" name="Объект 5">
            <a:extLst>
              <a:ext uri="{FF2B5EF4-FFF2-40B4-BE49-F238E27FC236}">
                <a16:creationId xmlns:a16="http://schemas.microsoft.com/office/drawing/2014/main" id="{D579D5CA-0449-494D-A8A9-F5F687FA4C1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8874660" y="9253968"/>
            <a:ext cx="6627641" cy="318572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tx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14" name="Объект 5">
            <a:extLst>
              <a:ext uri="{FF2B5EF4-FFF2-40B4-BE49-F238E27FC236}">
                <a16:creationId xmlns:a16="http://schemas.microsoft.com/office/drawing/2014/main" id="{7CA45B54-BEEE-79A5-D9AB-E1FE4770FCC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971821" y="9253968"/>
            <a:ext cx="6627641" cy="318572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tx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15" name="Объект 5">
            <a:extLst>
              <a:ext uri="{FF2B5EF4-FFF2-40B4-BE49-F238E27FC236}">
                <a16:creationId xmlns:a16="http://schemas.microsoft.com/office/drawing/2014/main" id="{C4175B50-BE82-65DA-08E8-748353A5082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6764237" y="9253968"/>
            <a:ext cx="6627641" cy="318572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tx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16" name="Объект 5">
            <a:extLst>
              <a:ext uri="{FF2B5EF4-FFF2-40B4-BE49-F238E27FC236}">
                <a16:creationId xmlns:a16="http://schemas.microsoft.com/office/drawing/2014/main" id="{6908356F-B03F-A486-C0EE-19F9C11D7F14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874660" y="8351583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7" name="Объект 5">
            <a:extLst>
              <a:ext uri="{FF2B5EF4-FFF2-40B4-BE49-F238E27FC236}">
                <a16:creationId xmlns:a16="http://schemas.microsoft.com/office/drawing/2014/main" id="{9BB3F355-8EDE-68F7-1CE5-2AA8F5D5164B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71821" y="8351583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8" name="Объект 5">
            <a:extLst>
              <a:ext uri="{FF2B5EF4-FFF2-40B4-BE49-F238E27FC236}">
                <a16:creationId xmlns:a16="http://schemas.microsoft.com/office/drawing/2014/main" id="{A2C517D9-D278-6158-AD36-C304CAA53BD8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16764237" y="8351583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AA6CA395-3C6A-1433-3A54-1DCA0875CBF0}"/>
              </a:ext>
            </a:extLst>
          </p:cNvPr>
          <p:cNvGrpSpPr/>
          <p:nvPr userDrawn="1"/>
        </p:nvGrpSpPr>
        <p:grpSpPr>
          <a:xfrm>
            <a:off x="616244" y="3287836"/>
            <a:ext cx="23141082" cy="4462140"/>
            <a:chOff x="308142" y="1634573"/>
            <a:chExt cx="9713495" cy="4926565"/>
          </a:xfrm>
        </p:grpSpPr>
        <p:cxnSp>
          <p:nvCxnSpPr>
            <p:cNvPr id="20" name="Прямая соединительная линия 19">
              <a:extLst>
                <a:ext uri="{FF2B5EF4-FFF2-40B4-BE49-F238E27FC236}">
                  <a16:creationId xmlns:a16="http://schemas.microsoft.com/office/drawing/2014/main" id="{10E99DCB-966E-DBF6-90CA-D4647BB4203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8142" y="1634573"/>
              <a:ext cx="308275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>
              <a:extLst>
                <a:ext uri="{FF2B5EF4-FFF2-40B4-BE49-F238E27FC236}">
                  <a16:creationId xmlns:a16="http://schemas.microsoft.com/office/drawing/2014/main" id="{DC6F4E5A-CEEF-FE0A-FAC8-A62FE1663BE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07205" y="1790699"/>
              <a:ext cx="0" cy="4770439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Прямая соединительная линия 24">
              <a:extLst>
                <a:ext uri="{FF2B5EF4-FFF2-40B4-BE49-F238E27FC236}">
                  <a16:creationId xmlns:a16="http://schemas.microsoft.com/office/drawing/2014/main" id="{8981405A-0242-CB99-1ED5-0F1BB300CC0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23510" y="1634573"/>
              <a:ext cx="308275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Прямая соединительная линия 25">
              <a:extLst>
                <a:ext uri="{FF2B5EF4-FFF2-40B4-BE49-F238E27FC236}">
                  <a16:creationId xmlns:a16="http://schemas.microsoft.com/office/drawing/2014/main" id="{13FB027C-28C2-DAEB-FD37-D0C9CCB0E8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38878" y="1634573"/>
              <a:ext cx="308275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Прямая соединительная линия 26">
              <a:extLst>
                <a:ext uri="{FF2B5EF4-FFF2-40B4-BE49-F238E27FC236}">
                  <a16:creationId xmlns:a16="http://schemas.microsoft.com/office/drawing/2014/main" id="{D5C0A8A0-C90C-92D9-D53D-8351D64B4A0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822574" y="1790699"/>
              <a:ext cx="0" cy="477043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ED3ABDC5-1189-2ADD-DD43-0E6CEBFB0326}"/>
              </a:ext>
            </a:extLst>
          </p:cNvPr>
          <p:cNvGrpSpPr/>
          <p:nvPr userDrawn="1"/>
        </p:nvGrpSpPr>
        <p:grpSpPr>
          <a:xfrm>
            <a:off x="616244" y="7977556"/>
            <a:ext cx="23141082" cy="4462140"/>
            <a:chOff x="308142" y="1634573"/>
            <a:chExt cx="9713495" cy="4926565"/>
          </a:xfrm>
        </p:grpSpPr>
        <p:cxnSp>
          <p:nvCxnSpPr>
            <p:cNvPr id="29" name="Прямая соединительная линия 28">
              <a:extLst>
                <a:ext uri="{FF2B5EF4-FFF2-40B4-BE49-F238E27FC236}">
                  <a16:creationId xmlns:a16="http://schemas.microsoft.com/office/drawing/2014/main" id="{FFD73747-DC55-605D-40C3-1EF5E7904A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8142" y="1634573"/>
              <a:ext cx="308275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Прямая соединительная линия 29">
              <a:extLst>
                <a:ext uri="{FF2B5EF4-FFF2-40B4-BE49-F238E27FC236}">
                  <a16:creationId xmlns:a16="http://schemas.microsoft.com/office/drawing/2014/main" id="{3F0A5670-D7AA-A232-0527-127CC16A708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07205" y="1790700"/>
              <a:ext cx="0" cy="477043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Прямая соединительная линия 30">
              <a:extLst>
                <a:ext uri="{FF2B5EF4-FFF2-40B4-BE49-F238E27FC236}">
                  <a16:creationId xmlns:a16="http://schemas.microsoft.com/office/drawing/2014/main" id="{ACD11E23-3F82-7A5B-5327-988B9B989A9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23510" y="1634573"/>
              <a:ext cx="308275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Прямая соединительная линия 31">
              <a:extLst>
                <a:ext uri="{FF2B5EF4-FFF2-40B4-BE49-F238E27FC236}">
                  <a16:creationId xmlns:a16="http://schemas.microsoft.com/office/drawing/2014/main" id="{1F413A42-7B16-7A23-F15F-E86AC7D1247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38878" y="1634573"/>
              <a:ext cx="308275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Прямая соединительная линия 32">
              <a:extLst>
                <a:ext uri="{FF2B5EF4-FFF2-40B4-BE49-F238E27FC236}">
                  <a16:creationId xmlns:a16="http://schemas.microsoft.com/office/drawing/2014/main" id="{4112268A-CACE-0B97-2D63-D1D48ED1158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822574" y="1790700"/>
              <a:ext cx="0" cy="477043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83367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манда 4 челове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Скругленный прямоугольник 45">
            <a:extLst>
              <a:ext uri="{FF2B5EF4-FFF2-40B4-BE49-F238E27FC236}">
                <a16:creationId xmlns:a16="http://schemas.microsoft.com/office/drawing/2014/main" id="{832C4E42-5F41-570F-418C-186F3025C71E}"/>
              </a:ext>
            </a:extLst>
          </p:cNvPr>
          <p:cNvSpPr/>
          <p:nvPr userDrawn="1"/>
        </p:nvSpPr>
        <p:spPr>
          <a:xfrm>
            <a:off x="616242" y="3257550"/>
            <a:ext cx="11375260" cy="4551928"/>
          </a:xfrm>
          <a:prstGeom prst="roundRect">
            <a:avLst>
              <a:gd name="adj" fmla="val 439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DEE70D10-F503-34E3-EFFC-1AAAED314541}"/>
              </a:ext>
            </a:extLst>
          </p:cNvPr>
          <p:cNvSpPr/>
          <p:nvPr userDrawn="1"/>
        </p:nvSpPr>
        <p:spPr>
          <a:xfrm>
            <a:off x="12401815" y="3257550"/>
            <a:ext cx="11375260" cy="4551928"/>
          </a:xfrm>
          <a:prstGeom prst="roundRect">
            <a:avLst>
              <a:gd name="adj" fmla="val 439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43" name="Скругленный прямоугольник 42">
            <a:extLst>
              <a:ext uri="{FF2B5EF4-FFF2-40B4-BE49-F238E27FC236}">
                <a16:creationId xmlns:a16="http://schemas.microsoft.com/office/drawing/2014/main" id="{9A1FB826-E6B1-BF08-FF9A-FE2DD227D53D}"/>
              </a:ext>
            </a:extLst>
          </p:cNvPr>
          <p:cNvSpPr/>
          <p:nvPr userDrawn="1"/>
        </p:nvSpPr>
        <p:spPr>
          <a:xfrm>
            <a:off x="12401815" y="8183118"/>
            <a:ext cx="11375260" cy="4551928"/>
          </a:xfrm>
          <a:prstGeom prst="roundRect">
            <a:avLst>
              <a:gd name="adj" fmla="val 439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44" name="Скругленный прямоугольник 43">
            <a:extLst>
              <a:ext uri="{FF2B5EF4-FFF2-40B4-BE49-F238E27FC236}">
                <a16:creationId xmlns:a16="http://schemas.microsoft.com/office/drawing/2014/main" id="{DE816CD4-4FF2-8595-614A-201CBC18ABDB}"/>
              </a:ext>
            </a:extLst>
          </p:cNvPr>
          <p:cNvSpPr/>
          <p:nvPr userDrawn="1"/>
        </p:nvSpPr>
        <p:spPr>
          <a:xfrm>
            <a:off x="616242" y="8183118"/>
            <a:ext cx="11375260" cy="4551928"/>
          </a:xfrm>
          <a:prstGeom prst="roundRect">
            <a:avLst>
              <a:gd name="adj" fmla="val 439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6" name="Полилиния 55">
            <a:extLst>
              <a:ext uri="{FF2B5EF4-FFF2-40B4-BE49-F238E27FC236}">
                <a16:creationId xmlns:a16="http://schemas.microsoft.com/office/drawing/2014/main" id="{39F8BBFE-2101-D19F-B947-13519FEC301D}"/>
              </a:ext>
            </a:extLst>
          </p:cNvPr>
          <p:cNvSpPr/>
          <p:nvPr userDrawn="1"/>
        </p:nvSpPr>
        <p:spPr>
          <a:xfrm>
            <a:off x="12401819" y="3257550"/>
            <a:ext cx="3904330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3600"/>
          </a:p>
        </p:txBody>
      </p:sp>
      <p:sp>
        <p:nvSpPr>
          <p:cNvPr id="30" name="Объект 5">
            <a:extLst>
              <a:ext uri="{FF2B5EF4-FFF2-40B4-BE49-F238E27FC236}">
                <a16:creationId xmlns:a16="http://schemas.microsoft.com/office/drawing/2014/main" id="{E866DEFA-59A7-68F6-0679-2B4605CD535D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865737" y="4451959"/>
            <a:ext cx="6780603" cy="4985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1" name="Объект 5">
            <a:extLst>
              <a:ext uri="{FF2B5EF4-FFF2-40B4-BE49-F238E27FC236}">
                <a16:creationId xmlns:a16="http://schemas.microsoft.com/office/drawing/2014/main" id="{D46C35E8-AB90-BACD-96EB-C76733ADA5FA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865737" y="5133898"/>
            <a:ext cx="6780603" cy="20487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200">
                <a:solidFill>
                  <a:schemeClr val="bg1">
                    <a:alpha val="60000"/>
                  </a:schemeClr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2" name="Объект 5">
            <a:extLst>
              <a:ext uri="{FF2B5EF4-FFF2-40B4-BE49-F238E27FC236}">
                <a16:creationId xmlns:a16="http://schemas.microsoft.com/office/drawing/2014/main" id="{E4B30F44-1273-D5F9-F980-8D17B21F5C2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6651310" y="4451959"/>
            <a:ext cx="6780603" cy="4985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3" name="Объект 5">
            <a:extLst>
              <a:ext uri="{FF2B5EF4-FFF2-40B4-BE49-F238E27FC236}">
                <a16:creationId xmlns:a16="http://schemas.microsoft.com/office/drawing/2014/main" id="{DD7F00C3-2B9E-C156-9D2C-EB29A996B1B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6651310" y="5133898"/>
            <a:ext cx="6780603" cy="20487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200">
                <a:solidFill>
                  <a:schemeClr val="bg1">
                    <a:alpha val="60000"/>
                  </a:schemeClr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6" name="Объект 5">
            <a:extLst>
              <a:ext uri="{FF2B5EF4-FFF2-40B4-BE49-F238E27FC236}">
                <a16:creationId xmlns:a16="http://schemas.microsoft.com/office/drawing/2014/main" id="{FC46751A-7FD3-A432-0418-4AEC7B9E736B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865737" y="9355263"/>
            <a:ext cx="6780603" cy="4985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7" name="Объект 5">
            <a:extLst>
              <a:ext uri="{FF2B5EF4-FFF2-40B4-BE49-F238E27FC236}">
                <a16:creationId xmlns:a16="http://schemas.microsoft.com/office/drawing/2014/main" id="{2D4B536B-6CB2-7F97-7FC6-DEB9E95DC15A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865737" y="10037202"/>
            <a:ext cx="6780603" cy="20487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200">
                <a:solidFill>
                  <a:schemeClr val="bg1">
                    <a:alpha val="60000"/>
                  </a:schemeClr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8" name="Объект 5">
            <a:extLst>
              <a:ext uri="{FF2B5EF4-FFF2-40B4-BE49-F238E27FC236}">
                <a16:creationId xmlns:a16="http://schemas.microsoft.com/office/drawing/2014/main" id="{862ABB26-2A19-6CCF-6872-C79015DABEA6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16651310" y="9355263"/>
            <a:ext cx="6780603" cy="4985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9" name="Объект 5">
            <a:extLst>
              <a:ext uri="{FF2B5EF4-FFF2-40B4-BE49-F238E27FC236}">
                <a16:creationId xmlns:a16="http://schemas.microsoft.com/office/drawing/2014/main" id="{21B8651C-D5AF-CCE1-E5B5-5B533895FBFC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16651310" y="10037202"/>
            <a:ext cx="6780603" cy="20487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200">
                <a:solidFill>
                  <a:schemeClr val="bg1">
                    <a:alpha val="60000"/>
                  </a:schemeClr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1" name="Полилиния 50">
            <a:extLst>
              <a:ext uri="{FF2B5EF4-FFF2-40B4-BE49-F238E27FC236}">
                <a16:creationId xmlns:a16="http://schemas.microsoft.com/office/drawing/2014/main" id="{32210147-4933-E63F-7214-C2CA5D457B3A}"/>
              </a:ext>
            </a:extLst>
          </p:cNvPr>
          <p:cNvSpPr/>
          <p:nvPr userDrawn="1"/>
        </p:nvSpPr>
        <p:spPr>
          <a:xfrm>
            <a:off x="616246" y="3257550"/>
            <a:ext cx="3904330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3600"/>
          </a:p>
        </p:txBody>
      </p:sp>
      <p:sp>
        <p:nvSpPr>
          <p:cNvPr id="49" name="Рисунок 48">
            <a:extLst>
              <a:ext uri="{FF2B5EF4-FFF2-40B4-BE49-F238E27FC236}">
                <a16:creationId xmlns:a16="http://schemas.microsoft.com/office/drawing/2014/main" id="{611D788D-F8B3-A3A8-E593-A7AC362DC3B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6246" y="3257550"/>
            <a:ext cx="3904330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</a:t>
            </a:r>
            <a:br>
              <a:rPr lang="ru-RU" dirty="0"/>
            </a:br>
            <a:r>
              <a:rPr lang="ru-RU" dirty="0"/>
              <a:t>фото сюда</a:t>
            </a:r>
          </a:p>
        </p:txBody>
      </p:sp>
      <p:sp>
        <p:nvSpPr>
          <p:cNvPr id="54" name="Рисунок 53">
            <a:extLst>
              <a:ext uri="{FF2B5EF4-FFF2-40B4-BE49-F238E27FC236}">
                <a16:creationId xmlns:a16="http://schemas.microsoft.com/office/drawing/2014/main" id="{022D403B-8211-3A42-BCAB-C30A9A18726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2401819" y="3257550"/>
            <a:ext cx="3904330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</a:t>
            </a:r>
            <a:br>
              <a:rPr lang="ru-RU" dirty="0"/>
            </a:br>
            <a:r>
              <a:rPr lang="ru-RU" dirty="0"/>
              <a:t>фото сюда</a:t>
            </a:r>
          </a:p>
        </p:txBody>
      </p:sp>
      <p:sp>
        <p:nvSpPr>
          <p:cNvPr id="62" name="Полилиния 61">
            <a:extLst>
              <a:ext uri="{FF2B5EF4-FFF2-40B4-BE49-F238E27FC236}">
                <a16:creationId xmlns:a16="http://schemas.microsoft.com/office/drawing/2014/main" id="{844B65FF-8F1D-9B7A-C670-85D1BD4D669F}"/>
              </a:ext>
            </a:extLst>
          </p:cNvPr>
          <p:cNvSpPr/>
          <p:nvPr userDrawn="1"/>
        </p:nvSpPr>
        <p:spPr>
          <a:xfrm>
            <a:off x="12401819" y="8183118"/>
            <a:ext cx="3904330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3600"/>
          </a:p>
        </p:txBody>
      </p:sp>
      <p:sp>
        <p:nvSpPr>
          <p:cNvPr id="64" name="Полилиния 63">
            <a:extLst>
              <a:ext uri="{FF2B5EF4-FFF2-40B4-BE49-F238E27FC236}">
                <a16:creationId xmlns:a16="http://schemas.microsoft.com/office/drawing/2014/main" id="{2DC6CC7B-C0F1-4C70-CB8B-54494CA8C1D8}"/>
              </a:ext>
            </a:extLst>
          </p:cNvPr>
          <p:cNvSpPr/>
          <p:nvPr userDrawn="1"/>
        </p:nvSpPr>
        <p:spPr>
          <a:xfrm>
            <a:off x="616246" y="8183118"/>
            <a:ext cx="3904330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3600"/>
          </a:p>
        </p:txBody>
      </p:sp>
      <p:sp>
        <p:nvSpPr>
          <p:cNvPr id="65" name="Рисунок 64">
            <a:extLst>
              <a:ext uri="{FF2B5EF4-FFF2-40B4-BE49-F238E27FC236}">
                <a16:creationId xmlns:a16="http://schemas.microsoft.com/office/drawing/2014/main" id="{8AFB329D-91C3-D5A1-3A4A-E2607CCAC88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16246" y="8183118"/>
            <a:ext cx="3904330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</a:t>
            </a:r>
            <a:br>
              <a:rPr lang="ru-RU" dirty="0"/>
            </a:br>
            <a:r>
              <a:rPr lang="ru-RU" dirty="0"/>
              <a:t>фото сюда</a:t>
            </a:r>
          </a:p>
        </p:txBody>
      </p:sp>
      <p:sp>
        <p:nvSpPr>
          <p:cNvPr id="66" name="Рисунок 65">
            <a:extLst>
              <a:ext uri="{FF2B5EF4-FFF2-40B4-BE49-F238E27FC236}">
                <a16:creationId xmlns:a16="http://schemas.microsoft.com/office/drawing/2014/main" id="{B4689B75-C79E-E9C2-8422-6445C21F24A1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12401819" y="8183118"/>
            <a:ext cx="3904330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</a:t>
            </a:r>
            <a:br>
              <a:rPr lang="ru-RU" dirty="0"/>
            </a:br>
            <a:r>
              <a:rPr lang="ru-RU" dirty="0"/>
              <a:t>фото сюда</a:t>
            </a:r>
          </a:p>
        </p:txBody>
      </p:sp>
    </p:spTree>
    <p:extLst>
      <p:ext uri="{BB962C8B-B14F-4D97-AF65-F5344CB8AC3E}">
        <p14:creationId xmlns:p14="http://schemas.microsoft.com/office/powerpoint/2010/main" val="1996890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манда 6 челове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Скругленный прямоугольник 45">
            <a:extLst>
              <a:ext uri="{FF2B5EF4-FFF2-40B4-BE49-F238E27FC236}">
                <a16:creationId xmlns:a16="http://schemas.microsoft.com/office/drawing/2014/main" id="{832C4E42-5F41-570F-418C-186F3025C71E}"/>
              </a:ext>
            </a:extLst>
          </p:cNvPr>
          <p:cNvSpPr/>
          <p:nvPr userDrawn="1"/>
        </p:nvSpPr>
        <p:spPr>
          <a:xfrm>
            <a:off x="616246" y="3257550"/>
            <a:ext cx="7469386" cy="4551928"/>
          </a:xfrm>
          <a:prstGeom prst="roundRect">
            <a:avLst>
              <a:gd name="adj" fmla="val 439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DEE70D10-F503-34E3-EFFC-1AAAED314541}"/>
              </a:ext>
            </a:extLst>
          </p:cNvPr>
          <p:cNvSpPr/>
          <p:nvPr userDrawn="1"/>
        </p:nvSpPr>
        <p:spPr>
          <a:xfrm>
            <a:off x="8464619" y="3257550"/>
            <a:ext cx="7469386" cy="4551928"/>
          </a:xfrm>
          <a:prstGeom prst="roundRect">
            <a:avLst>
              <a:gd name="adj" fmla="val 439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42" name="Скругленный прямоугольник 41">
            <a:extLst>
              <a:ext uri="{FF2B5EF4-FFF2-40B4-BE49-F238E27FC236}">
                <a16:creationId xmlns:a16="http://schemas.microsoft.com/office/drawing/2014/main" id="{3C700CCC-BEC5-86C0-910F-16B561A4A4EC}"/>
              </a:ext>
            </a:extLst>
          </p:cNvPr>
          <p:cNvSpPr/>
          <p:nvPr userDrawn="1"/>
        </p:nvSpPr>
        <p:spPr>
          <a:xfrm>
            <a:off x="16312992" y="3257550"/>
            <a:ext cx="7469386" cy="4551928"/>
          </a:xfrm>
          <a:prstGeom prst="roundRect">
            <a:avLst>
              <a:gd name="adj" fmla="val 439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43" name="Скругленный прямоугольник 42">
            <a:extLst>
              <a:ext uri="{FF2B5EF4-FFF2-40B4-BE49-F238E27FC236}">
                <a16:creationId xmlns:a16="http://schemas.microsoft.com/office/drawing/2014/main" id="{9A1FB826-E6B1-BF08-FF9A-FE2DD227D53D}"/>
              </a:ext>
            </a:extLst>
          </p:cNvPr>
          <p:cNvSpPr/>
          <p:nvPr userDrawn="1"/>
        </p:nvSpPr>
        <p:spPr>
          <a:xfrm>
            <a:off x="8464619" y="8183118"/>
            <a:ext cx="7469386" cy="4551928"/>
          </a:xfrm>
          <a:prstGeom prst="roundRect">
            <a:avLst>
              <a:gd name="adj" fmla="val 439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44" name="Скругленный прямоугольник 43">
            <a:extLst>
              <a:ext uri="{FF2B5EF4-FFF2-40B4-BE49-F238E27FC236}">
                <a16:creationId xmlns:a16="http://schemas.microsoft.com/office/drawing/2014/main" id="{DE816CD4-4FF2-8595-614A-201CBC18ABDB}"/>
              </a:ext>
            </a:extLst>
          </p:cNvPr>
          <p:cNvSpPr/>
          <p:nvPr userDrawn="1"/>
        </p:nvSpPr>
        <p:spPr>
          <a:xfrm>
            <a:off x="616246" y="8183118"/>
            <a:ext cx="7469386" cy="4551928"/>
          </a:xfrm>
          <a:prstGeom prst="roundRect">
            <a:avLst>
              <a:gd name="adj" fmla="val 439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45" name="Скругленный прямоугольник 44">
            <a:extLst>
              <a:ext uri="{FF2B5EF4-FFF2-40B4-BE49-F238E27FC236}">
                <a16:creationId xmlns:a16="http://schemas.microsoft.com/office/drawing/2014/main" id="{03F7E4EA-859B-A27D-2E34-A9DC043FC190}"/>
              </a:ext>
            </a:extLst>
          </p:cNvPr>
          <p:cNvSpPr/>
          <p:nvPr userDrawn="1"/>
        </p:nvSpPr>
        <p:spPr>
          <a:xfrm>
            <a:off x="16312992" y="8183118"/>
            <a:ext cx="7469386" cy="4551928"/>
          </a:xfrm>
          <a:prstGeom prst="roundRect">
            <a:avLst>
              <a:gd name="adj" fmla="val 439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6" name="Полилиния 55">
            <a:extLst>
              <a:ext uri="{FF2B5EF4-FFF2-40B4-BE49-F238E27FC236}">
                <a16:creationId xmlns:a16="http://schemas.microsoft.com/office/drawing/2014/main" id="{39F8BBFE-2101-D19F-B947-13519FEC301D}"/>
              </a:ext>
            </a:extLst>
          </p:cNvPr>
          <p:cNvSpPr/>
          <p:nvPr userDrawn="1"/>
        </p:nvSpPr>
        <p:spPr>
          <a:xfrm>
            <a:off x="8464620" y="3257550"/>
            <a:ext cx="3457965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3600"/>
          </a:p>
        </p:txBody>
      </p:sp>
      <p:sp>
        <p:nvSpPr>
          <p:cNvPr id="61" name="Полилиния 60">
            <a:extLst>
              <a:ext uri="{FF2B5EF4-FFF2-40B4-BE49-F238E27FC236}">
                <a16:creationId xmlns:a16="http://schemas.microsoft.com/office/drawing/2014/main" id="{B1161B93-34D4-BA41-D208-5045BF5347EE}"/>
              </a:ext>
            </a:extLst>
          </p:cNvPr>
          <p:cNvSpPr/>
          <p:nvPr userDrawn="1"/>
        </p:nvSpPr>
        <p:spPr>
          <a:xfrm>
            <a:off x="16312993" y="3257550"/>
            <a:ext cx="3457965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3600"/>
          </a:p>
        </p:txBody>
      </p:sp>
      <p:sp>
        <p:nvSpPr>
          <p:cNvPr id="30" name="Объект 5">
            <a:extLst>
              <a:ext uri="{FF2B5EF4-FFF2-40B4-BE49-F238E27FC236}">
                <a16:creationId xmlns:a16="http://schemas.microsoft.com/office/drawing/2014/main" id="{E866DEFA-59A7-68F6-0679-2B4605CD535D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373691" y="4451959"/>
            <a:ext cx="3455775" cy="4985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1" name="Объект 5">
            <a:extLst>
              <a:ext uri="{FF2B5EF4-FFF2-40B4-BE49-F238E27FC236}">
                <a16:creationId xmlns:a16="http://schemas.microsoft.com/office/drawing/2014/main" id="{D46C35E8-AB90-BACD-96EB-C76733ADA5FA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73691" y="5133898"/>
            <a:ext cx="3455775" cy="20487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200">
                <a:solidFill>
                  <a:schemeClr val="bg1">
                    <a:alpha val="60000"/>
                  </a:schemeClr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2" name="Объект 5">
            <a:extLst>
              <a:ext uri="{FF2B5EF4-FFF2-40B4-BE49-F238E27FC236}">
                <a16:creationId xmlns:a16="http://schemas.microsoft.com/office/drawing/2014/main" id="{E4B30F44-1273-D5F9-F980-8D17B21F5C2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2222065" y="4451959"/>
            <a:ext cx="3455775" cy="4985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3" name="Объект 5">
            <a:extLst>
              <a:ext uri="{FF2B5EF4-FFF2-40B4-BE49-F238E27FC236}">
                <a16:creationId xmlns:a16="http://schemas.microsoft.com/office/drawing/2014/main" id="{DD7F00C3-2B9E-C156-9D2C-EB29A996B1B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2222065" y="5133898"/>
            <a:ext cx="3455775" cy="20487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200">
                <a:solidFill>
                  <a:schemeClr val="bg1">
                    <a:alpha val="60000"/>
                  </a:schemeClr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4" name="Объект 5">
            <a:extLst>
              <a:ext uri="{FF2B5EF4-FFF2-40B4-BE49-F238E27FC236}">
                <a16:creationId xmlns:a16="http://schemas.microsoft.com/office/drawing/2014/main" id="{5449E007-4483-B646-0AE5-5ED5851AF1C2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20070438" y="4451959"/>
            <a:ext cx="3455775" cy="4985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5" name="Объект 5">
            <a:extLst>
              <a:ext uri="{FF2B5EF4-FFF2-40B4-BE49-F238E27FC236}">
                <a16:creationId xmlns:a16="http://schemas.microsoft.com/office/drawing/2014/main" id="{9B7F14ED-7D7E-2A77-2E22-9CA30C899BF6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20070438" y="5133898"/>
            <a:ext cx="3455775" cy="20487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200">
                <a:solidFill>
                  <a:schemeClr val="bg1">
                    <a:alpha val="60000"/>
                  </a:schemeClr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6" name="Объект 5">
            <a:extLst>
              <a:ext uri="{FF2B5EF4-FFF2-40B4-BE49-F238E27FC236}">
                <a16:creationId xmlns:a16="http://schemas.microsoft.com/office/drawing/2014/main" id="{FC46751A-7FD3-A432-0418-4AEC7B9E736B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73691" y="9355263"/>
            <a:ext cx="3455775" cy="4985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7" name="Объект 5">
            <a:extLst>
              <a:ext uri="{FF2B5EF4-FFF2-40B4-BE49-F238E27FC236}">
                <a16:creationId xmlns:a16="http://schemas.microsoft.com/office/drawing/2014/main" id="{2D4B536B-6CB2-7F97-7FC6-DEB9E95DC15A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373691" y="10037202"/>
            <a:ext cx="3455775" cy="20487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200">
                <a:solidFill>
                  <a:schemeClr val="bg1">
                    <a:alpha val="60000"/>
                  </a:schemeClr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8" name="Объект 5">
            <a:extLst>
              <a:ext uri="{FF2B5EF4-FFF2-40B4-BE49-F238E27FC236}">
                <a16:creationId xmlns:a16="http://schemas.microsoft.com/office/drawing/2014/main" id="{862ABB26-2A19-6CCF-6872-C79015DABEA6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12222065" y="9355263"/>
            <a:ext cx="3455775" cy="4985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9" name="Объект 5">
            <a:extLst>
              <a:ext uri="{FF2B5EF4-FFF2-40B4-BE49-F238E27FC236}">
                <a16:creationId xmlns:a16="http://schemas.microsoft.com/office/drawing/2014/main" id="{21B8651C-D5AF-CCE1-E5B5-5B533895FBFC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12222065" y="10037202"/>
            <a:ext cx="3455775" cy="20487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200">
                <a:solidFill>
                  <a:schemeClr val="bg1">
                    <a:alpha val="60000"/>
                  </a:schemeClr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40" name="Объект 5">
            <a:extLst>
              <a:ext uri="{FF2B5EF4-FFF2-40B4-BE49-F238E27FC236}">
                <a16:creationId xmlns:a16="http://schemas.microsoft.com/office/drawing/2014/main" id="{1FAD5D0B-FCA3-0C68-A7E4-5AC6C776E23C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20070438" y="9355263"/>
            <a:ext cx="3455775" cy="4985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41" name="Объект 5">
            <a:extLst>
              <a:ext uri="{FF2B5EF4-FFF2-40B4-BE49-F238E27FC236}">
                <a16:creationId xmlns:a16="http://schemas.microsoft.com/office/drawing/2014/main" id="{AD7B9AD8-E44F-C84B-5A9B-E04F71F085B0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20070438" y="10037202"/>
            <a:ext cx="3455775" cy="20487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200">
                <a:solidFill>
                  <a:schemeClr val="bg1">
                    <a:alpha val="60000"/>
                  </a:schemeClr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1" name="Полилиния 50">
            <a:extLst>
              <a:ext uri="{FF2B5EF4-FFF2-40B4-BE49-F238E27FC236}">
                <a16:creationId xmlns:a16="http://schemas.microsoft.com/office/drawing/2014/main" id="{32210147-4933-E63F-7214-C2CA5D457B3A}"/>
              </a:ext>
            </a:extLst>
          </p:cNvPr>
          <p:cNvSpPr/>
          <p:nvPr userDrawn="1"/>
        </p:nvSpPr>
        <p:spPr>
          <a:xfrm>
            <a:off x="616247" y="3257550"/>
            <a:ext cx="3457965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3600"/>
          </a:p>
        </p:txBody>
      </p:sp>
      <p:sp>
        <p:nvSpPr>
          <p:cNvPr id="49" name="Рисунок 48">
            <a:extLst>
              <a:ext uri="{FF2B5EF4-FFF2-40B4-BE49-F238E27FC236}">
                <a16:creationId xmlns:a16="http://schemas.microsoft.com/office/drawing/2014/main" id="{611D788D-F8B3-A3A8-E593-A7AC362DC3B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6247" y="3257550"/>
            <a:ext cx="3457965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54" name="Рисунок 53">
            <a:extLst>
              <a:ext uri="{FF2B5EF4-FFF2-40B4-BE49-F238E27FC236}">
                <a16:creationId xmlns:a16="http://schemas.microsoft.com/office/drawing/2014/main" id="{022D403B-8211-3A42-BCAB-C30A9A18726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464620" y="3257550"/>
            <a:ext cx="3457965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59" name="Рисунок 58">
            <a:extLst>
              <a:ext uri="{FF2B5EF4-FFF2-40B4-BE49-F238E27FC236}">
                <a16:creationId xmlns:a16="http://schemas.microsoft.com/office/drawing/2014/main" id="{8445EE52-EA5B-2DDF-9095-89CF5ABEA22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6312993" y="3257550"/>
            <a:ext cx="3457965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62" name="Полилиния 61">
            <a:extLst>
              <a:ext uri="{FF2B5EF4-FFF2-40B4-BE49-F238E27FC236}">
                <a16:creationId xmlns:a16="http://schemas.microsoft.com/office/drawing/2014/main" id="{844B65FF-8F1D-9B7A-C670-85D1BD4D669F}"/>
              </a:ext>
            </a:extLst>
          </p:cNvPr>
          <p:cNvSpPr/>
          <p:nvPr userDrawn="1"/>
        </p:nvSpPr>
        <p:spPr>
          <a:xfrm>
            <a:off x="8464620" y="8183118"/>
            <a:ext cx="3457965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3600"/>
          </a:p>
        </p:txBody>
      </p:sp>
      <p:sp>
        <p:nvSpPr>
          <p:cNvPr id="63" name="Полилиния 62">
            <a:extLst>
              <a:ext uri="{FF2B5EF4-FFF2-40B4-BE49-F238E27FC236}">
                <a16:creationId xmlns:a16="http://schemas.microsoft.com/office/drawing/2014/main" id="{66DE1641-69B4-7B64-5579-476722F8DCE9}"/>
              </a:ext>
            </a:extLst>
          </p:cNvPr>
          <p:cNvSpPr/>
          <p:nvPr userDrawn="1"/>
        </p:nvSpPr>
        <p:spPr>
          <a:xfrm>
            <a:off x="16312993" y="8183118"/>
            <a:ext cx="3457965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rgbClr val="799D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3600"/>
          </a:p>
        </p:txBody>
      </p:sp>
      <p:sp>
        <p:nvSpPr>
          <p:cNvPr id="64" name="Полилиния 63">
            <a:extLst>
              <a:ext uri="{FF2B5EF4-FFF2-40B4-BE49-F238E27FC236}">
                <a16:creationId xmlns:a16="http://schemas.microsoft.com/office/drawing/2014/main" id="{2DC6CC7B-C0F1-4C70-CB8B-54494CA8C1D8}"/>
              </a:ext>
            </a:extLst>
          </p:cNvPr>
          <p:cNvSpPr/>
          <p:nvPr userDrawn="1"/>
        </p:nvSpPr>
        <p:spPr>
          <a:xfrm>
            <a:off x="616247" y="8183118"/>
            <a:ext cx="3457965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3600"/>
          </a:p>
        </p:txBody>
      </p:sp>
      <p:sp>
        <p:nvSpPr>
          <p:cNvPr id="65" name="Рисунок 64">
            <a:extLst>
              <a:ext uri="{FF2B5EF4-FFF2-40B4-BE49-F238E27FC236}">
                <a16:creationId xmlns:a16="http://schemas.microsoft.com/office/drawing/2014/main" id="{8AFB329D-91C3-D5A1-3A4A-E2607CCAC88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16247" y="8183118"/>
            <a:ext cx="3457965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66" name="Рисунок 65">
            <a:extLst>
              <a:ext uri="{FF2B5EF4-FFF2-40B4-BE49-F238E27FC236}">
                <a16:creationId xmlns:a16="http://schemas.microsoft.com/office/drawing/2014/main" id="{B4689B75-C79E-E9C2-8422-6445C21F24A1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8464620" y="8183118"/>
            <a:ext cx="3457965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67" name="Рисунок 66">
            <a:extLst>
              <a:ext uri="{FF2B5EF4-FFF2-40B4-BE49-F238E27FC236}">
                <a16:creationId xmlns:a16="http://schemas.microsoft.com/office/drawing/2014/main" id="{7B999ADF-0EA7-B879-5D58-A02184B56EF1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6312993" y="8183118"/>
            <a:ext cx="3457965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</p:spTree>
    <p:extLst>
      <p:ext uri="{BB962C8B-B14F-4D97-AF65-F5344CB8AC3E}">
        <p14:creationId xmlns:p14="http://schemas.microsoft.com/office/powerpoint/2010/main" val="3463764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2035C08B-8751-1B4B-921E-E4E784040729}"/>
              </a:ext>
            </a:extLst>
          </p:cNvPr>
          <p:cNvSpPr txBox="1"/>
          <p:nvPr userDrawn="1"/>
        </p:nvSpPr>
        <p:spPr>
          <a:xfrm>
            <a:off x="20704629" y="881742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3DB6E3-9B06-CF4A-9B2D-85F4E8CCE7C2}"/>
              </a:ext>
            </a:extLst>
          </p:cNvPr>
          <p:cNvSpPr txBox="1"/>
          <p:nvPr userDrawn="1"/>
        </p:nvSpPr>
        <p:spPr>
          <a:xfrm>
            <a:off x="12496800" y="92964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09786C3-0447-4F46-851C-4016DA9ECB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11352" y="11731652"/>
            <a:ext cx="7740650" cy="105404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5F5D402-02C4-5740-B6B7-767551A4943D}"/>
              </a:ext>
            </a:extLst>
          </p:cNvPr>
          <p:cNvSpPr txBox="1"/>
          <p:nvPr userDrawn="1"/>
        </p:nvSpPr>
        <p:spPr>
          <a:xfrm>
            <a:off x="17094200" y="77216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BA0BDC5C-5AC9-A943-A53F-88B4510F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6276" y="1228459"/>
            <a:ext cx="21755487" cy="44546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180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15231858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2035C08B-8751-1B4B-921E-E4E784040729}"/>
              </a:ext>
            </a:extLst>
          </p:cNvPr>
          <p:cNvSpPr txBox="1"/>
          <p:nvPr userDrawn="1"/>
        </p:nvSpPr>
        <p:spPr>
          <a:xfrm>
            <a:off x="20704629" y="881742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3DB6E3-9B06-CF4A-9B2D-85F4E8CCE7C2}"/>
              </a:ext>
            </a:extLst>
          </p:cNvPr>
          <p:cNvSpPr txBox="1"/>
          <p:nvPr userDrawn="1"/>
        </p:nvSpPr>
        <p:spPr>
          <a:xfrm>
            <a:off x="12496800" y="92964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5F5D402-02C4-5740-B6B7-767551A4943D}"/>
              </a:ext>
            </a:extLst>
          </p:cNvPr>
          <p:cNvSpPr txBox="1"/>
          <p:nvPr userDrawn="1"/>
        </p:nvSpPr>
        <p:spPr>
          <a:xfrm>
            <a:off x="17094200" y="77216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6F7CAB5F-B781-FC4C-A91E-2BD82FB650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11352" y="11731652"/>
            <a:ext cx="7740650" cy="105404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FFA21B7-7D9E-1A4C-877C-EB695160728F}"/>
              </a:ext>
            </a:extLst>
          </p:cNvPr>
          <p:cNvSpPr txBox="1"/>
          <p:nvPr userDrawn="1"/>
        </p:nvSpPr>
        <p:spPr>
          <a:xfrm>
            <a:off x="27089100" y="817245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D3F291D4-B822-F04B-887A-EC537450C8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6276" y="1228459"/>
            <a:ext cx="21755487" cy="44546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180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12884099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">
    <p:bg>
      <p:bgPr>
        <a:solidFill>
          <a:schemeClr val="bg2">
            <a:lumMod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44A1AC5-FF74-4CD6-B6A7-067D983CA1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6276" y="1228459"/>
            <a:ext cx="21755487" cy="44546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18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035C08B-8751-1B4B-921E-E4E784040729}"/>
              </a:ext>
            </a:extLst>
          </p:cNvPr>
          <p:cNvSpPr txBox="1"/>
          <p:nvPr userDrawn="1"/>
        </p:nvSpPr>
        <p:spPr>
          <a:xfrm>
            <a:off x="20704629" y="881742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EE37A55-47B8-3646-B196-265116C6B9AB}"/>
              </a:ext>
            </a:extLst>
          </p:cNvPr>
          <p:cNvSpPr txBox="1"/>
          <p:nvPr userDrawn="1"/>
        </p:nvSpPr>
        <p:spPr>
          <a:xfrm>
            <a:off x="12217400" y="-5842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93E385-4AEE-1B40-A5C9-0C1B40DD947F}"/>
              </a:ext>
            </a:extLst>
          </p:cNvPr>
          <p:cNvSpPr txBox="1"/>
          <p:nvPr userDrawn="1"/>
        </p:nvSpPr>
        <p:spPr>
          <a:xfrm>
            <a:off x="12217400" y="-21590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5400" indent="-25400" algn="l">
              <a:tabLst/>
            </a:pPr>
            <a:endParaRPr lang="en-RU" sz="3200" err="1">
              <a:solidFill>
                <a:sysClr val="windowText" lastClr="000000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63A5871-08F8-1681-1495-CE388929C1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2494" y="11709826"/>
            <a:ext cx="7862094" cy="10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22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44A1AC5-FF74-4CD6-B6A7-067D983CA1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6276" y="1228459"/>
            <a:ext cx="21755487" cy="44546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1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035C08B-8751-1B4B-921E-E4E784040729}"/>
              </a:ext>
            </a:extLst>
          </p:cNvPr>
          <p:cNvSpPr txBox="1"/>
          <p:nvPr userDrawn="1"/>
        </p:nvSpPr>
        <p:spPr>
          <a:xfrm>
            <a:off x="20704629" y="881742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EE37A55-47B8-3646-B196-265116C6B9AB}"/>
              </a:ext>
            </a:extLst>
          </p:cNvPr>
          <p:cNvSpPr txBox="1"/>
          <p:nvPr userDrawn="1"/>
        </p:nvSpPr>
        <p:spPr>
          <a:xfrm>
            <a:off x="12217400" y="-5842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93E385-4AEE-1B40-A5C9-0C1B40DD947F}"/>
              </a:ext>
            </a:extLst>
          </p:cNvPr>
          <p:cNvSpPr txBox="1"/>
          <p:nvPr userDrawn="1"/>
        </p:nvSpPr>
        <p:spPr>
          <a:xfrm>
            <a:off x="12217400" y="-21590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5400" indent="-25400" algn="l">
              <a:tabLst/>
            </a:pPr>
            <a:endParaRPr lang="en-RU" sz="3200" err="1">
              <a:solidFill>
                <a:sysClr val="windowText" lastClr="000000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B6AB2FC-78D0-7A4B-C5A3-A39823F06E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7372" y="11742097"/>
            <a:ext cx="7739774" cy="102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0259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еребив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0D0EBE17-2011-0B4C-9E44-825996AF25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54048" y="1228459"/>
            <a:ext cx="21601113" cy="22386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18000">
                <a:solidFill>
                  <a:srgbClr val="000000"/>
                </a:solidFill>
              </a:defRPr>
            </a:lvl1pPr>
          </a:lstStyle>
          <a:p>
            <a:r>
              <a:rPr lang="ru-RU" dirty="0"/>
              <a:t>Название главы</a:t>
            </a:r>
          </a:p>
        </p:txBody>
      </p:sp>
      <p:sp>
        <p:nvSpPr>
          <p:cNvPr id="7" name="Номер слайда 9">
            <a:extLst>
              <a:ext uri="{FF2B5EF4-FFF2-40B4-BE49-F238E27FC236}">
                <a16:creationId xmlns:a16="http://schemas.microsoft.com/office/drawing/2014/main" id="{CCA98BE9-B6CD-D24B-A4EB-783B42514E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991763" y="12158276"/>
            <a:ext cx="869268" cy="730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2000">
                <a:solidFill>
                  <a:srgbClr val="BBBBBB"/>
                </a:solidFill>
              </a:defRPr>
            </a:lvl1pPr>
          </a:lstStyle>
          <a:p>
            <a:fld id="{283B1AB1-319D-4B24-A7E6-2CF2EF1A436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20757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еребив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44A1AC5-FF74-4CD6-B6A7-067D983CA1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54048" y="1228459"/>
            <a:ext cx="21601113" cy="44546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180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ru-RU" dirty="0"/>
              <a:t>Название главы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6" name="Номер слайда 9">
            <a:extLst>
              <a:ext uri="{FF2B5EF4-FFF2-40B4-BE49-F238E27FC236}">
                <a16:creationId xmlns:a16="http://schemas.microsoft.com/office/drawing/2014/main" id="{4BCD6006-395F-2047-BF67-5D00F1B534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991763" y="12158276"/>
            <a:ext cx="869268" cy="730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2000">
                <a:solidFill>
                  <a:srgbClr val="BBBBBB"/>
                </a:solidFill>
              </a:defRPr>
            </a:lvl1pPr>
          </a:lstStyle>
          <a:p>
            <a:fld id="{283B1AB1-319D-4B24-A7E6-2CF2EF1A436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90035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еребив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782EAF5C-288F-AD4A-9244-DE1BB62D4D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54048" y="1228459"/>
            <a:ext cx="21601113" cy="44546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180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главы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9" name="Номер слайда 9">
            <a:extLst>
              <a:ext uri="{FF2B5EF4-FFF2-40B4-BE49-F238E27FC236}">
                <a16:creationId xmlns:a16="http://schemas.microsoft.com/office/drawing/2014/main" id="{0FD6752C-B1B9-B147-8751-B4A50D323A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991763" y="12158276"/>
            <a:ext cx="869268" cy="730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2000">
                <a:solidFill>
                  <a:srgbClr val="BBBBBB"/>
                </a:solidFill>
              </a:defRPr>
            </a:lvl1pPr>
          </a:lstStyle>
          <a:p>
            <a:fld id="{283B1AB1-319D-4B24-A7E6-2CF2EF1A436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77524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Текст 6">
            <a:extLst>
              <a:ext uri="{FF2B5EF4-FFF2-40B4-BE49-F238E27FC236}">
                <a16:creationId xmlns:a16="http://schemas.microsoft.com/office/drawing/2014/main" id="{8CC1400C-72B2-0D44-B5EF-E675E69ED8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86430" y="4173979"/>
            <a:ext cx="8264119" cy="67193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Первый раздел</a:t>
            </a:r>
          </a:p>
        </p:txBody>
      </p:sp>
      <p:sp>
        <p:nvSpPr>
          <p:cNvPr id="46" name="Текст 6">
            <a:extLst>
              <a:ext uri="{FF2B5EF4-FFF2-40B4-BE49-F238E27FC236}">
                <a16:creationId xmlns:a16="http://schemas.microsoft.com/office/drawing/2014/main" id="{21404E55-A44C-0F42-B3BB-9AD19389C468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486430" y="5288473"/>
            <a:ext cx="8264119" cy="72145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Второй раздел</a:t>
            </a:r>
          </a:p>
        </p:txBody>
      </p:sp>
      <p:sp>
        <p:nvSpPr>
          <p:cNvPr id="47" name="Текст 6">
            <a:extLst>
              <a:ext uri="{FF2B5EF4-FFF2-40B4-BE49-F238E27FC236}">
                <a16:creationId xmlns:a16="http://schemas.microsoft.com/office/drawing/2014/main" id="{77379B48-990C-C046-B888-43B9B36757CC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2486430" y="6497271"/>
            <a:ext cx="8264119" cy="72145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Третий раздел</a:t>
            </a:r>
          </a:p>
        </p:txBody>
      </p:sp>
      <p:sp>
        <p:nvSpPr>
          <p:cNvPr id="48" name="Текст 6">
            <a:extLst>
              <a:ext uri="{FF2B5EF4-FFF2-40B4-BE49-F238E27FC236}">
                <a16:creationId xmlns:a16="http://schemas.microsoft.com/office/drawing/2014/main" id="{1DC26852-1BF1-FA4B-80F5-8A1A62CE081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486430" y="7718674"/>
            <a:ext cx="8264119" cy="72145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Четвёртый раздел</a:t>
            </a:r>
          </a:p>
        </p:txBody>
      </p:sp>
      <p:sp>
        <p:nvSpPr>
          <p:cNvPr id="49" name="Текст 6">
            <a:extLst>
              <a:ext uri="{FF2B5EF4-FFF2-40B4-BE49-F238E27FC236}">
                <a16:creationId xmlns:a16="http://schemas.microsoft.com/office/drawing/2014/main" id="{CEC51240-421E-D945-B2EA-8747ED5530F3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2486430" y="8940077"/>
            <a:ext cx="8264119" cy="730616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Пятый раздел</a:t>
            </a:r>
          </a:p>
        </p:txBody>
      </p:sp>
      <p:sp>
        <p:nvSpPr>
          <p:cNvPr id="50" name="Текст 6">
            <a:extLst>
              <a:ext uri="{FF2B5EF4-FFF2-40B4-BE49-F238E27FC236}">
                <a16:creationId xmlns:a16="http://schemas.microsoft.com/office/drawing/2014/main" id="{2F082D51-2FE4-454D-9669-98EF27911891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2486430" y="10170638"/>
            <a:ext cx="8264119" cy="730616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Шестой раздел</a:t>
            </a:r>
          </a:p>
        </p:txBody>
      </p:sp>
      <p:sp>
        <p:nvSpPr>
          <p:cNvPr id="51" name="Текст 6">
            <a:extLst>
              <a:ext uri="{FF2B5EF4-FFF2-40B4-BE49-F238E27FC236}">
                <a16:creationId xmlns:a16="http://schemas.microsoft.com/office/drawing/2014/main" id="{01A2C41D-E4E0-244B-A83B-411F4820CD55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394488" y="4173979"/>
            <a:ext cx="716431" cy="67193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52" name="Текст 6">
            <a:extLst>
              <a:ext uri="{FF2B5EF4-FFF2-40B4-BE49-F238E27FC236}">
                <a16:creationId xmlns:a16="http://schemas.microsoft.com/office/drawing/2014/main" id="{40D5A3BC-D2BE-704A-83E3-20380F222642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394488" y="5288473"/>
            <a:ext cx="716431" cy="72145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53" name="Текст 6">
            <a:extLst>
              <a:ext uri="{FF2B5EF4-FFF2-40B4-BE49-F238E27FC236}">
                <a16:creationId xmlns:a16="http://schemas.microsoft.com/office/drawing/2014/main" id="{BEFBBA07-2F05-1B49-A334-FBC6FD8B309D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1394488" y="6497271"/>
            <a:ext cx="716431" cy="72145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54" name="Текст 6">
            <a:extLst>
              <a:ext uri="{FF2B5EF4-FFF2-40B4-BE49-F238E27FC236}">
                <a16:creationId xmlns:a16="http://schemas.microsoft.com/office/drawing/2014/main" id="{B039901A-2568-A54A-970B-F3D27019E113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394488" y="7718674"/>
            <a:ext cx="716431" cy="72145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55" name="Текст 6">
            <a:extLst>
              <a:ext uri="{FF2B5EF4-FFF2-40B4-BE49-F238E27FC236}">
                <a16:creationId xmlns:a16="http://schemas.microsoft.com/office/drawing/2014/main" id="{36BE5921-1C89-2A40-854D-79F12A1A32B0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1394488" y="8940077"/>
            <a:ext cx="716431" cy="730616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56" name="Текст 6">
            <a:extLst>
              <a:ext uri="{FF2B5EF4-FFF2-40B4-BE49-F238E27FC236}">
                <a16:creationId xmlns:a16="http://schemas.microsoft.com/office/drawing/2014/main" id="{72AB9BA0-DAE3-FA48-8565-CFF0A79EE17B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1394488" y="10170638"/>
            <a:ext cx="716431" cy="730616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30" name="Текст 6">
            <a:extLst>
              <a:ext uri="{FF2B5EF4-FFF2-40B4-BE49-F238E27FC236}">
                <a16:creationId xmlns:a16="http://schemas.microsoft.com/office/drawing/2014/main" id="{3B39D8C5-7100-5E43-A705-0C430A86B4EA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13645439" y="4173979"/>
            <a:ext cx="8250543" cy="67193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Седьмой раздел</a:t>
            </a:r>
          </a:p>
        </p:txBody>
      </p:sp>
      <p:sp>
        <p:nvSpPr>
          <p:cNvPr id="31" name="Текст 6">
            <a:extLst>
              <a:ext uri="{FF2B5EF4-FFF2-40B4-BE49-F238E27FC236}">
                <a16:creationId xmlns:a16="http://schemas.microsoft.com/office/drawing/2014/main" id="{125FB5BA-E9BD-E841-9A3E-5795B3FDFF79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13645439" y="5288473"/>
            <a:ext cx="8250543" cy="72145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Восьмой раздел</a:t>
            </a:r>
          </a:p>
        </p:txBody>
      </p:sp>
      <p:sp>
        <p:nvSpPr>
          <p:cNvPr id="32" name="Текст 6">
            <a:extLst>
              <a:ext uri="{FF2B5EF4-FFF2-40B4-BE49-F238E27FC236}">
                <a16:creationId xmlns:a16="http://schemas.microsoft.com/office/drawing/2014/main" id="{F41B363C-8284-2945-A09A-1A1C674FF1F7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13645439" y="6497271"/>
            <a:ext cx="8250543" cy="72145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Девятый раздел</a:t>
            </a:r>
          </a:p>
        </p:txBody>
      </p:sp>
      <p:sp>
        <p:nvSpPr>
          <p:cNvPr id="33" name="Текст 6">
            <a:extLst>
              <a:ext uri="{FF2B5EF4-FFF2-40B4-BE49-F238E27FC236}">
                <a16:creationId xmlns:a16="http://schemas.microsoft.com/office/drawing/2014/main" id="{CB7BF8B1-0BC9-2D40-86F1-23CC6E02E4B3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13645439" y="7718674"/>
            <a:ext cx="8250543" cy="72145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Десятый раздел</a:t>
            </a:r>
          </a:p>
        </p:txBody>
      </p:sp>
      <p:sp>
        <p:nvSpPr>
          <p:cNvPr id="34" name="Текст 6">
            <a:extLst>
              <a:ext uri="{FF2B5EF4-FFF2-40B4-BE49-F238E27FC236}">
                <a16:creationId xmlns:a16="http://schemas.microsoft.com/office/drawing/2014/main" id="{DCD4ABA9-BC38-5446-8BF2-755FA568A9A0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13645439" y="8940077"/>
            <a:ext cx="8250543" cy="730616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диннадцатый раздел</a:t>
            </a:r>
          </a:p>
        </p:txBody>
      </p:sp>
      <p:sp>
        <p:nvSpPr>
          <p:cNvPr id="35" name="Текст 6">
            <a:extLst>
              <a:ext uri="{FF2B5EF4-FFF2-40B4-BE49-F238E27FC236}">
                <a16:creationId xmlns:a16="http://schemas.microsoft.com/office/drawing/2014/main" id="{0DF7F257-8C99-F44E-B8DA-82180CA825C4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13645439" y="10170638"/>
            <a:ext cx="8250543" cy="730616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 err="1"/>
              <a:t>Двеннадцатый</a:t>
            </a:r>
            <a:r>
              <a:rPr lang="ru-RU" dirty="0"/>
              <a:t> раздел</a:t>
            </a:r>
          </a:p>
        </p:txBody>
      </p:sp>
      <p:sp>
        <p:nvSpPr>
          <p:cNvPr id="36" name="Текст 6">
            <a:extLst>
              <a:ext uri="{FF2B5EF4-FFF2-40B4-BE49-F238E27FC236}">
                <a16:creationId xmlns:a16="http://schemas.microsoft.com/office/drawing/2014/main" id="{13707BC9-A76A-E044-8DE9-8AAFCB97F3D6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12546453" y="4173979"/>
            <a:ext cx="716431" cy="67193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37" name="Текст 6">
            <a:extLst>
              <a:ext uri="{FF2B5EF4-FFF2-40B4-BE49-F238E27FC236}">
                <a16:creationId xmlns:a16="http://schemas.microsoft.com/office/drawing/2014/main" id="{8CAED0D1-B233-AE42-A2D2-B06657418F37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12546453" y="5288473"/>
            <a:ext cx="716431" cy="72145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38" name="Текст 6">
            <a:extLst>
              <a:ext uri="{FF2B5EF4-FFF2-40B4-BE49-F238E27FC236}">
                <a16:creationId xmlns:a16="http://schemas.microsoft.com/office/drawing/2014/main" id="{66772A3E-42A5-8447-8457-35B50EA8EBC1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12546453" y="6497271"/>
            <a:ext cx="716431" cy="72145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39" name="Текст 6">
            <a:extLst>
              <a:ext uri="{FF2B5EF4-FFF2-40B4-BE49-F238E27FC236}">
                <a16:creationId xmlns:a16="http://schemas.microsoft.com/office/drawing/2014/main" id="{ED4B6B31-27BB-3E4F-B4FC-4008D56C0487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12546453" y="7718674"/>
            <a:ext cx="716431" cy="72145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40" name="Текст 6">
            <a:extLst>
              <a:ext uri="{FF2B5EF4-FFF2-40B4-BE49-F238E27FC236}">
                <a16:creationId xmlns:a16="http://schemas.microsoft.com/office/drawing/2014/main" id="{542B3392-46F0-7046-A56B-B90A40ECF928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12546453" y="8940077"/>
            <a:ext cx="716431" cy="730616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41" name="Текст 6">
            <a:extLst>
              <a:ext uri="{FF2B5EF4-FFF2-40B4-BE49-F238E27FC236}">
                <a16:creationId xmlns:a16="http://schemas.microsoft.com/office/drawing/2014/main" id="{5964C3C0-EACE-B846-B843-29CACBD660BB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12546453" y="10170638"/>
            <a:ext cx="716431" cy="730616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7E73C1D-4846-D049-9ED8-534E067F82EA}"/>
              </a:ext>
            </a:extLst>
          </p:cNvPr>
          <p:cNvSpPr txBox="1"/>
          <p:nvPr userDrawn="1"/>
        </p:nvSpPr>
        <p:spPr>
          <a:xfrm>
            <a:off x="12070080" y="1238358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5D99300C-E985-DB4C-8D72-31605BFAE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8348" y="1278688"/>
            <a:ext cx="13354050" cy="124373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</a:t>
            </a:r>
            <a:r>
              <a:rPr lang="ru-RU" dirty="0" err="1"/>
              <a:t>одерж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92339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B6EB489-81E6-46A3-B689-C8CAF85E6A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8348" y="1278688"/>
            <a:ext cx="13354050" cy="2474845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или важная мысль</a:t>
            </a:r>
          </a:p>
        </p:txBody>
      </p:sp>
      <p:sp>
        <p:nvSpPr>
          <p:cNvPr id="6" name="Номер слайда 9">
            <a:extLst>
              <a:ext uri="{FF2B5EF4-FFF2-40B4-BE49-F238E27FC236}">
                <a16:creationId xmlns:a16="http://schemas.microsoft.com/office/drawing/2014/main" id="{05F14BC1-4549-3D4E-9F5C-5DE97AB45E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991763" y="12158276"/>
            <a:ext cx="869268" cy="730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2000">
                <a:solidFill>
                  <a:srgbClr val="BBBBBB"/>
                </a:solidFill>
              </a:defRPr>
            </a:lvl1pPr>
          </a:lstStyle>
          <a:p>
            <a:fld id="{283B1AB1-319D-4B24-A7E6-2CF2EF1A436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79813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CA9D9C8-E2E4-F1FB-23FD-8A7F66EBC1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8348" y="1278688"/>
            <a:ext cx="13354050" cy="124373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3" name="Текст 3">
            <a:extLst>
              <a:ext uri="{FF2B5EF4-FFF2-40B4-BE49-F238E27FC236}">
                <a16:creationId xmlns:a16="http://schemas.microsoft.com/office/drawing/2014/main" id="{EE7ED86F-A4E2-F0F6-229B-BC01BDF2B8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86818" y="2963699"/>
            <a:ext cx="13354050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4000" baseline="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</p:spTree>
    <p:extLst>
      <p:ext uri="{BB962C8B-B14F-4D97-AF65-F5344CB8AC3E}">
        <p14:creationId xmlns:p14="http://schemas.microsoft.com/office/powerpoint/2010/main" val="22930369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>
            <a:extLst>
              <a:ext uri="{FF2B5EF4-FFF2-40B4-BE49-F238E27FC236}">
                <a16:creationId xmlns:a16="http://schemas.microsoft.com/office/drawing/2014/main" id="{138EF1E0-D24D-0940-B108-2A85B71FE1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86818" y="4224941"/>
            <a:ext cx="13354050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4000" baseline="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46D9333D-093A-314E-A3F5-BD9E0A4DBA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8348" y="1278688"/>
            <a:ext cx="13354050" cy="2474845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или важная мысль</a:t>
            </a:r>
          </a:p>
        </p:txBody>
      </p:sp>
      <p:sp>
        <p:nvSpPr>
          <p:cNvPr id="8" name="Номер слайда 9">
            <a:extLst>
              <a:ext uri="{FF2B5EF4-FFF2-40B4-BE49-F238E27FC236}">
                <a16:creationId xmlns:a16="http://schemas.microsoft.com/office/drawing/2014/main" id="{76A50304-D117-EF4D-8327-25EE8BD66D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991763" y="12158276"/>
            <a:ext cx="869268" cy="730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2000">
                <a:solidFill>
                  <a:srgbClr val="BBBBBB"/>
                </a:solidFill>
              </a:defRPr>
            </a:lvl1pPr>
          </a:lstStyle>
          <a:p>
            <a:fld id="{283B1AB1-319D-4B24-A7E6-2CF2EF1A4365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3985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итульный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2035C08B-8751-1B4B-921E-E4E784040729}"/>
              </a:ext>
            </a:extLst>
          </p:cNvPr>
          <p:cNvSpPr txBox="1"/>
          <p:nvPr userDrawn="1"/>
        </p:nvSpPr>
        <p:spPr>
          <a:xfrm>
            <a:off x="20704629" y="881742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3DB6E3-9B06-CF4A-9B2D-85F4E8CCE7C2}"/>
              </a:ext>
            </a:extLst>
          </p:cNvPr>
          <p:cNvSpPr txBox="1"/>
          <p:nvPr userDrawn="1"/>
        </p:nvSpPr>
        <p:spPr>
          <a:xfrm>
            <a:off x="12496800" y="92964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5F5D402-02C4-5740-B6B7-767551A4943D}"/>
              </a:ext>
            </a:extLst>
          </p:cNvPr>
          <p:cNvSpPr txBox="1"/>
          <p:nvPr userDrawn="1"/>
        </p:nvSpPr>
        <p:spPr>
          <a:xfrm>
            <a:off x="17094200" y="77216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BA0BDC5C-5AC9-A943-A53F-88B4510F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6276" y="1228459"/>
            <a:ext cx="21755487" cy="44546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180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29161113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цифр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3">
            <a:extLst>
              <a:ext uri="{FF2B5EF4-FFF2-40B4-BE49-F238E27FC236}">
                <a16:creationId xmlns:a16="http://schemas.microsoft.com/office/drawing/2014/main" id="{41EE88AA-FAB4-BF42-8908-ED1379BF8F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45803" y="4764319"/>
            <a:ext cx="13354050" cy="23630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19000" baseline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r>
              <a:rPr lang="ru-RU" dirty="0"/>
              <a:t>Цифра</a:t>
            </a:r>
            <a:endParaRPr lang="en-RU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0A451C00-FF3A-A941-914B-640DA3A9A5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8348" y="1278688"/>
            <a:ext cx="13354050" cy="2474845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или важная мысль</a:t>
            </a:r>
          </a:p>
        </p:txBody>
      </p:sp>
      <p:sp>
        <p:nvSpPr>
          <p:cNvPr id="7" name="Номер слайда 9">
            <a:extLst>
              <a:ext uri="{FF2B5EF4-FFF2-40B4-BE49-F238E27FC236}">
                <a16:creationId xmlns:a16="http://schemas.microsoft.com/office/drawing/2014/main" id="{4CA2D73A-74A0-EF44-821F-5BDA249FF7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991763" y="12158276"/>
            <a:ext cx="869268" cy="730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2000">
                <a:solidFill>
                  <a:srgbClr val="BBBBBB"/>
                </a:solidFill>
              </a:defRPr>
            </a:lvl1pPr>
          </a:lstStyle>
          <a:p>
            <a:fld id="{283B1AB1-319D-4B24-A7E6-2CF2EF1A4365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081490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цифр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3">
            <a:extLst>
              <a:ext uri="{FF2B5EF4-FFF2-40B4-BE49-F238E27FC236}">
                <a16:creationId xmlns:a16="http://schemas.microsoft.com/office/drawing/2014/main" id="{41EE88AA-FAB4-BF42-8908-ED1379BF8F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9059" y="3429430"/>
            <a:ext cx="5002529" cy="12437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10000" baseline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r>
              <a:rPr lang="ru-RU" dirty="0"/>
              <a:t>Цифры</a:t>
            </a:r>
            <a:endParaRPr lang="en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6375E2-3CCF-2B46-9220-927D18EF0998}"/>
              </a:ext>
            </a:extLst>
          </p:cNvPr>
          <p:cNvSpPr txBox="1"/>
          <p:nvPr userDrawn="1"/>
        </p:nvSpPr>
        <p:spPr>
          <a:xfrm>
            <a:off x="15941040" y="1130808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2A558C7A-884F-EB4F-B474-489D872D44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8348" y="1278688"/>
            <a:ext cx="13354050" cy="1243738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11" name="Номер слайда 9">
            <a:extLst>
              <a:ext uri="{FF2B5EF4-FFF2-40B4-BE49-F238E27FC236}">
                <a16:creationId xmlns:a16="http://schemas.microsoft.com/office/drawing/2014/main" id="{F52E5A29-BDB0-5F49-841D-6D1D448159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991763" y="12158276"/>
            <a:ext cx="869268" cy="730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2000">
                <a:solidFill>
                  <a:srgbClr val="BBBBBB"/>
                </a:solidFill>
              </a:defRPr>
            </a:lvl1pPr>
          </a:lstStyle>
          <a:p>
            <a:fld id="{283B1AB1-319D-4B24-A7E6-2CF2EF1A4365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301955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9">
            <a:extLst>
              <a:ext uri="{FF2B5EF4-FFF2-40B4-BE49-F238E27FC236}">
                <a16:creationId xmlns:a16="http://schemas.microsoft.com/office/drawing/2014/main" id="{72DE38FD-585F-0945-9415-0E6F1C1B59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991763" y="12158276"/>
            <a:ext cx="869268" cy="730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2000">
                <a:solidFill>
                  <a:srgbClr val="BBBBBB"/>
                </a:solidFill>
              </a:defRPr>
            </a:lvl1pPr>
          </a:lstStyle>
          <a:p>
            <a:fld id="{283B1AB1-319D-4B24-A7E6-2CF2EF1A4365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95717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42126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F0F519F-CBB3-49BD-8AE1-89BAE5EB0A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1064" t="1916" r="51695" b="60845"/>
          <a:stretch/>
        </p:blipFill>
        <p:spPr>
          <a:xfrm flipH="1">
            <a:off x="0" y="0"/>
            <a:ext cx="24382413" cy="13716000"/>
          </a:xfrm>
          <a:prstGeom prst="rect">
            <a:avLst/>
          </a:prstGeom>
        </p:spPr>
      </p:pic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5" y="894350"/>
            <a:ext cx="12309773" cy="4234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CA8D2E80-3E32-425F-A20B-6AA5A6FC084F}"/>
              </a:ext>
            </a:extLst>
          </p:cNvPr>
          <p:cNvCxnSpPr>
            <a:cxnSpLocks/>
          </p:cNvCxnSpPr>
          <p:nvPr userDrawn="1"/>
        </p:nvCxnSpPr>
        <p:spPr>
          <a:xfrm>
            <a:off x="600037" y="7899796"/>
            <a:ext cx="914340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>
            <a:extLst>
              <a:ext uri="{FF2B5EF4-FFF2-40B4-BE49-F238E27FC236}">
                <a16:creationId xmlns:a16="http://schemas.microsoft.com/office/drawing/2014/main" id="{97DB6552-5173-5B85-DE2F-4E675C4351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5087" y="8292234"/>
            <a:ext cx="9118355" cy="48265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 marL="914354" indent="0">
              <a:buNone/>
              <a:defRPr sz="2800">
                <a:solidFill>
                  <a:schemeClr val="tx2"/>
                </a:solidFill>
              </a:defRPr>
            </a:lvl2pPr>
            <a:lvl3pPr marL="1828709" indent="0">
              <a:buNone/>
              <a:defRPr sz="2800">
                <a:solidFill>
                  <a:schemeClr val="tx2"/>
                </a:solidFill>
              </a:defRPr>
            </a:lvl3pPr>
            <a:lvl4pPr marL="2743063" indent="0">
              <a:buNone/>
              <a:defRPr sz="2800">
                <a:solidFill>
                  <a:schemeClr val="tx2"/>
                </a:solidFill>
              </a:defRPr>
            </a:lvl4pPr>
            <a:lvl5pPr marL="3657417" indent="0">
              <a:buNone/>
              <a:defRPr sz="2800"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4472B09E-2535-AE06-F945-A58F9A50C16F}"/>
              </a:ext>
            </a:extLst>
          </p:cNvPr>
          <p:cNvCxnSpPr>
            <a:cxnSpLocks/>
          </p:cNvCxnSpPr>
          <p:nvPr userDrawn="1"/>
        </p:nvCxnSpPr>
        <p:spPr>
          <a:xfrm>
            <a:off x="10111437" y="7899796"/>
            <a:ext cx="415954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DA828922-057E-1576-C90C-5D646CBAE249}"/>
              </a:ext>
            </a:extLst>
          </p:cNvPr>
          <p:cNvCxnSpPr>
            <a:cxnSpLocks/>
          </p:cNvCxnSpPr>
          <p:nvPr userDrawn="1"/>
        </p:nvCxnSpPr>
        <p:spPr>
          <a:xfrm>
            <a:off x="14638973" y="7899796"/>
            <a:ext cx="914340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Объект 5">
            <a:extLst>
              <a:ext uri="{FF2B5EF4-FFF2-40B4-BE49-F238E27FC236}">
                <a16:creationId xmlns:a16="http://schemas.microsoft.com/office/drawing/2014/main" id="{08015A76-D705-C38C-003A-D5076C831AC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111438" y="8292237"/>
            <a:ext cx="3966902" cy="482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 marL="914354" indent="0">
              <a:buNone/>
              <a:defRPr sz="2800">
                <a:solidFill>
                  <a:schemeClr val="tx2"/>
                </a:solidFill>
              </a:defRPr>
            </a:lvl2pPr>
            <a:lvl3pPr marL="1828709" indent="0">
              <a:buNone/>
              <a:defRPr sz="2800">
                <a:solidFill>
                  <a:schemeClr val="tx2"/>
                </a:solidFill>
              </a:defRPr>
            </a:lvl3pPr>
            <a:lvl4pPr marL="2743063" indent="0">
              <a:buNone/>
              <a:defRPr sz="2800">
                <a:solidFill>
                  <a:schemeClr val="tx2"/>
                </a:solidFill>
              </a:defRPr>
            </a:lvl4pPr>
            <a:lvl5pPr marL="3657417" indent="0">
              <a:buNone/>
              <a:defRPr sz="2800"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415E8FE2-E4CE-BBFF-D70B-DEB4B3C537FD}"/>
              </a:ext>
            </a:extLst>
          </p:cNvPr>
          <p:cNvCxnSpPr>
            <a:cxnSpLocks/>
          </p:cNvCxnSpPr>
          <p:nvPr userDrawn="1"/>
        </p:nvCxnSpPr>
        <p:spPr>
          <a:xfrm>
            <a:off x="14454975" y="8085550"/>
            <a:ext cx="0" cy="504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499CD342-3BE1-C276-4C86-6C6E8DBC767B}"/>
              </a:ext>
            </a:extLst>
          </p:cNvPr>
          <p:cNvCxnSpPr>
            <a:cxnSpLocks/>
          </p:cNvCxnSpPr>
          <p:nvPr userDrawn="1"/>
        </p:nvCxnSpPr>
        <p:spPr>
          <a:xfrm>
            <a:off x="9927440" y="8085550"/>
            <a:ext cx="0" cy="504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63CC49FF-7D1A-7E71-D3BB-4AD57E47C3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621533" y="12774661"/>
            <a:ext cx="4159541" cy="427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8121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 без волн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5" y="894350"/>
            <a:ext cx="12309773" cy="4234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CA8D2E80-3E32-425F-A20B-6AA5A6FC084F}"/>
              </a:ext>
            </a:extLst>
          </p:cNvPr>
          <p:cNvCxnSpPr>
            <a:cxnSpLocks/>
          </p:cNvCxnSpPr>
          <p:nvPr userDrawn="1"/>
        </p:nvCxnSpPr>
        <p:spPr>
          <a:xfrm>
            <a:off x="600037" y="7899796"/>
            <a:ext cx="914340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>
            <a:extLst>
              <a:ext uri="{FF2B5EF4-FFF2-40B4-BE49-F238E27FC236}">
                <a16:creationId xmlns:a16="http://schemas.microsoft.com/office/drawing/2014/main" id="{97DB6552-5173-5B85-DE2F-4E675C4351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5087" y="8292234"/>
            <a:ext cx="9118355" cy="48265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914354" indent="0">
              <a:buNone/>
              <a:defRPr sz="2800">
                <a:solidFill>
                  <a:schemeClr val="bg1"/>
                </a:solidFill>
              </a:defRPr>
            </a:lvl2pPr>
            <a:lvl3pPr marL="1828709" indent="0">
              <a:buNone/>
              <a:defRPr sz="2800">
                <a:solidFill>
                  <a:schemeClr val="bg1"/>
                </a:solidFill>
              </a:defRPr>
            </a:lvl3pPr>
            <a:lvl4pPr marL="2743063" indent="0">
              <a:buNone/>
              <a:defRPr sz="2800">
                <a:solidFill>
                  <a:schemeClr val="bg1"/>
                </a:solidFill>
              </a:defRPr>
            </a:lvl4pPr>
            <a:lvl5pPr marL="3657417" indent="0">
              <a:buNone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4472B09E-2535-AE06-F945-A58F9A50C16F}"/>
              </a:ext>
            </a:extLst>
          </p:cNvPr>
          <p:cNvCxnSpPr>
            <a:cxnSpLocks/>
          </p:cNvCxnSpPr>
          <p:nvPr userDrawn="1"/>
        </p:nvCxnSpPr>
        <p:spPr>
          <a:xfrm>
            <a:off x="10111437" y="7899796"/>
            <a:ext cx="415954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DA828922-057E-1576-C90C-5D646CBAE249}"/>
              </a:ext>
            </a:extLst>
          </p:cNvPr>
          <p:cNvCxnSpPr>
            <a:cxnSpLocks/>
          </p:cNvCxnSpPr>
          <p:nvPr userDrawn="1"/>
        </p:nvCxnSpPr>
        <p:spPr>
          <a:xfrm>
            <a:off x="14638973" y="7899796"/>
            <a:ext cx="914340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Объект 5">
            <a:extLst>
              <a:ext uri="{FF2B5EF4-FFF2-40B4-BE49-F238E27FC236}">
                <a16:creationId xmlns:a16="http://schemas.microsoft.com/office/drawing/2014/main" id="{08015A76-D705-C38C-003A-D5076C831AC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111438" y="8292237"/>
            <a:ext cx="3966902" cy="482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914354" indent="0">
              <a:buNone/>
              <a:defRPr sz="2800">
                <a:solidFill>
                  <a:schemeClr val="bg1"/>
                </a:solidFill>
              </a:defRPr>
            </a:lvl2pPr>
            <a:lvl3pPr marL="1828709" indent="0">
              <a:buNone/>
              <a:defRPr sz="2800">
                <a:solidFill>
                  <a:schemeClr val="bg1"/>
                </a:solidFill>
              </a:defRPr>
            </a:lvl3pPr>
            <a:lvl4pPr marL="2743063" indent="0">
              <a:buNone/>
              <a:defRPr sz="2800">
                <a:solidFill>
                  <a:schemeClr val="bg1"/>
                </a:solidFill>
              </a:defRPr>
            </a:lvl4pPr>
            <a:lvl5pPr marL="3657417" indent="0">
              <a:buNone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415E8FE2-E4CE-BBFF-D70B-DEB4B3C537FD}"/>
              </a:ext>
            </a:extLst>
          </p:cNvPr>
          <p:cNvCxnSpPr>
            <a:cxnSpLocks/>
          </p:cNvCxnSpPr>
          <p:nvPr userDrawn="1"/>
        </p:nvCxnSpPr>
        <p:spPr>
          <a:xfrm>
            <a:off x="14454975" y="8085550"/>
            <a:ext cx="0" cy="504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499CD342-3BE1-C276-4C86-6C6E8DBC767B}"/>
              </a:ext>
            </a:extLst>
          </p:cNvPr>
          <p:cNvCxnSpPr>
            <a:cxnSpLocks/>
          </p:cNvCxnSpPr>
          <p:nvPr userDrawn="1"/>
        </p:nvCxnSpPr>
        <p:spPr>
          <a:xfrm>
            <a:off x="9927440" y="8085550"/>
            <a:ext cx="0" cy="504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BF682C4-1AA3-B426-4CAB-063076FF1E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621533" y="12774661"/>
            <a:ext cx="4159541" cy="427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3491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5" y="894350"/>
            <a:ext cx="12309773" cy="4234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CA8D2E80-3E32-425F-A20B-6AA5A6FC084F}"/>
              </a:ext>
            </a:extLst>
          </p:cNvPr>
          <p:cNvCxnSpPr>
            <a:cxnSpLocks/>
          </p:cNvCxnSpPr>
          <p:nvPr userDrawn="1"/>
        </p:nvCxnSpPr>
        <p:spPr>
          <a:xfrm>
            <a:off x="600038" y="7899796"/>
            <a:ext cx="93273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>
            <a:extLst>
              <a:ext uri="{FF2B5EF4-FFF2-40B4-BE49-F238E27FC236}">
                <a16:creationId xmlns:a16="http://schemas.microsoft.com/office/drawing/2014/main" id="{97DB6552-5173-5B85-DE2F-4E675C4351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566192" y="8292235"/>
            <a:ext cx="13342696" cy="23454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914354" indent="0">
              <a:buNone/>
              <a:defRPr sz="2800">
                <a:solidFill>
                  <a:schemeClr val="bg1"/>
                </a:solidFill>
              </a:defRPr>
            </a:lvl2pPr>
            <a:lvl3pPr marL="1828709" indent="0">
              <a:buNone/>
              <a:defRPr sz="2800">
                <a:solidFill>
                  <a:schemeClr val="bg1"/>
                </a:solidFill>
              </a:defRPr>
            </a:lvl3pPr>
            <a:lvl4pPr marL="2743063" indent="0">
              <a:buNone/>
              <a:defRPr sz="2800">
                <a:solidFill>
                  <a:schemeClr val="bg1"/>
                </a:solidFill>
              </a:defRPr>
            </a:lvl4pPr>
            <a:lvl5pPr marL="3657417" indent="0">
              <a:buNone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DA828922-057E-1576-C90C-5D646CBAE249}"/>
              </a:ext>
            </a:extLst>
          </p:cNvPr>
          <p:cNvCxnSpPr>
            <a:cxnSpLocks/>
          </p:cNvCxnSpPr>
          <p:nvPr userDrawn="1"/>
        </p:nvCxnSpPr>
        <p:spPr>
          <a:xfrm>
            <a:off x="10553474" y="7899796"/>
            <a:ext cx="1322890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415E8FE2-E4CE-BBFF-D70B-DEB4B3C537FD}"/>
              </a:ext>
            </a:extLst>
          </p:cNvPr>
          <p:cNvCxnSpPr>
            <a:cxnSpLocks/>
          </p:cNvCxnSpPr>
          <p:nvPr userDrawn="1"/>
        </p:nvCxnSpPr>
        <p:spPr>
          <a:xfrm>
            <a:off x="10246807" y="8085550"/>
            <a:ext cx="0" cy="504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BF682C4-1AA3-B426-4CAB-063076FF1E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621533" y="12774661"/>
            <a:ext cx="4159541" cy="427378"/>
          </a:xfrm>
          <a:prstGeom prst="rect">
            <a:avLst/>
          </a:prstGeom>
        </p:spPr>
      </p:pic>
      <p:sp>
        <p:nvSpPr>
          <p:cNvPr id="7" name="Рисунок 3">
            <a:extLst>
              <a:ext uri="{FF2B5EF4-FFF2-40B4-BE49-F238E27FC236}">
                <a16:creationId xmlns:a16="http://schemas.microsoft.com/office/drawing/2014/main" id="{B7E98E1C-85F0-1F1E-7F03-264C31CB0B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1342" y="8292236"/>
            <a:ext cx="9326083" cy="4830040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</p:spTree>
    <p:extLst>
      <p:ext uri="{BB962C8B-B14F-4D97-AF65-F5344CB8AC3E}">
        <p14:creationId xmlns:p14="http://schemas.microsoft.com/office/powerpoint/2010/main" val="16612888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5" y="894350"/>
            <a:ext cx="12309773" cy="4234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CA8D2E80-3E32-425F-A20B-6AA5A6FC084F}"/>
              </a:ext>
            </a:extLst>
          </p:cNvPr>
          <p:cNvCxnSpPr>
            <a:cxnSpLocks/>
          </p:cNvCxnSpPr>
          <p:nvPr userDrawn="1"/>
        </p:nvCxnSpPr>
        <p:spPr>
          <a:xfrm>
            <a:off x="600037" y="7766476"/>
            <a:ext cx="122257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>
            <a:extLst>
              <a:ext uri="{FF2B5EF4-FFF2-40B4-BE49-F238E27FC236}">
                <a16:creationId xmlns:a16="http://schemas.microsoft.com/office/drawing/2014/main" id="{97DB6552-5173-5B85-DE2F-4E675C4351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0037" y="8160031"/>
            <a:ext cx="12225768" cy="290089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914354" indent="0">
              <a:buNone/>
              <a:defRPr sz="2800">
                <a:solidFill>
                  <a:schemeClr val="bg1"/>
                </a:solidFill>
              </a:defRPr>
            </a:lvl2pPr>
            <a:lvl3pPr marL="1828709" indent="0">
              <a:buNone/>
              <a:defRPr sz="2800">
                <a:solidFill>
                  <a:schemeClr val="bg1"/>
                </a:solidFill>
              </a:defRPr>
            </a:lvl3pPr>
            <a:lvl4pPr marL="2743063" indent="0">
              <a:buNone/>
              <a:defRPr sz="2800">
                <a:solidFill>
                  <a:schemeClr val="bg1"/>
                </a:solidFill>
              </a:defRPr>
            </a:lvl4pPr>
            <a:lvl5pPr marL="3657417" indent="0">
              <a:buNone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DA828922-057E-1576-C90C-5D646CBAE249}"/>
              </a:ext>
            </a:extLst>
          </p:cNvPr>
          <p:cNvCxnSpPr>
            <a:cxnSpLocks/>
          </p:cNvCxnSpPr>
          <p:nvPr userDrawn="1"/>
        </p:nvCxnSpPr>
        <p:spPr>
          <a:xfrm flipV="1">
            <a:off x="13175316" y="593726"/>
            <a:ext cx="0" cy="685367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415E8FE2-E4CE-BBFF-D70B-DEB4B3C537FD}"/>
              </a:ext>
            </a:extLst>
          </p:cNvPr>
          <p:cNvCxnSpPr>
            <a:cxnSpLocks/>
          </p:cNvCxnSpPr>
          <p:nvPr userDrawn="1"/>
        </p:nvCxnSpPr>
        <p:spPr>
          <a:xfrm>
            <a:off x="13175316" y="8085551"/>
            <a:ext cx="0" cy="42753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BF682C4-1AA3-B426-4CAB-063076FF1E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621533" y="12774661"/>
            <a:ext cx="4159541" cy="427378"/>
          </a:xfrm>
          <a:prstGeom prst="rect">
            <a:avLst/>
          </a:prstGeom>
        </p:spPr>
      </p:pic>
      <p:sp>
        <p:nvSpPr>
          <p:cNvPr id="7" name="Рисунок 3">
            <a:extLst>
              <a:ext uri="{FF2B5EF4-FFF2-40B4-BE49-F238E27FC236}">
                <a16:creationId xmlns:a16="http://schemas.microsoft.com/office/drawing/2014/main" id="{B7E98E1C-85F0-1F1E-7F03-264C31CB0B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524819" y="624756"/>
            <a:ext cx="10256258" cy="11736168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</p:spTree>
    <p:extLst>
      <p:ext uri="{BB962C8B-B14F-4D97-AF65-F5344CB8AC3E}">
        <p14:creationId xmlns:p14="http://schemas.microsoft.com/office/powerpoint/2010/main" val="11409480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с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3">
            <a:extLst>
              <a:ext uri="{FF2B5EF4-FFF2-40B4-BE49-F238E27FC236}">
                <a16:creationId xmlns:a16="http://schemas.microsoft.com/office/drawing/2014/main" id="{CC376C89-FD9D-E765-F7A8-7268B12B228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24382413" cy="13716000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</a:t>
            </a:r>
            <a:br>
              <a:rPr lang="ru-RU" dirty="0"/>
            </a:br>
            <a:r>
              <a:rPr lang="ru-RU" dirty="0"/>
              <a:t>фото сюда</a:t>
            </a:r>
          </a:p>
        </p:txBody>
      </p:sp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5" y="894350"/>
            <a:ext cx="17374267" cy="4234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" name="Объект 5">
            <a:extLst>
              <a:ext uri="{FF2B5EF4-FFF2-40B4-BE49-F238E27FC236}">
                <a16:creationId xmlns:a16="http://schemas.microsoft.com/office/drawing/2014/main" id="{91E1CCCF-2F49-653B-8675-37FB57D8794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5086" y="12457045"/>
            <a:ext cx="17220361" cy="66176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914354" indent="0">
              <a:buNone/>
              <a:defRPr sz="2800">
                <a:solidFill>
                  <a:schemeClr val="bg1"/>
                </a:solidFill>
              </a:defRPr>
            </a:lvl2pPr>
            <a:lvl3pPr marL="1828709" indent="0">
              <a:buNone/>
              <a:defRPr sz="2800">
                <a:solidFill>
                  <a:schemeClr val="bg1"/>
                </a:solidFill>
              </a:defRPr>
            </a:lvl3pPr>
            <a:lvl4pPr marL="2743063" indent="0">
              <a:buNone/>
              <a:defRPr sz="2800">
                <a:solidFill>
                  <a:schemeClr val="bg1"/>
                </a:solidFill>
              </a:defRPr>
            </a:lvl4pPr>
            <a:lvl5pPr marL="3657417" indent="0">
              <a:buNone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5684A01-2CD5-9B11-1585-3AEC9DBE44B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621533" y="12774661"/>
            <a:ext cx="4159541" cy="427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0239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Отб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01D9FD1-316C-38C1-4D66-0E78322314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4382413" cy="13716000"/>
          </a:xfrm>
          <a:prstGeom prst="rect">
            <a:avLst/>
          </a:prstGeom>
        </p:spPr>
      </p:pic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5" y="894350"/>
            <a:ext cx="17374267" cy="4234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" name="Объект 5">
            <a:extLst>
              <a:ext uri="{FF2B5EF4-FFF2-40B4-BE49-F238E27FC236}">
                <a16:creationId xmlns:a16="http://schemas.microsoft.com/office/drawing/2014/main" id="{91E1CCCF-2F49-653B-8675-37FB57D8794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5086" y="12457045"/>
            <a:ext cx="17220361" cy="66176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914354" indent="0">
              <a:buNone/>
              <a:defRPr sz="2800">
                <a:solidFill>
                  <a:schemeClr val="bg1"/>
                </a:solidFill>
              </a:defRPr>
            </a:lvl2pPr>
            <a:lvl3pPr marL="1828709" indent="0">
              <a:buNone/>
              <a:defRPr sz="2800">
                <a:solidFill>
                  <a:schemeClr val="bg1"/>
                </a:solidFill>
              </a:defRPr>
            </a:lvl3pPr>
            <a:lvl4pPr marL="2743063" indent="0">
              <a:buNone/>
              <a:defRPr sz="2800">
                <a:solidFill>
                  <a:schemeClr val="bg1"/>
                </a:solidFill>
              </a:defRPr>
            </a:lvl4pPr>
            <a:lvl5pPr marL="3657417" indent="0">
              <a:buNone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5684A01-2CD5-9B11-1585-3AEC9DBE44B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621533" y="12774661"/>
            <a:ext cx="4159541" cy="427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199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2035C08B-8751-1B4B-921E-E4E784040729}"/>
              </a:ext>
            </a:extLst>
          </p:cNvPr>
          <p:cNvSpPr txBox="1"/>
          <p:nvPr userDrawn="1"/>
        </p:nvSpPr>
        <p:spPr>
          <a:xfrm>
            <a:off x="20704629" y="881742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3DB6E3-9B06-CF4A-9B2D-85F4E8CCE7C2}"/>
              </a:ext>
            </a:extLst>
          </p:cNvPr>
          <p:cNvSpPr txBox="1"/>
          <p:nvPr userDrawn="1"/>
        </p:nvSpPr>
        <p:spPr>
          <a:xfrm>
            <a:off x="12496800" y="92964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5F5D402-02C4-5740-B6B7-767551A4943D}"/>
              </a:ext>
            </a:extLst>
          </p:cNvPr>
          <p:cNvSpPr txBox="1"/>
          <p:nvPr userDrawn="1"/>
        </p:nvSpPr>
        <p:spPr>
          <a:xfrm>
            <a:off x="17094200" y="77216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6F7CAB5F-B781-FC4C-A91E-2BD82FB650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11352" y="11731652"/>
            <a:ext cx="7740650" cy="105404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FFA21B7-7D9E-1A4C-877C-EB695160728F}"/>
              </a:ext>
            </a:extLst>
          </p:cNvPr>
          <p:cNvSpPr txBox="1"/>
          <p:nvPr userDrawn="1"/>
        </p:nvSpPr>
        <p:spPr>
          <a:xfrm>
            <a:off x="27089100" y="817245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D3F291D4-B822-F04B-887A-EC537450C8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6276" y="1228459"/>
            <a:ext cx="21755487" cy="44546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180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2643217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Отб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4E550E9-6C6C-5146-1A1C-27D936697F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4382413" cy="13716000"/>
          </a:xfrm>
          <a:prstGeom prst="rect">
            <a:avLst/>
          </a:prstGeom>
        </p:spPr>
      </p:pic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5" y="894350"/>
            <a:ext cx="17374267" cy="4234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" name="Объект 5">
            <a:extLst>
              <a:ext uri="{FF2B5EF4-FFF2-40B4-BE49-F238E27FC236}">
                <a16:creationId xmlns:a16="http://schemas.microsoft.com/office/drawing/2014/main" id="{91E1CCCF-2F49-653B-8675-37FB57D8794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5086" y="12457045"/>
            <a:ext cx="17220361" cy="66176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914354" indent="0">
              <a:buNone/>
              <a:defRPr sz="2800">
                <a:solidFill>
                  <a:schemeClr val="bg1"/>
                </a:solidFill>
              </a:defRPr>
            </a:lvl2pPr>
            <a:lvl3pPr marL="1828709" indent="0">
              <a:buNone/>
              <a:defRPr sz="2800">
                <a:solidFill>
                  <a:schemeClr val="bg1"/>
                </a:solidFill>
              </a:defRPr>
            </a:lvl3pPr>
            <a:lvl4pPr marL="2743063" indent="0">
              <a:buNone/>
              <a:defRPr sz="2800">
                <a:solidFill>
                  <a:schemeClr val="bg1"/>
                </a:solidFill>
              </a:defRPr>
            </a:lvl4pPr>
            <a:lvl5pPr marL="3657417" indent="0">
              <a:buNone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5684A01-2CD5-9B11-1585-3AEC9DBE44B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621533" y="12774661"/>
            <a:ext cx="4159541" cy="427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60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Отб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9109207-5A8C-9CA3-C5E3-C77AA829A7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0686" t="5937" r="47489" b="62239"/>
          <a:stretch/>
        </p:blipFill>
        <p:spPr>
          <a:xfrm flipH="1">
            <a:off x="0" y="0"/>
            <a:ext cx="24382413" cy="13716000"/>
          </a:xfrm>
          <a:prstGeom prst="rect">
            <a:avLst/>
          </a:prstGeom>
        </p:spPr>
      </p:pic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5" y="894350"/>
            <a:ext cx="17374267" cy="4234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" name="Объект 5">
            <a:extLst>
              <a:ext uri="{FF2B5EF4-FFF2-40B4-BE49-F238E27FC236}">
                <a16:creationId xmlns:a16="http://schemas.microsoft.com/office/drawing/2014/main" id="{91E1CCCF-2F49-653B-8675-37FB57D8794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5086" y="12457045"/>
            <a:ext cx="17220361" cy="66176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914354" indent="0">
              <a:buNone/>
              <a:defRPr sz="2800">
                <a:solidFill>
                  <a:schemeClr val="bg1"/>
                </a:solidFill>
              </a:defRPr>
            </a:lvl2pPr>
            <a:lvl3pPr marL="1828709" indent="0">
              <a:buNone/>
              <a:defRPr sz="2800">
                <a:solidFill>
                  <a:schemeClr val="bg1"/>
                </a:solidFill>
              </a:defRPr>
            </a:lvl3pPr>
            <a:lvl4pPr marL="2743063" indent="0">
              <a:buNone/>
              <a:defRPr sz="2800">
                <a:solidFill>
                  <a:schemeClr val="bg1"/>
                </a:solidFill>
              </a:defRPr>
            </a:lvl4pPr>
            <a:lvl5pPr marL="3657417" indent="0">
              <a:buNone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5684A01-2CD5-9B11-1585-3AEC9DBE44B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621533" y="12774661"/>
            <a:ext cx="4159541" cy="427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4575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Отб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C62D8DB-7D58-93B8-8C9D-AD02406017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0896" t="5851" r="46838" b="61884"/>
          <a:stretch/>
        </p:blipFill>
        <p:spPr>
          <a:xfrm flipH="1">
            <a:off x="0" y="0"/>
            <a:ext cx="24382413" cy="13716000"/>
          </a:xfrm>
          <a:prstGeom prst="rect">
            <a:avLst/>
          </a:prstGeom>
        </p:spPr>
      </p:pic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5" y="894350"/>
            <a:ext cx="17374267" cy="4234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" name="Объект 5">
            <a:extLst>
              <a:ext uri="{FF2B5EF4-FFF2-40B4-BE49-F238E27FC236}">
                <a16:creationId xmlns:a16="http://schemas.microsoft.com/office/drawing/2014/main" id="{91E1CCCF-2F49-653B-8675-37FB57D8794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5086" y="12457045"/>
            <a:ext cx="17220361" cy="66176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914354" indent="0">
              <a:buNone/>
              <a:defRPr sz="2800">
                <a:solidFill>
                  <a:schemeClr val="bg1"/>
                </a:solidFill>
              </a:defRPr>
            </a:lvl2pPr>
            <a:lvl3pPr marL="1828709" indent="0">
              <a:buNone/>
              <a:defRPr sz="2800">
                <a:solidFill>
                  <a:schemeClr val="bg1"/>
                </a:solidFill>
              </a:defRPr>
            </a:lvl3pPr>
            <a:lvl4pPr marL="2743063" indent="0">
              <a:buNone/>
              <a:defRPr sz="2800">
                <a:solidFill>
                  <a:schemeClr val="bg1"/>
                </a:solidFill>
              </a:defRPr>
            </a:lvl4pPr>
            <a:lvl5pPr marL="3657417" indent="0">
              <a:buNone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5684A01-2CD5-9B11-1585-3AEC9DBE44B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621533" y="12774661"/>
            <a:ext cx="4159541" cy="427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6994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E1D05F5-18C1-900C-432E-C0CE370AC8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579" t="3955" r="50000" b="61625"/>
          <a:stretch/>
        </p:blipFill>
        <p:spPr>
          <a:xfrm flipH="1" flipV="1">
            <a:off x="0" y="0"/>
            <a:ext cx="24382413" cy="13716000"/>
          </a:xfrm>
          <a:prstGeom prst="rect">
            <a:avLst/>
          </a:prstGeom>
        </p:spPr>
      </p:pic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5" y="9481508"/>
            <a:ext cx="17374267" cy="42344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5684A01-2CD5-9B11-1585-3AEC9DBE44B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621533" y="12774661"/>
            <a:ext cx="4159541" cy="427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2976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5B68E7C-B5C7-14D2-0616-DFE0BB0405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66749" r="62103" b="-4645"/>
          <a:stretch/>
        </p:blipFill>
        <p:spPr>
          <a:xfrm>
            <a:off x="0" y="0"/>
            <a:ext cx="24382413" cy="13716000"/>
          </a:xfrm>
          <a:prstGeom prst="rect">
            <a:avLst/>
          </a:prstGeom>
        </p:spPr>
      </p:pic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5" y="6642054"/>
            <a:ext cx="17374267" cy="42344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5684A01-2CD5-9B11-1585-3AEC9DBE44B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621533" y="12774661"/>
            <a:ext cx="4159541" cy="427378"/>
          </a:xfrm>
          <a:prstGeom prst="rect">
            <a:avLst/>
          </a:prstGeom>
        </p:spPr>
      </p:pic>
      <p:sp>
        <p:nvSpPr>
          <p:cNvPr id="2" name="Объект 5">
            <a:extLst>
              <a:ext uri="{FF2B5EF4-FFF2-40B4-BE49-F238E27FC236}">
                <a16:creationId xmlns:a16="http://schemas.microsoft.com/office/drawing/2014/main" id="{50F1EE23-F908-3C11-A033-69AEF382D55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565556" y="11531431"/>
            <a:ext cx="3823391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marL="0" marR="0" lvl="0" indent="0" algn="l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Х (ХХХ) ХХХ ХХ ХХ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AB7DEAFB-DF23-5427-324C-48AEF4CF011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954504" y="11536341"/>
            <a:ext cx="8097603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958D26F3-8E66-7EE9-232A-316FB942EAA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973309" y="11444088"/>
            <a:ext cx="696195" cy="696240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6C7B9DF8-A58A-8732-550B-D533C294AE9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3405" y="11412882"/>
            <a:ext cx="696195" cy="69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5833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F234335-6EAD-09DD-03AE-3BDFF37FF3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6050" t="63891" r="44189" b="6348"/>
          <a:stretch/>
        </p:blipFill>
        <p:spPr>
          <a:xfrm flipH="1">
            <a:off x="0" y="0"/>
            <a:ext cx="24382413" cy="13716000"/>
          </a:xfrm>
          <a:prstGeom prst="rect">
            <a:avLst/>
          </a:prstGeom>
        </p:spPr>
      </p:pic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6" y="4740754"/>
            <a:ext cx="12731733" cy="42344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5684A01-2CD5-9B11-1585-3AEC9DBE44B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621533" y="12774661"/>
            <a:ext cx="4159541" cy="427378"/>
          </a:xfrm>
          <a:prstGeom prst="rect">
            <a:avLst/>
          </a:prstGeom>
        </p:spPr>
      </p:pic>
      <p:sp>
        <p:nvSpPr>
          <p:cNvPr id="5" name="Объект 5">
            <a:extLst>
              <a:ext uri="{FF2B5EF4-FFF2-40B4-BE49-F238E27FC236}">
                <a16:creationId xmlns:a16="http://schemas.microsoft.com/office/drawing/2014/main" id="{70FA4EEA-4F34-0F2A-2FB1-3A3694C1556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16047" y="9231428"/>
            <a:ext cx="12731731" cy="129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60381DE-CCEE-1295-FF95-AC210C02DB6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973309" y="11444088"/>
            <a:ext cx="696195" cy="69624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38535390-03A0-DFC7-B41E-7CC68FC18EA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3405" y="11412882"/>
            <a:ext cx="696195" cy="696240"/>
          </a:xfrm>
          <a:prstGeom prst="rect">
            <a:avLst/>
          </a:prstGeom>
        </p:spPr>
      </p:pic>
      <p:sp>
        <p:nvSpPr>
          <p:cNvPr id="12" name="Объект 5">
            <a:extLst>
              <a:ext uri="{FF2B5EF4-FFF2-40B4-BE49-F238E27FC236}">
                <a16:creationId xmlns:a16="http://schemas.microsoft.com/office/drawing/2014/main" id="{185586DF-22A8-5350-60B7-7398E8F72D9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565556" y="11531431"/>
            <a:ext cx="3823391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marL="0" marR="0" lvl="0" indent="0" algn="l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Х (ХХХ) ХХХ ХХ ХХ</a:t>
            </a:r>
          </a:p>
        </p:txBody>
      </p:sp>
      <p:sp>
        <p:nvSpPr>
          <p:cNvPr id="13" name="Объект 5">
            <a:extLst>
              <a:ext uri="{FF2B5EF4-FFF2-40B4-BE49-F238E27FC236}">
                <a16:creationId xmlns:a16="http://schemas.microsoft.com/office/drawing/2014/main" id="{2F897277-25F0-E915-276A-5A0C2433495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954504" y="11536341"/>
            <a:ext cx="8097603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00139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лючевые цифр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5CC0B2B-47F7-EB41-F5A6-C3BAF8CC3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0686" t="6801" r="47489" b="61375"/>
          <a:stretch/>
        </p:blipFill>
        <p:spPr>
          <a:xfrm flipH="1">
            <a:off x="0" y="0"/>
            <a:ext cx="24382413" cy="13716000"/>
          </a:xfrm>
          <a:prstGeom prst="rect">
            <a:avLst/>
          </a:prstGeom>
        </p:spPr>
      </p:pic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5" y="894350"/>
            <a:ext cx="17572856" cy="4234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" name="Объект 5">
            <a:extLst>
              <a:ext uri="{FF2B5EF4-FFF2-40B4-BE49-F238E27FC236}">
                <a16:creationId xmlns:a16="http://schemas.microsoft.com/office/drawing/2014/main" id="{91E1CCCF-2F49-653B-8675-37FB57D8794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5086" y="12457045"/>
            <a:ext cx="17220361" cy="66176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914354" indent="0">
              <a:buNone/>
              <a:defRPr sz="2800">
                <a:solidFill>
                  <a:schemeClr val="bg1"/>
                </a:solidFill>
              </a:defRPr>
            </a:lvl2pPr>
            <a:lvl3pPr marL="1828709" indent="0">
              <a:buNone/>
              <a:defRPr sz="2800">
                <a:solidFill>
                  <a:schemeClr val="bg1"/>
                </a:solidFill>
              </a:defRPr>
            </a:lvl3pPr>
            <a:lvl4pPr marL="2743063" indent="0">
              <a:buNone/>
              <a:defRPr sz="2800">
                <a:solidFill>
                  <a:schemeClr val="bg1"/>
                </a:solidFill>
              </a:defRPr>
            </a:lvl4pPr>
            <a:lvl5pPr marL="3657417" indent="0">
              <a:buNone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F9021C97-163D-4887-ACF5-8F880B06694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7329" y="5016387"/>
            <a:ext cx="8986687" cy="7368170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53197" b="0" i="0">
                <a:solidFill>
                  <a:schemeClr val="tx1"/>
                </a:solidFill>
                <a:latin typeface="YS Text Regular" pitchFamily="2" charset="0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7" name="Объект 5">
            <a:extLst>
              <a:ext uri="{FF2B5EF4-FFF2-40B4-BE49-F238E27FC236}">
                <a16:creationId xmlns:a16="http://schemas.microsoft.com/office/drawing/2014/main" id="{EC6BB22F-4105-DB9D-697D-1B483E279EA1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0035" y="11222444"/>
            <a:ext cx="8986687" cy="5267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8" name="Объект 5">
            <a:extLst>
              <a:ext uri="{FF2B5EF4-FFF2-40B4-BE49-F238E27FC236}">
                <a16:creationId xmlns:a16="http://schemas.microsoft.com/office/drawing/2014/main" id="{E2DCF343-21D0-C9D8-0ED6-86F8E34C979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13202894" y="8980004"/>
            <a:ext cx="4886008" cy="22159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5999" b="0" i="0">
                <a:solidFill>
                  <a:schemeClr val="tx1"/>
                </a:solidFill>
                <a:latin typeface="YS Text Medium" pitchFamily="2" charset="0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9" name="Объект 5">
            <a:extLst>
              <a:ext uri="{FF2B5EF4-FFF2-40B4-BE49-F238E27FC236}">
                <a16:creationId xmlns:a16="http://schemas.microsoft.com/office/drawing/2014/main" id="{0041FE1A-E50D-0312-5B58-8BE96F700BD5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3202894" y="11222442"/>
            <a:ext cx="4886008" cy="5267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0" name="Объект 5">
            <a:extLst>
              <a:ext uri="{FF2B5EF4-FFF2-40B4-BE49-F238E27FC236}">
                <a16:creationId xmlns:a16="http://schemas.microsoft.com/office/drawing/2014/main" id="{39AC359C-D667-02AD-06F8-A3417647EB0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8850972" y="8980004"/>
            <a:ext cx="4886008" cy="22159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5999" b="0" i="0">
                <a:solidFill>
                  <a:schemeClr val="tx1"/>
                </a:solidFill>
                <a:latin typeface="YS Text Medium" pitchFamily="2" charset="0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11" name="Объект 5">
            <a:extLst>
              <a:ext uri="{FF2B5EF4-FFF2-40B4-BE49-F238E27FC236}">
                <a16:creationId xmlns:a16="http://schemas.microsoft.com/office/drawing/2014/main" id="{9591003A-0F17-185E-F169-0E5372537AE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8850972" y="11222442"/>
            <a:ext cx="4886008" cy="5267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2" name="Объект 5">
            <a:extLst>
              <a:ext uri="{FF2B5EF4-FFF2-40B4-BE49-F238E27FC236}">
                <a16:creationId xmlns:a16="http://schemas.microsoft.com/office/drawing/2014/main" id="{A3919BDC-28C2-1B83-5436-5D0EA5CEED5A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13202894" y="5579078"/>
            <a:ext cx="4886008" cy="22159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5999" b="0" i="0">
                <a:solidFill>
                  <a:schemeClr val="tx1"/>
                </a:solidFill>
                <a:latin typeface="YS Text Medium" pitchFamily="2" charset="0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13" name="Объект 5">
            <a:extLst>
              <a:ext uri="{FF2B5EF4-FFF2-40B4-BE49-F238E27FC236}">
                <a16:creationId xmlns:a16="http://schemas.microsoft.com/office/drawing/2014/main" id="{10CAC847-2DFD-5190-95E3-16503255E15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13202894" y="7821516"/>
            <a:ext cx="4886008" cy="5267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5" name="Объект 5">
            <a:extLst>
              <a:ext uri="{FF2B5EF4-FFF2-40B4-BE49-F238E27FC236}">
                <a16:creationId xmlns:a16="http://schemas.microsoft.com/office/drawing/2014/main" id="{6E634D8A-1467-C8B6-5AD8-4E5EF4A0EC5D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18850972" y="5579078"/>
            <a:ext cx="4886008" cy="22159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5999" b="0" i="0">
                <a:solidFill>
                  <a:schemeClr val="tx1"/>
                </a:solidFill>
                <a:latin typeface="YS Text Medium" pitchFamily="2" charset="0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16" name="Объект 5">
            <a:extLst>
              <a:ext uri="{FF2B5EF4-FFF2-40B4-BE49-F238E27FC236}">
                <a16:creationId xmlns:a16="http://schemas.microsoft.com/office/drawing/2014/main" id="{74ED6A9F-DA52-2D08-E6DB-BC67CDF3C795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18850972" y="7821516"/>
            <a:ext cx="4886008" cy="5267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9802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лючевые цифр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5E5F301F-F0AA-6727-213C-8D0AE25F1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5" y="894350"/>
            <a:ext cx="17572856" cy="4234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70000"/>
              </a:lnSpc>
              <a:defRPr sz="19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" name="Объект 5">
            <a:extLst>
              <a:ext uri="{FF2B5EF4-FFF2-40B4-BE49-F238E27FC236}">
                <a16:creationId xmlns:a16="http://schemas.microsoft.com/office/drawing/2014/main" id="{91E1CCCF-2F49-653B-8675-37FB57D8794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5086" y="12457045"/>
            <a:ext cx="17220361" cy="66176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914354" indent="0">
              <a:buNone/>
              <a:defRPr sz="2800">
                <a:solidFill>
                  <a:schemeClr val="bg1"/>
                </a:solidFill>
              </a:defRPr>
            </a:lvl2pPr>
            <a:lvl3pPr marL="1828709" indent="0">
              <a:buNone/>
              <a:defRPr sz="2800">
                <a:solidFill>
                  <a:schemeClr val="bg1"/>
                </a:solidFill>
              </a:defRPr>
            </a:lvl3pPr>
            <a:lvl4pPr marL="2743063" indent="0">
              <a:buNone/>
              <a:defRPr sz="2800">
                <a:solidFill>
                  <a:schemeClr val="bg1"/>
                </a:solidFill>
              </a:defRPr>
            </a:lvl4pPr>
            <a:lvl5pPr marL="3657417" indent="0">
              <a:buNone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F9021C97-163D-4887-ACF5-8F880B06694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7329" y="5016387"/>
            <a:ext cx="8986687" cy="7368170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53197" b="0" i="0">
                <a:solidFill>
                  <a:schemeClr val="tx1"/>
                </a:solidFill>
                <a:latin typeface="YS Text Regular" pitchFamily="2" charset="0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7" name="Объект 5">
            <a:extLst>
              <a:ext uri="{FF2B5EF4-FFF2-40B4-BE49-F238E27FC236}">
                <a16:creationId xmlns:a16="http://schemas.microsoft.com/office/drawing/2014/main" id="{EC6BB22F-4105-DB9D-697D-1B483E279EA1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0035" y="11222444"/>
            <a:ext cx="8986687" cy="5267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8" name="Объект 5">
            <a:extLst>
              <a:ext uri="{FF2B5EF4-FFF2-40B4-BE49-F238E27FC236}">
                <a16:creationId xmlns:a16="http://schemas.microsoft.com/office/drawing/2014/main" id="{E2DCF343-21D0-C9D8-0ED6-86F8E34C979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13202894" y="8980004"/>
            <a:ext cx="4886008" cy="22159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5999" b="0" i="0">
                <a:solidFill>
                  <a:schemeClr val="tx1"/>
                </a:solidFill>
                <a:latin typeface="YS Text Medium" pitchFamily="2" charset="0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9" name="Объект 5">
            <a:extLst>
              <a:ext uri="{FF2B5EF4-FFF2-40B4-BE49-F238E27FC236}">
                <a16:creationId xmlns:a16="http://schemas.microsoft.com/office/drawing/2014/main" id="{0041FE1A-E50D-0312-5B58-8BE96F700BD5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3202894" y="11222442"/>
            <a:ext cx="4886008" cy="5267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0" name="Объект 5">
            <a:extLst>
              <a:ext uri="{FF2B5EF4-FFF2-40B4-BE49-F238E27FC236}">
                <a16:creationId xmlns:a16="http://schemas.microsoft.com/office/drawing/2014/main" id="{39AC359C-D667-02AD-06F8-A3417647EB0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8850972" y="8980004"/>
            <a:ext cx="4886008" cy="22159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5999" b="0" i="0">
                <a:solidFill>
                  <a:schemeClr val="tx1"/>
                </a:solidFill>
                <a:latin typeface="YS Text Medium" pitchFamily="2" charset="0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11" name="Объект 5">
            <a:extLst>
              <a:ext uri="{FF2B5EF4-FFF2-40B4-BE49-F238E27FC236}">
                <a16:creationId xmlns:a16="http://schemas.microsoft.com/office/drawing/2014/main" id="{9591003A-0F17-185E-F169-0E5372537AE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8850972" y="11222442"/>
            <a:ext cx="4886008" cy="5267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2" name="Объект 5">
            <a:extLst>
              <a:ext uri="{FF2B5EF4-FFF2-40B4-BE49-F238E27FC236}">
                <a16:creationId xmlns:a16="http://schemas.microsoft.com/office/drawing/2014/main" id="{A3919BDC-28C2-1B83-5436-5D0EA5CEED5A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13202894" y="5579078"/>
            <a:ext cx="4886008" cy="22159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5999" b="0" i="0">
                <a:solidFill>
                  <a:schemeClr val="tx1"/>
                </a:solidFill>
                <a:latin typeface="YS Text Medium" pitchFamily="2" charset="0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13" name="Объект 5">
            <a:extLst>
              <a:ext uri="{FF2B5EF4-FFF2-40B4-BE49-F238E27FC236}">
                <a16:creationId xmlns:a16="http://schemas.microsoft.com/office/drawing/2014/main" id="{10CAC847-2DFD-5190-95E3-16503255E15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13202894" y="7821516"/>
            <a:ext cx="4886008" cy="5267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5" name="Объект 5">
            <a:extLst>
              <a:ext uri="{FF2B5EF4-FFF2-40B4-BE49-F238E27FC236}">
                <a16:creationId xmlns:a16="http://schemas.microsoft.com/office/drawing/2014/main" id="{6E634D8A-1467-C8B6-5AD8-4E5EF4A0EC5D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18850972" y="5579078"/>
            <a:ext cx="4886008" cy="22159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5999" b="0" i="0">
                <a:solidFill>
                  <a:schemeClr val="tx1"/>
                </a:solidFill>
                <a:latin typeface="YS Text Medium" pitchFamily="2" charset="0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16" name="Объект 5">
            <a:extLst>
              <a:ext uri="{FF2B5EF4-FFF2-40B4-BE49-F238E27FC236}">
                <a16:creationId xmlns:a16="http://schemas.microsoft.com/office/drawing/2014/main" id="{74ED6A9F-DA52-2D08-E6DB-BC67CDF3C795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18850972" y="7821516"/>
            <a:ext cx="4886008" cy="5267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39582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 и ключевая цифр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4F683AF-47D9-9337-C88F-5BF618A48F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3837" t="13257" r="45285" b="55866"/>
          <a:stretch/>
        </p:blipFill>
        <p:spPr>
          <a:xfrm flipH="1">
            <a:off x="0" y="0"/>
            <a:ext cx="24382413" cy="13716000"/>
          </a:xfrm>
          <a:prstGeom prst="rect">
            <a:avLst/>
          </a:prstGeom>
        </p:spPr>
      </p:pic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Объект 5">
            <a:extLst>
              <a:ext uri="{FF2B5EF4-FFF2-40B4-BE49-F238E27FC236}">
                <a16:creationId xmlns:a16="http://schemas.microsoft.com/office/drawing/2014/main" id="{D7FDAB50-B1EA-10C1-F1F1-0CB631AE549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2191204" y="6319983"/>
            <a:ext cx="11574963" cy="354558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25599" b="0" i="0">
                <a:solidFill>
                  <a:schemeClr val="tx1"/>
                </a:solidFill>
                <a:latin typeface="YS Text Regular" pitchFamily="2" charset="0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ХХ ХХХ</a:t>
            </a:r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8CB56C0D-7600-B2B3-F869-3EAEE6FD456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12213761" y="9602192"/>
            <a:ext cx="11574963" cy="5267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7" name="Объект 5">
            <a:extLst>
              <a:ext uri="{FF2B5EF4-FFF2-40B4-BE49-F238E27FC236}">
                <a16:creationId xmlns:a16="http://schemas.microsoft.com/office/drawing/2014/main" id="{26F8D955-7387-99DE-886E-417BBEFE014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16246" y="4392389"/>
            <a:ext cx="10001021" cy="606606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9" name="Объект 5">
            <a:extLst>
              <a:ext uri="{FF2B5EF4-FFF2-40B4-BE49-F238E27FC236}">
                <a16:creationId xmlns:a16="http://schemas.microsoft.com/office/drawing/2014/main" id="{961FA6E8-2771-D74F-4390-A578A9ABCA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00035" y="3257551"/>
            <a:ext cx="10000933" cy="6647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76638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тандартный 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Номер слайда 5">
            <a:extLst>
              <a:ext uri="{FF2B5EF4-FFF2-40B4-BE49-F238E27FC236}">
                <a16:creationId xmlns:a16="http://schemas.microsoft.com/office/drawing/2014/main" id="{4005A651-6082-6391-B58A-454538B2DE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0" name="Заголовок 5">
            <a:extLst>
              <a:ext uri="{FF2B5EF4-FFF2-40B4-BE49-F238E27FC236}">
                <a16:creationId xmlns:a16="http://schemas.microsoft.com/office/drawing/2014/main" id="{8EEA7F9C-39C7-CF9E-A6C8-4FF17BD4D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6185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2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">
    <p:bg>
      <p:bgPr>
        <a:solidFill>
          <a:schemeClr val="bg2">
            <a:lumMod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44A1AC5-FF74-4CD6-B6A7-067D983CA1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6276" y="1228459"/>
            <a:ext cx="21755487" cy="44546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18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035C08B-8751-1B4B-921E-E4E784040729}"/>
              </a:ext>
            </a:extLst>
          </p:cNvPr>
          <p:cNvSpPr txBox="1"/>
          <p:nvPr userDrawn="1"/>
        </p:nvSpPr>
        <p:spPr>
          <a:xfrm>
            <a:off x="20704629" y="881742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EE37A55-47B8-3646-B196-265116C6B9AB}"/>
              </a:ext>
            </a:extLst>
          </p:cNvPr>
          <p:cNvSpPr txBox="1"/>
          <p:nvPr userDrawn="1"/>
        </p:nvSpPr>
        <p:spPr>
          <a:xfrm>
            <a:off x="12217400" y="-5842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93E385-4AEE-1B40-A5C9-0C1B40DD947F}"/>
              </a:ext>
            </a:extLst>
          </p:cNvPr>
          <p:cNvSpPr txBox="1"/>
          <p:nvPr userDrawn="1"/>
        </p:nvSpPr>
        <p:spPr>
          <a:xfrm>
            <a:off x="12217400" y="-21590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5400" indent="-25400" algn="l">
              <a:tabLst/>
            </a:pPr>
            <a:endParaRPr lang="en-RU" sz="3200" err="1">
              <a:solidFill>
                <a:sysClr val="windowText" lastClr="000000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63A5871-08F8-1681-1495-CE388929C1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2494" y="11709826"/>
            <a:ext cx="7862094" cy="10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96487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 с заголовком с вол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237D9D8-FC24-20E3-875A-8BD1990F38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0896" t="5851" r="46838" b="61884"/>
          <a:stretch/>
        </p:blipFill>
        <p:spPr>
          <a:xfrm flipH="1">
            <a:off x="0" y="0"/>
            <a:ext cx="24382413" cy="13716000"/>
          </a:xfrm>
          <a:prstGeom prst="rect">
            <a:avLst/>
          </a:prstGeom>
        </p:spPr>
      </p:pic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43101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Булли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779EC31-4351-D011-F5D7-7D80BB64BB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9522" t="-1536" r="68165" b="51350"/>
          <a:stretch/>
        </p:blipFill>
        <p:spPr>
          <a:xfrm rot="16200000">
            <a:off x="8848334" y="-1818087"/>
            <a:ext cx="13716008" cy="17352157"/>
          </a:xfrm>
          <a:prstGeom prst="rect">
            <a:avLst/>
          </a:prstGeom>
        </p:spPr>
      </p:pic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3155403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6" y="3573294"/>
            <a:ext cx="10646107" cy="612224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4277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Булли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3BDFACF-580F-2EC0-F6CE-40B1798126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904" t="3962" r="44450" b="11878"/>
          <a:stretch/>
        </p:blipFill>
        <p:spPr>
          <a:xfrm rot="16200000">
            <a:off x="9335987" y="-1330433"/>
            <a:ext cx="13716002" cy="16376854"/>
          </a:xfrm>
          <a:prstGeom prst="rect">
            <a:avLst/>
          </a:prstGeom>
        </p:spPr>
      </p:pic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3155403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" name="Объект 5">
            <a:extLst>
              <a:ext uri="{FF2B5EF4-FFF2-40B4-BE49-F238E27FC236}">
                <a16:creationId xmlns:a16="http://schemas.microsoft.com/office/drawing/2014/main" id="{2C39CD7C-FA36-7783-B3E9-D63D18B6E5E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6" y="3573294"/>
            <a:ext cx="10646107" cy="612224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27805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Булли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FFA901C-AEEB-6C3F-2253-5A42EB09B5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6326" t="-2760" r="8527" b="47613"/>
          <a:stretch/>
        </p:blipFill>
        <p:spPr>
          <a:xfrm flipH="1">
            <a:off x="0" y="0"/>
            <a:ext cx="24382413" cy="13716000"/>
          </a:xfrm>
          <a:prstGeom prst="rect">
            <a:avLst/>
          </a:prstGeom>
        </p:spPr>
      </p:pic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531839" y="3257550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4" name="Объект 5">
            <a:extLst>
              <a:ext uri="{FF2B5EF4-FFF2-40B4-BE49-F238E27FC236}">
                <a16:creationId xmlns:a16="http://schemas.microsoft.com/office/drawing/2014/main" id="{302FF599-68EC-4983-83D1-7DA81780F61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2434233" y="3257550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" name="Объект 5">
            <a:extLst>
              <a:ext uri="{FF2B5EF4-FFF2-40B4-BE49-F238E27FC236}">
                <a16:creationId xmlns:a16="http://schemas.microsoft.com/office/drawing/2014/main" id="{13425FD4-7C0E-C3AD-D568-D1EA26E3CB3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8336629" y="3257550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3155403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" name="Объект 5">
            <a:extLst>
              <a:ext uri="{FF2B5EF4-FFF2-40B4-BE49-F238E27FC236}">
                <a16:creationId xmlns:a16="http://schemas.microsoft.com/office/drawing/2014/main" id="{16435BF5-2F12-D0D0-A059-C14AEDB03CD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29445" y="3257550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9314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Булли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05E94DA3-C055-7EDD-AAD8-4E0D12B082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6501" t="-9068" r="3017" b="38585"/>
          <a:stretch/>
        </p:blipFill>
        <p:spPr>
          <a:xfrm flipH="1">
            <a:off x="2" y="0"/>
            <a:ext cx="24382413" cy="13716000"/>
          </a:xfrm>
          <a:prstGeom prst="rect">
            <a:avLst/>
          </a:prstGeom>
        </p:spPr>
      </p:pic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531839" y="3257550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4" name="Объект 5">
            <a:extLst>
              <a:ext uri="{FF2B5EF4-FFF2-40B4-BE49-F238E27FC236}">
                <a16:creationId xmlns:a16="http://schemas.microsoft.com/office/drawing/2014/main" id="{302FF599-68EC-4983-83D1-7DA81780F61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2434233" y="3257550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" name="Объект 5">
            <a:extLst>
              <a:ext uri="{FF2B5EF4-FFF2-40B4-BE49-F238E27FC236}">
                <a16:creationId xmlns:a16="http://schemas.microsoft.com/office/drawing/2014/main" id="{13425FD4-7C0E-C3AD-D568-D1EA26E3CB3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8336629" y="3257550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3155403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" name="Объект 5">
            <a:extLst>
              <a:ext uri="{FF2B5EF4-FFF2-40B4-BE49-F238E27FC236}">
                <a16:creationId xmlns:a16="http://schemas.microsoft.com/office/drawing/2014/main" id="{16435BF5-2F12-D0D0-A059-C14AEDB03CD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29445" y="3257550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Объект 5">
            <a:extLst>
              <a:ext uri="{FF2B5EF4-FFF2-40B4-BE49-F238E27FC236}">
                <a16:creationId xmlns:a16="http://schemas.microsoft.com/office/drawing/2014/main" id="{E59D2250-54BB-CEBE-2AE6-939450B543C8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531839" y="6197974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0" name="Объект 5">
            <a:extLst>
              <a:ext uri="{FF2B5EF4-FFF2-40B4-BE49-F238E27FC236}">
                <a16:creationId xmlns:a16="http://schemas.microsoft.com/office/drawing/2014/main" id="{21A1E26E-2D6F-BA23-FD30-0630A64549F8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12434233" y="6197974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1" name="Объект 5">
            <a:extLst>
              <a:ext uri="{FF2B5EF4-FFF2-40B4-BE49-F238E27FC236}">
                <a16:creationId xmlns:a16="http://schemas.microsoft.com/office/drawing/2014/main" id="{E6058111-6BFF-2B2E-DBD2-8592E93C2CCD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18336629" y="6197974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2" name="Объект 5">
            <a:extLst>
              <a:ext uri="{FF2B5EF4-FFF2-40B4-BE49-F238E27FC236}">
                <a16:creationId xmlns:a16="http://schemas.microsoft.com/office/drawing/2014/main" id="{633521B6-3AC5-A9CA-D3DD-F877F0F9791B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29445" y="6197974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0721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Булли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531839" y="9580972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4" name="Объект 5">
            <a:extLst>
              <a:ext uri="{FF2B5EF4-FFF2-40B4-BE49-F238E27FC236}">
                <a16:creationId xmlns:a16="http://schemas.microsoft.com/office/drawing/2014/main" id="{302FF599-68EC-4983-83D1-7DA81780F61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2434233" y="9580972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" name="Объект 5">
            <a:extLst>
              <a:ext uri="{FF2B5EF4-FFF2-40B4-BE49-F238E27FC236}">
                <a16:creationId xmlns:a16="http://schemas.microsoft.com/office/drawing/2014/main" id="{13425FD4-7C0E-C3AD-D568-D1EA26E3CB3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8336629" y="9580972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3155403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" name="Объект 5">
            <a:extLst>
              <a:ext uri="{FF2B5EF4-FFF2-40B4-BE49-F238E27FC236}">
                <a16:creationId xmlns:a16="http://schemas.microsoft.com/office/drawing/2014/main" id="{16435BF5-2F12-D0D0-A059-C14AEDB03CD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29445" y="9580972"/>
            <a:ext cx="5416339" cy="21541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Объект 5">
            <a:extLst>
              <a:ext uri="{FF2B5EF4-FFF2-40B4-BE49-F238E27FC236}">
                <a16:creationId xmlns:a16="http://schemas.microsoft.com/office/drawing/2014/main" id="{444F594E-2A5D-1DD0-2FA7-50D1B6E9E9DA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9446" y="3251304"/>
            <a:ext cx="4886008" cy="22159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5999" b="0" i="0">
                <a:solidFill>
                  <a:srgbClr val="FC6D54"/>
                </a:solidFill>
                <a:latin typeface="YS Text Medium" pitchFamily="2" charset="0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10" name="Объект 5">
            <a:extLst>
              <a:ext uri="{FF2B5EF4-FFF2-40B4-BE49-F238E27FC236}">
                <a16:creationId xmlns:a16="http://schemas.microsoft.com/office/drawing/2014/main" id="{6E8D54C4-F4C3-628C-6612-65F9A1E02570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9446" y="5493742"/>
            <a:ext cx="4886008" cy="5267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1" name="Объект 5">
            <a:extLst>
              <a:ext uri="{FF2B5EF4-FFF2-40B4-BE49-F238E27FC236}">
                <a16:creationId xmlns:a16="http://schemas.microsoft.com/office/drawing/2014/main" id="{BF6ACB4A-6B37-CAA3-1DB9-7DEBD41D38C9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6531840" y="3251304"/>
            <a:ext cx="4886008" cy="22159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5999" b="0" i="0">
                <a:solidFill>
                  <a:srgbClr val="FC6D54"/>
                </a:solidFill>
                <a:latin typeface="YS Text Medium" pitchFamily="2" charset="0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ХХ</a:t>
            </a:r>
          </a:p>
        </p:txBody>
      </p:sp>
      <p:sp>
        <p:nvSpPr>
          <p:cNvPr id="12" name="Объект 5">
            <a:extLst>
              <a:ext uri="{FF2B5EF4-FFF2-40B4-BE49-F238E27FC236}">
                <a16:creationId xmlns:a16="http://schemas.microsoft.com/office/drawing/2014/main" id="{4E6DEEB2-D51F-098E-D5AF-D3B2043172FE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531840" y="5493742"/>
            <a:ext cx="4886008" cy="5267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3" name="Объект 5">
            <a:extLst>
              <a:ext uri="{FF2B5EF4-FFF2-40B4-BE49-F238E27FC236}">
                <a16:creationId xmlns:a16="http://schemas.microsoft.com/office/drawing/2014/main" id="{7BC12E08-4350-C172-629A-329E578B080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9445" y="8372177"/>
            <a:ext cx="23123523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B619D41-BA99-F0CD-33A9-77CC65FEB7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512" t="66937" r="39947" b="-7479"/>
          <a:stretch/>
        </p:blipFill>
        <p:spPr>
          <a:xfrm flipH="1">
            <a:off x="0" y="0"/>
            <a:ext cx="24382413" cy="137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192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Буллиты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12D01B8-0C5D-9068-DB3C-4FA3976AB8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6594" t="4924" r="54044" b="53466"/>
          <a:stretch/>
        </p:blipFill>
        <p:spPr>
          <a:xfrm rot="5400000" flipH="1" flipV="1">
            <a:off x="9234389" y="-1432024"/>
            <a:ext cx="13716008" cy="16580041"/>
          </a:xfrm>
          <a:prstGeom prst="rect">
            <a:avLst/>
          </a:prstGeom>
        </p:spPr>
      </p:pic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9561808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7" y="4196013"/>
            <a:ext cx="9561808" cy="631704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093184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Буллиты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229C03A-2C4B-4991-98C7-3F1A073A97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64175" t="34168" r="4805" b="10685"/>
          <a:stretch/>
        </p:blipFill>
        <p:spPr>
          <a:xfrm rot="5400000" flipH="1">
            <a:off x="10666850" y="437"/>
            <a:ext cx="13716018" cy="13715107"/>
          </a:xfrm>
          <a:prstGeom prst="rect">
            <a:avLst/>
          </a:prstGeom>
        </p:spPr>
      </p:pic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9561808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7" y="4196013"/>
            <a:ext cx="11219384" cy="631704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8606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Буллиты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3ED63F3-FB12-3052-5843-872B56AA53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6088" t="16088" r="45762" b="51647"/>
          <a:stretch/>
        </p:blipFill>
        <p:spPr>
          <a:xfrm rot="5400000" flipH="1" flipV="1">
            <a:off x="10666859" y="447"/>
            <a:ext cx="13716000" cy="13715107"/>
          </a:xfrm>
          <a:prstGeom prst="rect">
            <a:avLst/>
          </a:prstGeom>
        </p:spPr>
      </p:pic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9561808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6" y="4196013"/>
            <a:ext cx="6425226" cy="631704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4" name="Объект 5">
            <a:extLst>
              <a:ext uri="{FF2B5EF4-FFF2-40B4-BE49-F238E27FC236}">
                <a16:creationId xmlns:a16="http://schemas.microsoft.com/office/drawing/2014/main" id="{4DF750BB-F113-1ED0-1DD4-1FD3DB4ADA0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7804854" y="4196013"/>
            <a:ext cx="6425226" cy="631704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01315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с текстом и большим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9561808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7" y="4196013"/>
            <a:ext cx="9561808" cy="631704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3200"/>
              </a:spcAft>
              <a:buClr>
                <a:srgbClr val="FC6D54"/>
              </a:buClr>
              <a:buFont typeface="Arial" panose="020B0604020202020204" pitchFamily="34" charset="0"/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" name="Рисунок 3">
            <a:extLst>
              <a:ext uri="{FF2B5EF4-FFF2-40B4-BE49-F238E27FC236}">
                <a16:creationId xmlns:a16="http://schemas.microsoft.com/office/drawing/2014/main" id="{F63C95C8-05F7-0374-BB27-356BB87131A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667306" y="0"/>
            <a:ext cx="13715107" cy="13716000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</p:spTree>
    <p:extLst>
      <p:ext uri="{BB962C8B-B14F-4D97-AF65-F5344CB8AC3E}">
        <p14:creationId xmlns:p14="http://schemas.microsoft.com/office/powerpoint/2010/main" val="68375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44A1AC5-FF74-4CD6-B6A7-067D983CA1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6276" y="1228459"/>
            <a:ext cx="21755487" cy="44546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1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035C08B-8751-1B4B-921E-E4E784040729}"/>
              </a:ext>
            </a:extLst>
          </p:cNvPr>
          <p:cNvSpPr txBox="1"/>
          <p:nvPr userDrawn="1"/>
        </p:nvSpPr>
        <p:spPr>
          <a:xfrm>
            <a:off x="20704629" y="881742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EE37A55-47B8-3646-B196-265116C6B9AB}"/>
              </a:ext>
            </a:extLst>
          </p:cNvPr>
          <p:cNvSpPr txBox="1"/>
          <p:nvPr userDrawn="1"/>
        </p:nvSpPr>
        <p:spPr>
          <a:xfrm>
            <a:off x="12217400" y="-5842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err="1">
              <a:solidFill>
                <a:sysClr val="windowText" lastClr="0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93E385-4AEE-1B40-A5C9-0C1B40DD947F}"/>
              </a:ext>
            </a:extLst>
          </p:cNvPr>
          <p:cNvSpPr txBox="1"/>
          <p:nvPr userDrawn="1"/>
        </p:nvSpPr>
        <p:spPr>
          <a:xfrm>
            <a:off x="12217400" y="-21590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5400" indent="-25400" algn="l">
              <a:tabLst/>
            </a:pPr>
            <a:endParaRPr lang="en-RU" sz="3200" err="1">
              <a:solidFill>
                <a:sysClr val="windowText" lastClr="000000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B6AB2FC-78D0-7A4B-C5A3-A39823F06E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7372" y="11742097"/>
            <a:ext cx="7739774" cy="102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0933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Буллиты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3">
            <a:extLst>
              <a:ext uri="{FF2B5EF4-FFF2-40B4-BE49-F238E27FC236}">
                <a16:creationId xmlns:a16="http://schemas.microsoft.com/office/drawing/2014/main" id="{93C68F31-7EB2-E274-E758-C37A8E252E3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188428" y="543716"/>
            <a:ext cx="12577741" cy="12578560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9561808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5" y="4196013"/>
            <a:ext cx="9561808" cy="631704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ED0C6B36-470C-AE5F-44F3-71F6F2076095}"/>
              </a:ext>
            </a:extLst>
          </p:cNvPr>
          <p:cNvCxnSpPr>
            <a:cxnSpLocks/>
          </p:cNvCxnSpPr>
          <p:nvPr userDrawn="1"/>
        </p:nvCxnSpPr>
        <p:spPr>
          <a:xfrm>
            <a:off x="600038" y="3690652"/>
            <a:ext cx="101108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2DB397DD-9483-F90A-159A-007777366229}"/>
              </a:ext>
            </a:extLst>
          </p:cNvPr>
          <p:cNvCxnSpPr>
            <a:cxnSpLocks/>
          </p:cNvCxnSpPr>
          <p:nvPr userDrawn="1"/>
        </p:nvCxnSpPr>
        <p:spPr>
          <a:xfrm flipV="1">
            <a:off x="10826949" y="543717"/>
            <a:ext cx="0" cy="285262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FF15535E-63B2-1EB0-C71D-1BBD5693A4FC}"/>
              </a:ext>
            </a:extLst>
          </p:cNvPr>
          <p:cNvCxnSpPr>
            <a:cxnSpLocks/>
          </p:cNvCxnSpPr>
          <p:nvPr userDrawn="1"/>
        </p:nvCxnSpPr>
        <p:spPr>
          <a:xfrm flipV="1">
            <a:off x="10826949" y="3940060"/>
            <a:ext cx="0" cy="918221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447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окап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D31ED803-C496-5EB5-03DB-9808BC6D9E7B}"/>
              </a:ext>
            </a:extLst>
          </p:cNvPr>
          <p:cNvGrpSpPr/>
          <p:nvPr userDrawn="1"/>
        </p:nvGrpSpPr>
        <p:grpSpPr>
          <a:xfrm>
            <a:off x="8216212" y="1"/>
            <a:ext cx="16847473" cy="13122274"/>
            <a:chOff x="3767715" y="296863"/>
            <a:chExt cx="8424285" cy="6561137"/>
          </a:xfrm>
        </p:grpSpPr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5DF82B48-E24B-DA17-4794-EB2D660F8D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10000"/>
                      </a14:imgEffect>
                    </a14:imgLayer>
                  </a14:imgProps>
                </a:ext>
              </a:extLst>
            </a:blip>
            <a:srcRect r="6204" b="2598"/>
            <a:stretch/>
          </p:blipFill>
          <p:spPr>
            <a:xfrm>
              <a:off x="3767715" y="296863"/>
              <a:ext cx="8424285" cy="6561137"/>
            </a:xfrm>
            <a:prstGeom prst="rect">
              <a:avLst/>
            </a:prstGeom>
          </p:spPr>
        </p:pic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F9C9D011-A7EE-5921-1224-5716C70774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925339" y="3284313"/>
              <a:ext cx="3266661" cy="3266661"/>
            </a:xfrm>
            <a:prstGeom prst="rect">
              <a:avLst/>
            </a:prstGeom>
          </p:spPr>
        </p:pic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A7D3A80B-D3D5-14D7-0247-9ED27A0B907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31398" t="12840" r="31398" b="12840"/>
            <a:stretch/>
          </p:blipFill>
          <p:spPr>
            <a:xfrm>
              <a:off x="8867913" y="4785426"/>
              <a:ext cx="1110864" cy="1664288"/>
            </a:xfrm>
            <a:prstGeom prst="rect">
              <a:avLst/>
            </a:prstGeom>
          </p:spPr>
        </p:pic>
      </p:grp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3155403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5" y="4250621"/>
            <a:ext cx="9401750" cy="887165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8" name="Рисунок 17">
            <a:extLst>
              <a:ext uri="{FF2B5EF4-FFF2-40B4-BE49-F238E27FC236}">
                <a16:creationId xmlns:a16="http://schemas.microsoft.com/office/drawing/2014/main" id="{A4002080-BCB4-2491-B7A4-02D2C31559B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2765327" y="2686557"/>
            <a:ext cx="8806635" cy="4952326"/>
          </a:xfrm>
          <a:custGeom>
            <a:avLst/>
            <a:gdLst>
              <a:gd name="connsiteX0" fmla="*/ 0 w 4403604"/>
              <a:gd name="connsiteY0" fmla="*/ 0 h 2476163"/>
              <a:gd name="connsiteX1" fmla="*/ 4403604 w 4403604"/>
              <a:gd name="connsiteY1" fmla="*/ 0 h 2476163"/>
              <a:gd name="connsiteX2" fmla="*/ 4403604 w 4403604"/>
              <a:gd name="connsiteY2" fmla="*/ 1860041 h 2476163"/>
              <a:gd name="connsiteX3" fmla="*/ 3600480 w 4403604"/>
              <a:gd name="connsiteY3" fmla="*/ 1860041 h 2476163"/>
              <a:gd name="connsiteX4" fmla="*/ 3515841 w 4403604"/>
              <a:gd name="connsiteY4" fmla="*/ 1944680 h 2476163"/>
              <a:gd name="connsiteX5" fmla="*/ 3515841 w 4403604"/>
              <a:gd name="connsiteY5" fmla="*/ 2476163 h 2476163"/>
              <a:gd name="connsiteX6" fmla="*/ 2397429 w 4403604"/>
              <a:gd name="connsiteY6" fmla="*/ 2476163 h 2476163"/>
              <a:gd name="connsiteX7" fmla="*/ 2397429 w 4403604"/>
              <a:gd name="connsiteY7" fmla="*/ 1921531 h 2476163"/>
              <a:gd name="connsiteX8" fmla="*/ 2312790 w 4403604"/>
              <a:gd name="connsiteY8" fmla="*/ 1836892 h 2476163"/>
              <a:gd name="connsiteX9" fmla="*/ 0 w 4403604"/>
              <a:gd name="connsiteY9" fmla="*/ 1836892 h 2476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03604" h="2476163">
                <a:moveTo>
                  <a:pt x="0" y="0"/>
                </a:moveTo>
                <a:lnTo>
                  <a:pt x="4403604" y="0"/>
                </a:lnTo>
                <a:lnTo>
                  <a:pt x="4403604" y="1860041"/>
                </a:lnTo>
                <a:lnTo>
                  <a:pt x="3600480" y="1860041"/>
                </a:lnTo>
                <a:cubicBezTo>
                  <a:pt x="3553735" y="1860041"/>
                  <a:pt x="3515841" y="1897935"/>
                  <a:pt x="3515841" y="1944680"/>
                </a:cubicBezTo>
                <a:lnTo>
                  <a:pt x="3515841" y="2476163"/>
                </a:lnTo>
                <a:lnTo>
                  <a:pt x="2397429" y="2476163"/>
                </a:lnTo>
                <a:lnTo>
                  <a:pt x="2397429" y="1921531"/>
                </a:lnTo>
                <a:cubicBezTo>
                  <a:pt x="2397429" y="1874786"/>
                  <a:pt x="2359535" y="1836892"/>
                  <a:pt x="2312790" y="1836892"/>
                </a:cubicBezTo>
                <a:lnTo>
                  <a:pt x="0" y="1836892"/>
                </a:ln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</a:t>
            </a:r>
            <a:br>
              <a:rPr lang="ru-RU" dirty="0"/>
            </a:br>
            <a:r>
              <a:rPr lang="ru-RU" dirty="0"/>
              <a:t>скриншот сюда</a:t>
            </a:r>
          </a:p>
        </p:txBody>
      </p:sp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878A7907-A75B-4A9E-A2DB-99C11BCBAAF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9962465" y="6595877"/>
            <a:ext cx="3671761" cy="5100178"/>
          </a:xfrm>
          <a:custGeom>
            <a:avLst/>
            <a:gdLst>
              <a:gd name="connsiteX0" fmla="*/ 0 w 1836000"/>
              <a:gd name="connsiteY0" fmla="*/ 0 h 2550089"/>
              <a:gd name="connsiteX1" fmla="*/ 1836000 w 1836000"/>
              <a:gd name="connsiteY1" fmla="*/ 0 h 2550089"/>
              <a:gd name="connsiteX2" fmla="*/ 1836000 w 1836000"/>
              <a:gd name="connsiteY2" fmla="*/ 2550089 h 2550089"/>
              <a:gd name="connsiteX3" fmla="*/ 137694 w 1836000"/>
              <a:gd name="connsiteY3" fmla="*/ 2550089 h 2550089"/>
              <a:gd name="connsiteX4" fmla="*/ 137694 w 1836000"/>
              <a:gd name="connsiteY4" fmla="*/ 1371710 h 2550089"/>
              <a:gd name="connsiteX5" fmla="*/ 53055 w 1836000"/>
              <a:gd name="connsiteY5" fmla="*/ 1287071 h 2550089"/>
              <a:gd name="connsiteX6" fmla="*/ 0 w 1836000"/>
              <a:gd name="connsiteY6" fmla="*/ 1287071 h 2550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36000" h="2550089">
                <a:moveTo>
                  <a:pt x="0" y="0"/>
                </a:moveTo>
                <a:lnTo>
                  <a:pt x="1836000" y="0"/>
                </a:lnTo>
                <a:lnTo>
                  <a:pt x="1836000" y="2550089"/>
                </a:lnTo>
                <a:lnTo>
                  <a:pt x="137694" y="2550089"/>
                </a:lnTo>
                <a:lnTo>
                  <a:pt x="137694" y="1371710"/>
                </a:lnTo>
                <a:cubicBezTo>
                  <a:pt x="137694" y="1324965"/>
                  <a:pt x="99800" y="1287071"/>
                  <a:pt x="53055" y="1287071"/>
                </a:cubicBezTo>
                <a:lnTo>
                  <a:pt x="0" y="1287071"/>
                </a:ln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скриншот сюда</a:t>
            </a:r>
          </a:p>
        </p:txBody>
      </p:sp>
      <p:sp>
        <p:nvSpPr>
          <p:cNvPr id="26" name="Рисунок 25">
            <a:extLst>
              <a:ext uri="{FF2B5EF4-FFF2-40B4-BE49-F238E27FC236}">
                <a16:creationId xmlns:a16="http://schemas.microsoft.com/office/drawing/2014/main" id="{6618A877-EE93-FEA4-9C58-D1ADBEB0D70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8868853" y="9251161"/>
            <a:ext cx="1298094" cy="2775398"/>
          </a:xfrm>
          <a:custGeom>
            <a:avLst/>
            <a:gdLst>
              <a:gd name="connsiteX0" fmla="*/ 72763 w 649089"/>
              <a:gd name="connsiteY0" fmla="*/ 0 h 1387699"/>
              <a:gd name="connsiteX1" fmla="*/ 162544 w 649089"/>
              <a:gd name="connsiteY1" fmla="*/ 0 h 1387699"/>
              <a:gd name="connsiteX2" fmla="*/ 162544 w 649089"/>
              <a:gd name="connsiteY2" fmla="*/ 9407 h 1387699"/>
              <a:gd name="connsiteX3" fmla="*/ 193603 w 649089"/>
              <a:gd name="connsiteY3" fmla="*/ 40466 h 1387699"/>
              <a:gd name="connsiteX4" fmla="*/ 455485 w 649089"/>
              <a:gd name="connsiteY4" fmla="*/ 40466 h 1387699"/>
              <a:gd name="connsiteX5" fmla="*/ 486544 w 649089"/>
              <a:gd name="connsiteY5" fmla="*/ 9407 h 1387699"/>
              <a:gd name="connsiteX6" fmla="*/ 486544 w 649089"/>
              <a:gd name="connsiteY6" fmla="*/ 0 h 1387699"/>
              <a:gd name="connsiteX7" fmla="*/ 576326 w 649089"/>
              <a:gd name="connsiteY7" fmla="*/ 0 h 1387699"/>
              <a:gd name="connsiteX8" fmla="*/ 649089 w 649089"/>
              <a:gd name="connsiteY8" fmla="*/ 72763 h 1387699"/>
              <a:gd name="connsiteX9" fmla="*/ 649089 w 649089"/>
              <a:gd name="connsiteY9" fmla="*/ 1314936 h 1387699"/>
              <a:gd name="connsiteX10" fmla="*/ 576326 w 649089"/>
              <a:gd name="connsiteY10" fmla="*/ 1387699 h 1387699"/>
              <a:gd name="connsiteX11" fmla="*/ 72763 w 649089"/>
              <a:gd name="connsiteY11" fmla="*/ 1387699 h 1387699"/>
              <a:gd name="connsiteX12" fmla="*/ 0 w 649089"/>
              <a:gd name="connsiteY12" fmla="*/ 1314936 h 1387699"/>
              <a:gd name="connsiteX13" fmla="*/ 0 w 649089"/>
              <a:gd name="connsiteY13" fmla="*/ 72763 h 1387699"/>
              <a:gd name="connsiteX14" fmla="*/ 72763 w 649089"/>
              <a:gd name="connsiteY14" fmla="*/ 0 h 1387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49089" h="1387699">
                <a:moveTo>
                  <a:pt x="72763" y="0"/>
                </a:moveTo>
                <a:lnTo>
                  <a:pt x="162544" y="0"/>
                </a:lnTo>
                <a:lnTo>
                  <a:pt x="162544" y="9407"/>
                </a:lnTo>
                <a:cubicBezTo>
                  <a:pt x="162544" y="26560"/>
                  <a:pt x="176450" y="40466"/>
                  <a:pt x="193603" y="40466"/>
                </a:cubicBezTo>
                <a:lnTo>
                  <a:pt x="455485" y="40466"/>
                </a:lnTo>
                <a:cubicBezTo>
                  <a:pt x="472638" y="40466"/>
                  <a:pt x="486544" y="26560"/>
                  <a:pt x="486544" y="9407"/>
                </a:cubicBezTo>
                <a:lnTo>
                  <a:pt x="486544" y="0"/>
                </a:lnTo>
                <a:lnTo>
                  <a:pt x="576326" y="0"/>
                </a:lnTo>
                <a:cubicBezTo>
                  <a:pt x="616512" y="0"/>
                  <a:pt x="649089" y="32577"/>
                  <a:pt x="649089" y="72763"/>
                </a:cubicBezTo>
                <a:lnTo>
                  <a:pt x="649089" y="1314936"/>
                </a:lnTo>
                <a:cubicBezTo>
                  <a:pt x="649089" y="1355122"/>
                  <a:pt x="616512" y="1387699"/>
                  <a:pt x="576326" y="1387699"/>
                </a:cubicBezTo>
                <a:lnTo>
                  <a:pt x="72763" y="1387699"/>
                </a:lnTo>
                <a:cubicBezTo>
                  <a:pt x="32577" y="1387699"/>
                  <a:pt x="0" y="1355122"/>
                  <a:pt x="0" y="1314936"/>
                </a:cubicBezTo>
                <a:lnTo>
                  <a:pt x="0" y="72763"/>
                </a:lnTo>
                <a:cubicBezTo>
                  <a:pt x="0" y="32577"/>
                  <a:pt x="32577" y="0"/>
                  <a:pt x="72763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скриншот сюда</a:t>
            </a:r>
          </a:p>
        </p:txBody>
      </p:sp>
      <p:sp>
        <p:nvSpPr>
          <p:cNvPr id="27" name="Объект 5">
            <a:extLst>
              <a:ext uri="{FF2B5EF4-FFF2-40B4-BE49-F238E27FC236}">
                <a16:creationId xmlns:a16="http://schemas.microsoft.com/office/drawing/2014/main" id="{3725D6F7-8176-E23F-E9C1-C867DF3283E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6243" y="3257551"/>
            <a:ext cx="9401750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D43BDB0C-BC16-50DF-5B4D-61E6483820D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16211" y="4767122"/>
            <a:ext cx="11929624" cy="8947800"/>
          </a:xfrm>
          <a:prstGeom prst="rect">
            <a:avLst/>
          </a:prstGeom>
        </p:spPr>
      </p:pic>
      <p:sp>
        <p:nvSpPr>
          <p:cNvPr id="7" name="Рисунок 3">
            <a:extLst>
              <a:ext uri="{FF2B5EF4-FFF2-40B4-BE49-F238E27FC236}">
                <a16:creationId xmlns:a16="http://schemas.microsoft.com/office/drawing/2014/main" id="{93C68F31-7EB2-E274-E758-C37A8E252E3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904281" y="6554549"/>
            <a:ext cx="6532897" cy="4078386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скриншот сюда</a:t>
            </a:r>
          </a:p>
        </p:txBody>
      </p:sp>
    </p:spTree>
    <p:extLst>
      <p:ext uri="{BB962C8B-B14F-4D97-AF65-F5344CB8AC3E}">
        <p14:creationId xmlns:p14="http://schemas.microsoft.com/office/powerpoint/2010/main" val="739843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окап ноутбу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9E3426B-DB6E-B8E1-F70C-879161DFF8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</a:blip>
          <a:srcRect t="5334" r="19416" b="15728"/>
          <a:stretch/>
        </p:blipFill>
        <p:spPr>
          <a:xfrm>
            <a:off x="5714228" y="0"/>
            <a:ext cx="18668185" cy="13716000"/>
          </a:xfrm>
          <a:prstGeom prst="rect">
            <a:avLst/>
          </a:prstGeom>
        </p:spPr>
      </p:pic>
      <p:sp>
        <p:nvSpPr>
          <p:cNvPr id="7" name="Рисунок 3">
            <a:extLst>
              <a:ext uri="{FF2B5EF4-FFF2-40B4-BE49-F238E27FC236}">
                <a16:creationId xmlns:a16="http://schemas.microsoft.com/office/drawing/2014/main" id="{93C68F31-7EB2-E274-E758-C37A8E252E3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931033" y="2579240"/>
            <a:ext cx="12671175" cy="7886612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скриншот сюд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5" y="4250620"/>
            <a:ext cx="9561808" cy="704023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7" name="Объект 5">
            <a:extLst>
              <a:ext uri="{FF2B5EF4-FFF2-40B4-BE49-F238E27FC236}">
                <a16:creationId xmlns:a16="http://schemas.microsoft.com/office/drawing/2014/main" id="{3725D6F7-8176-E23F-E9C1-C867DF3283E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6244" y="3257551"/>
            <a:ext cx="9534583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6" y="593726"/>
            <a:ext cx="23166132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128528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окап с двумя телефон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3D736F5-43B1-B751-0723-EDC2CB6452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1398" t="12840" r="31398" b="12840"/>
          <a:stretch/>
        </p:blipFill>
        <p:spPr>
          <a:xfrm>
            <a:off x="10498943" y="2350426"/>
            <a:ext cx="8812562" cy="13203772"/>
          </a:xfrm>
          <a:prstGeom prst="rect">
            <a:avLst/>
          </a:prstGeom>
        </p:spPr>
      </p:pic>
      <p:sp>
        <p:nvSpPr>
          <p:cNvPr id="4" name="Рисунок 3">
            <a:extLst>
              <a:ext uri="{FF2B5EF4-FFF2-40B4-BE49-F238E27FC236}">
                <a16:creationId xmlns:a16="http://schemas.microsoft.com/office/drawing/2014/main" id="{4CCFCE4D-5559-72A8-7B88-2E84F100604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321752" y="3445052"/>
            <a:ext cx="5149273" cy="11009412"/>
          </a:xfrm>
          <a:custGeom>
            <a:avLst/>
            <a:gdLst>
              <a:gd name="connsiteX0" fmla="*/ 72763 w 649089"/>
              <a:gd name="connsiteY0" fmla="*/ 0 h 1387699"/>
              <a:gd name="connsiteX1" fmla="*/ 162544 w 649089"/>
              <a:gd name="connsiteY1" fmla="*/ 0 h 1387699"/>
              <a:gd name="connsiteX2" fmla="*/ 162544 w 649089"/>
              <a:gd name="connsiteY2" fmla="*/ 9407 h 1387699"/>
              <a:gd name="connsiteX3" fmla="*/ 193603 w 649089"/>
              <a:gd name="connsiteY3" fmla="*/ 40466 h 1387699"/>
              <a:gd name="connsiteX4" fmla="*/ 455485 w 649089"/>
              <a:gd name="connsiteY4" fmla="*/ 40466 h 1387699"/>
              <a:gd name="connsiteX5" fmla="*/ 486544 w 649089"/>
              <a:gd name="connsiteY5" fmla="*/ 9407 h 1387699"/>
              <a:gd name="connsiteX6" fmla="*/ 486544 w 649089"/>
              <a:gd name="connsiteY6" fmla="*/ 0 h 1387699"/>
              <a:gd name="connsiteX7" fmla="*/ 576326 w 649089"/>
              <a:gd name="connsiteY7" fmla="*/ 0 h 1387699"/>
              <a:gd name="connsiteX8" fmla="*/ 649089 w 649089"/>
              <a:gd name="connsiteY8" fmla="*/ 72763 h 1387699"/>
              <a:gd name="connsiteX9" fmla="*/ 649089 w 649089"/>
              <a:gd name="connsiteY9" fmla="*/ 1314936 h 1387699"/>
              <a:gd name="connsiteX10" fmla="*/ 576326 w 649089"/>
              <a:gd name="connsiteY10" fmla="*/ 1387699 h 1387699"/>
              <a:gd name="connsiteX11" fmla="*/ 72763 w 649089"/>
              <a:gd name="connsiteY11" fmla="*/ 1387699 h 1387699"/>
              <a:gd name="connsiteX12" fmla="*/ 0 w 649089"/>
              <a:gd name="connsiteY12" fmla="*/ 1314936 h 1387699"/>
              <a:gd name="connsiteX13" fmla="*/ 0 w 649089"/>
              <a:gd name="connsiteY13" fmla="*/ 72763 h 1387699"/>
              <a:gd name="connsiteX14" fmla="*/ 72763 w 649089"/>
              <a:gd name="connsiteY14" fmla="*/ 0 h 1387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49089" h="1387699">
                <a:moveTo>
                  <a:pt x="72763" y="0"/>
                </a:moveTo>
                <a:lnTo>
                  <a:pt x="162544" y="0"/>
                </a:lnTo>
                <a:lnTo>
                  <a:pt x="162544" y="9407"/>
                </a:lnTo>
                <a:cubicBezTo>
                  <a:pt x="162544" y="26560"/>
                  <a:pt x="176450" y="40466"/>
                  <a:pt x="193603" y="40466"/>
                </a:cubicBezTo>
                <a:lnTo>
                  <a:pt x="455485" y="40466"/>
                </a:lnTo>
                <a:cubicBezTo>
                  <a:pt x="472638" y="40466"/>
                  <a:pt x="486544" y="26560"/>
                  <a:pt x="486544" y="9407"/>
                </a:cubicBezTo>
                <a:lnTo>
                  <a:pt x="486544" y="0"/>
                </a:lnTo>
                <a:lnTo>
                  <a:pt x="576326" y="0"/>
                </a:lnTo>
                <a:cubicBezTo>
                  <a:pt x="616512" y="0"/>
                  <a:pt x="649089" y="32577"/>
                  <a:pt x="649089" y="72763"/>
                </a:cubicBezTo>
                <a:lnTo>
                  <a:pt x="649089" y="1314936"/>
                </a:lnTo>
                <a:cubicBezTo>
                  <a:pt x="649089" y="1355122"/>
                  <a:pt x="616512" y="1387699"/>
                  <a:pt x="576326" y="1387699"/>
                </a:cubicBezTo>
                <a:lnTo>
                  <a:pt x="72763" y="1387699"/>
                </a:lnTo>
                <a:cubicBezTo>
                  <a:pt x="32577" y="1387699"/>
                  <a:pt x="0" y="1355122"/>
                  <a:pt x="0" y="1314936"/>
                </a:cubicBezTo>
                <a:lnTo>
                  <a:pt x="0" y="72763"/>
                </a:lnTo>
                <a:cubicBezTo>
                  <a:pt x="0" y="32577"/>
                  <a:pt x="32577" y="0"/>
                  <a:pt x="72763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скриншот сюд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C0C87977-595B-78DF-0913-B798ABDC82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1398" t="12840" r="31398" b="12840"/>
          <a:stretch/>
        </p:blipFill>
        <p:spPr>
          <a:xfrm>
            <a:off x="16420385" y="0"/>
            <a:ext cx="8812562" cy="13203772"/>
          </a:xfrm>
          <a:prstGeom prst="rect">
            <a:avLst/>
          </a:prstGeom>
        </p:spPr>
      </p:pic>
      <p:sp>
        <p:nvSpPr>
          <p:cNvPr id="10" name="Рисунок 9">
            <a:extLst>
              <a:ext uri="{FF2B5EF4-FFF2-40B4-BE49-F238E27FC236}">
                <a16:creationId xmlns:a16="http://schemas.microsoft.com/office/drawing/2014/main" id="{A2DDE400-D0B4-27EE-4C0A-981C8A1D52D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8243195" y="1094626"/>
            <a:ext cx="5149273" cy="11009412"/>
          </a:xfrm>
          <a:custGeom>
            <a:avLst/>
            <a:gdLst>
              <a:gd name="connsiteX0" fmla="*/ 72763 w 649089"/>
              <a:gd name="connsiteY0" fmla="*/ 0 h 1387699"/>
              <a:gd name="connsiteX1" fmla="*/ 162544 w 649089"/>
              <a:gd name="connsiteY1" fmla="*/ 0 h 1387699"/>
              <a:gd name="connsiteX2" fmla="*/ 162544 w 649089"/>
              <a:gd name="connsiteY2" fmla="*/ 9407 h 1387699"/>
              <a:gd name="connsiteX3" fmla="*/ 193603 w 649089"/>
              <a:gd name="connsiteY3" fmla="*/ 40466 h 1387699"/>
              <a:gd name="connsiteX4" fmla="*/ 455485 w 649089"/>
              <a:gd name="connsiteY4" fmla="*/ 40466 h 1387699"/>
              <a:gd name="connsiteX5" fmla="*/ 486544 w 649089"/>
              <a:gd name="connsiteY5" fmla="*/ 9407 h 1387699"/>
              <a:gd name="connsiteX6" fmla="*/ 486544 w 649089"/>
              <a:gd name="connsiteY6" fmla="*/ 0 h 1387699"/>
              <a:gd name="connsiteX7" fmla="*/ 576326 w 649089"/>
              <a:gd name="connsiteY7" fmla="*/ 0 h 1387699"/>
              <a:gd name="connsiteX8" fmla="*/ 649089 w 649089"/>
              <a:gd name="connsiteY8" fmla="*/ 72763 h 1387699"/>
              <a:gd name="connsiteX9" fmla="*/ 649089 w 649089"/>
              <a:gd name="connsiteY9" fmla="*/ 1314936 h 1387699"/>
              <a:gd name="connsiteX10" fmla="*/ 576326 w 649089"/>
              <a:gd name="connsiteY10" fmla="*/ 1387699 h 1387699"/>
              <a:gd name="connsiteX11" fmla="*/ 72763 w 649089"/>
              <a:gd name="connsiteY11" fmla="*/ 1387699 h 1387699"/>
              <a:gd name="connsiteX12" fmla="*/ 0 w 649089"/>
              <a:gd name="connsiteY12" fmla="*/ 1314936 h 1387699"/>
              <a:gd name="connsiteX13" fmla="*/ 0 w 649089"/>
              <a:gd name="connsiteY13" fmla="*/ 72763 h 1387699"/>
              <a:gd name="connsiteX14" fmla="*/ 72763 w 649089"/>
              <a:gd name="connsiteY14" fmla="*/ 0 h 1387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49089" h="1387699">
                <a:moveTo>
                  <a:pt x="72763" y="0"/>
                </a:moveTo>
                <a:lnTo>
                  <a:pt x="162544" y="0"/>
                </a:lnTo>
                <a:lnTo>
                  <a:pt x="162544" y="9407"/>
                </a:lnTo>
                <a:cubicBezTo>
                  <a:pt x="162544" y="26560"/>
                  <a:pt x="176450" y="40466"/>
                  <a:pt x="193603" y="40466"/>
                </a:cubicBezTo>
                <a:lnTo>
                  <a:pt x="455485" y="40466"/>
                </a:lnTo>
                <a:cubicBezTo>
                  <a:pt x="472638" y="40466"/>
                  <a:pt x="486544" y="26560"/>
                  <a:pt x="486544" y="9407"/>
                </a:cubicBezTo>
                <a:lnTo>
                  <a:pt x="486544" y="0"/>
                </a:lnTo>
                <a:lnTo>
                  <a:pt x="576326" y="0"/>
                </a:lnTo>
                <a:cubicBezTo>
                  <a:pt x="616512" y="0"/>
                  <a:pt x="649089" y="32577"/>
                  <a:pt x="649089" y="72763"/>
                </a:cubicBezTo>
                <a:lnTo>
                  <a:pt x="649089" y="1314936"/>
                </a:lnTo>
                <a:cubicBezTo>
                  <a:pt x="649089" y="1355122"/>
                  <a:pt x="616512" y="1387699"/>
                  <a:pt x="576326" y="1387699"/>
                </a:cubicBezTo>
                <a:lnTo>
                  <a:pt x="72763" y="1387699"/>
                </a:lnTo>
                <a:cubicBezTo>
                  <a:pt x="32577" y="1387699"/>
                  <a:pt x="0" y="1355122"/>
                  <a:pt x="0" y="1314936"/>
                </a:cubicBezTo>
                <a:lnTo>
                  <a:pt x="0" y="72763"/>
                </a:lnTo>
                <a:cubicBezTo>
                  <a:pt x="0" y="32577"/>
                  <a:pt x="32577" y="0"/>
                  <a:pt x="72763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скриншот сюда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6" y="593726"/>
            <a:ext cx="1685477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5" y="4250621"/>
            <a:ext cx="10793135" cy="887165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7" name="Объект 5">
            <a:extLst>
              <a:ext uri="{FF2B5EF4-FFF2-40B4-BE49-F238E27FC236}">
                <a16:creationId xmlns:a16="http://schemas.microsoft.com/office/drawing/2014/main" id="{3725D6F7-8176-E23F-E9C1-C867DF3283E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6244" y="3257551"/>
            <a:ext cx="10793133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9251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окап компьютер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EB0185B-9CA4-1896-4D47-8F8E55E7C2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"/>
                    </a14:imgEffect>
                  </a14:imgLayer>
                </a14:imgProps>
              </a:ext>
            </a:extLst>
          </a:blip>
          <a:srcRect t="2733" r="21411" b="22418"/>
          <a:stretch/>
        </p:blipFill>
        <p:spPr>
          <a:xfrm>
            <a:off x="5182070" y="-1"/>
            <a:ext cx="19200344" cy="13716002"/>
          </a:xfrm>
          <a:prstGeom prst="rect">
            <a:avLst/>
          </a:prstGeom>
        </p:spPr>
      </p:pic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6" y="593726"/>
            <a:ext cx="23166132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5" y="4250621"/>
            <a:ext cx="9561808" cy="631704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7" name="Объект 5">
            <a:extLst>
              <a:ext uri="{FF2B5EF4-FFF2-40B4-BE49-F238E27FC236}">
                <a16:creationId xmlns:a16="http://schemas.microsoft.com/office/drawing/2014/main" id="{3725D6F7-8176-E23F-E9C1-C867DF3283E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6244" y="3257551"/>
            <a:ext cx="7344246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7" name="Рисунок 3">
            <a:extLst>
              <a:ext uri="{FF2B5EF4-FFF2-40B4-BE49-F238E27FC236}">
                <a16:creationId xmlns:a16="http://schemas.microsoft.com/office/drawing/2014/main" id="{BB3DBA85-A004-FC44-648F-9A669B5699C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320406" y="3135084"/>
            <a:ext cx="12075100" cy="6821716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скриншот сюда</a:t>
            </a:r>
          </a:p>
        </p:txBody>
      </p:sp>
    </p:spTree>
    <p:extLst>
      <p:ext uri="{BB962C8B-B14F-4D97-AF65-F5344CB8AC3E}">
        <p14:creationId xmlns:p14="http://schemas.microsoft.com/office/powerpoint/2010/main" val="4138951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окап айпад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6" y="593726"/>
            <a:ext cx="12329653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4" y="4250621"/>
            <a:ext cx="12329653" cy="887165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7" name="Объект 5">
            <a:extLst>
              <a:ext uri="{FF2B5EF4-FFF2-40B4-BE49-F238E27FC236}">
                <a16:creationId xmlns:a16="http://schemas.microsoft.com/office/drawing/2014/main" id="{3725D6F7-8176-E23F-E9C1-C867DF3283E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6242" y="3257551"/>
            <a:ext cx="12329653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0391209-1F51-053A-43C7-82298E317B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813863" y="-334654"/>
            <a:ext cx="14774578" cy="14775540"/>
          </a:xfrm>
          <a:prstGeom prst="rect">
            <a:avLst/>
          </a:prstGeom>
        </p:spPr>
      </p:pic>
      <p:sp>
        <p:nvSpPr>
          <p:cNvPr id="4" name="Рисунок 3">
            <a:extLst>
              <a:ext uri="{FF2B5EF4-FFF2-40B4-BE49-F238E27FC236}">
                <a16:creationId xmlns:a16="http://schemas.microsoft.com/office/drawing/2014/main" id="{BE53EAE3-2E04-4D98-376C-DA986D856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5006795" y="1107103"/>
            <a:ext cx="8279461" cy="11549354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скриншот сюда</a:t>
            </a:r>
          </a:p>
        </p:txBody>
      </p:sp>
    </p:spTree>
    <p:extLst>
      <p:ext uri="{BB962C8B-B14F-4D97-AF65-F5344CB8AC3E}">
        <p14:creationId xmlns:p14="http://schemas.microsoft.com/office/powerpoint/2010/main" val="2111620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е фото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id="{86E72D2E-C53D-AE8D-F2F0-B8BBCCF96CAE}"/>
              </a:ext>
            </a:extLst>
          </p:cNvPr>
          <p:cNvSpPr/>
          <p:nvPr userDrawn="1"/>
        </p:nvSpPr>
        <p:spPr>
          <a:xfrm>
            <a:off x="616245" y="3257550"/>
            <a:ext cx="11233327" cy="9864724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sz="3600"/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99378493-3670-7E93-F126-8871B572E027}"/>
              </a:ext>
            </a:extLst>
          </p:cNvPr>
          <p:cNvSpPr/>
          <p:nvPr userDrawn="1"/>
        </p:nvSpPr>
        <p:spPr>
          <a:xfrm>
            <a:off x="12532843" y="3257550"/>
            <a:ext cx="11233327" cy="9864724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sz="360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19042075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46424" y="8592459"/>
            <a:ext cx="10110798" cy="413294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3200"/>
              </a:spcAft>
              <a:buClr>
                <a:srgbClr val="FC6D54"/>
              </a:buClr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63FC8F38-227B-C664-53EF-6CD2507FE12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6244" y="3257553"/>
            <a:ext cx="11233325" cy="4664726"/>
          </a:xfrm>
          <a:custGeom>
            <a:avLst/>
            <a:gdLst>
              <a:gd name="connsiteX0" fmla="*/ 104527 w 3678992"/>
              <a:gd name="connsiteY0" fmla="*/ 0 h 2332363"/>
              <a:gd name="connsiteX1" fmla="*/ 3574465 w 3678992"/>
              <a:gd name="connsiteY1" fmla="*/ 0 h 2332363"/>
              <a:gd name="connsiteX2" fmla="*/ 3678992 w 3678992"/>
              <a:gd name="connsiteY2" fmla="*/ 104527 h 2332363"/>
              <a:gd name="connsiteX3" fmla="*/ 3678992 w 3678992"/>
              <a:gd name="connsiteY3" fmla="*/ 2332363 h 2332363"/>
              <a:gd name="connsiteX4" fmla="*/ 0 w 3678992"/>
              <a:gd name="connsiteY4" fmla="*/ 2332363 h 2332363"/>
              <a:gd name="connsiteX5" fmla="*/ 0 w 3678992"/>
              <a:gd name="connsiteY5" fmla="*/ 104527 h 2332363"/>
              <a:gd name="connsiteX6" fmla="*/ 104527 w 3678992"/>
              <a:gd name="connsiteY6" fmla="*/ 0 h 2332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78992" h="2332363">
                <a:moveTo>
                  <a:pt x="104527" y="0"/>
                </a:moveTo>
                <a:lnTo>
                  <a:pt x="3574465" y="0"/>
                </a:lnTo>
                <a:cubicBezTo>
                  <a:pt x="3632194" y="0"/>
                  <a:pt x="3678992" y="46798"/>
                  <a:pt x="3678992" y="104527"/>
                </a:cubicBezTo>
                <a:lnTo>
                  <a:pt x="3678992" y="2332363"/>
                </a:lnTo>
                <a:lnTo>
                  <a:pt x="0" y="2332363"/>
                </a:lnTo>
                <a:lnTo>
                  <a:pt x="0" y="104527"/>
                </a:lnTo>
                <a:cubicBezTo>
                  <a:pt x="0" y="46798"/>
                  <a:pt x="46798" y="0"/>
                  <a:pt x="104527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5" name="Объект 5">
            <a:extLst>
              <a:ext uri="{FF2B5EF4-FFF2-40B4-BE49-F238E27FC236}">
                <a16:creationId xmlns:a16="http://schemas.microsoft.com/office/drawing/2014/main" id="{E8DE167D-5304-FE85-BFF9-046B2E77388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2863023" y="8592459"/>
            <a:ext cx="10110798" cy="413294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3200"/>
              </a:spcAft>
              <a:buClr>
                <a:srgbClr val="FC6D54"/>
              </a:buClr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1F1F0A75-8294-9FD5-4369-76BDF8905C9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2532842" y="3257553"/>
            <a:ext cx="11233325" cy="4664726"/>
          </a:xfrm>
          <a:custGeom>
            <a:avLst/>
            <a:gdLst>
              <a:gd name="connsiteX0" fmla="*/ 104527 w 3678992"/>
              <a:gd name="connsiteY0" fmla="*/ 0 h 2332363"/>
              <a:gd name="connsiteX1" fmla="*/ 3574465 w 3678992"/>
              <a:gd name="connsiteY1" fmla="*/ 0 h 2332363"/>
              <a:gd name="connsiteX2" fmla="*/ 3678992 w 3678992"/>
              <a:gd name="connsiteY2" fmla="*/ 104527 h 2332363"/>
              <a:gd name="connsiteX3" fmla="*/ 3678992 w 3678992"/>
              <a:gd name="connsiteY3" fmla="*/ 2332363 h 2332363"/>
              <a:gd name="connsiteX4" fmla="*/ 0 w 3678992"/>
              <a:gd name="connsiteY4" fmla="*/ 2332363 h 2332363"/>
              <a:gd name="connsiteX5" fmla="*/ 0 w 3678992"/>
              <a:gd name="connsiteY5" fmla="*/ 104527 h 2332363"/>
              <a:gd name="connsiteX6" fmla="*/ 104527 w 3678992"/>
              <a:gd name="connsiteY6" fmla="*/ 0 h 2332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78992" h="2332363">
                <a:moveTo>
                  <a:pt x="104527" y="0"/>
                </a:moveTo>
                <a:lnTo>
                  <a:pt x="3574465" y="0"/>
                </a:lnTo>
                <a:cubicBezTo>
                  <a:pt x="3632194" y="0"/>
                  <a:pt x="3678992" y="46798"/>
                  <a:pt x="3678992" y="104527"/>
                </a:cubicBezTo>
                <a:lnTo>
                  <a:pt x="3678992" y="2332363"/>
                </a:lnTo>
                <a:lnTo>
                  <a:pt x="0" y="2332363"/>
                </a:lnTo>
                <a:lnTo>
                  <a:pt x="0" y="104527"/>
                </a:lnTo>
                <a:cubicBezTo>
                  <a:pt x="0" y="46798"/>
                  <a:pt x="46798" y="0"/>
                  <a:pt x="104527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</p:spTree>
    <p:extLst>
      <p:ext uri="{BB962C8B-B14F-4D97-AF65-F5344CB8AC3E}">
        <p14:creationId xmlns:p14="http://schemas.microsoft.com/office/powerpoint/2010/main" val="7609248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ри фото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id="{86E72D2E-C53D-AE8D-F2F0-B8BBCCF96CAE}"/>
              </a:ext>
            </a:extLst>
          </p:cNvPr>
          <p:cNvSpPr/>
          <p:nvPr userDrawn="1"/>
        </p:nvSpPr>
        <p:spPr>
          <a:xfrm>
            <a:off x="616247" y="3257550"/>
            <a:ext cx="7357507" cy="9864724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sz="3600"/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99378493-3670-7E93-F126-8871B572E027}"/>
              </a:ext>
            </a:extLst>
          </p:cNvPr>
          <p:cNvSpPr/>
          <p:nvPr userDrawn="1"/>
        </p:nvSpPr>
        <p:spPr>
          <a:xfrm>
            <a:off x="8515133" y="3257550"/>
            <a:ext cx="7357507" cy="9864724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sz="3600"/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5B25FCE4-3F71-30A7-AC3C-F97108CD9044}"/>
              </a:ext>
            </a:extLst>
          </p:cNvPr>
          <p:cNvSpPr/>
          <p:nvPr userDrawn="1"/>
        </p:nvSpPr>
        <p:spPr>
          <a:xfrm>
            <a:off x="16414019" y="3257550"/>
            <a:ext cx="7357507" cy="9864724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sz="360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19042075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46425" y="9963751"/>
            <a:ext cx="6622283" cy="27616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3200"/>
              </a:spcAft>
              <a:buClr>
                <a:srgbClr val="FC6D54"/>
              </a:buClr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" name="Рисунок 3">
            <a:extLst>
              <a:ext uri="{FF2B5EF4-FFF2-40B4-BE49-F238E27FC236}">
                <a16:creationId xmlns:a16="http://schemas.microsoft.com/office/drawing/2014/main" id="{F63C95C8-05F7-0374-BB27-356BB87131A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6246" y="3257550"/>
            <a:ext cx="7357505" cy="6283572"/>
          </a:xfrm>
          <a:prstGeom prst="round2SameRect">
            <a:avLst>
              <a:gd name="adj1" fmla="val 3327"/>
              <a:gd name="adj2" fmla="val 0"/>
            </a:avLst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5" name="Объект 5">
            <a:extLst>
              <a:ext uri="{FF2B5EF4-FFF2-40B4-BE49-F238E27FC236}">
                <a16:creationId xmlns:a16="http://schemas.microsoft.com/office/drawing/2014/main" id="{E8DE167D-5304-FE85-BFF9-046B2E77388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845311" y="9963751"/>
            <a:ext cx="6622283" cy="27616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3200"/>
              </a:spcAft>
              <a:buClr>
                <a:srgbClr val="FC6D54"/>
              </a:buClr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7" name="Рисунок 3">
            <a:extLst>
              <a:ext uri="{FF2B5EF4-FFF2-40B4-BE49-F238E27FC236}">
                <a16:creationId xmlns:a16="http://schemas.microsoft.com/office/drawing/2014/main" id="{954A5278-1349-0DCA-21E3-5517E528CA9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515132" y="3257550"/>
            <a:ext cx="7357505" cy="6283572"/>
          </a:xfrm>
          <a:prstGeom prst="round2SameRect">
            <a:avLst>
              <a:gd name="adj1" fmla="val 3327"/>
              <a:gd name="adj2" fmla="val 0"/>
            </a:avLst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11" name="Объект 5">
            <a:extLst>
              <a:ext uri="{FF2B5EF4-FFF2-40B4-BE49-F238E27FC236}">
                <a16:creationId xmlns:a16="http://schemas.microsoft.com/office/drawing/2014/main" id="{9DB98213-D44F-82FB-4552-A3F186DEE4F5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6744197" y="9963751"/>
            <a:ext cx="6622283" cy="27616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3200"/>
              </a:spcAft>
              <a:buClr>
                <a:srgbClr val="FC6D54"/>
              </a:buClr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2" name="Рисунок 3">
            <a:extLst>
              <a:ext uri="{FF2B5EF4-FFF2-40B4-BE49-F238E27FC236}">
                <a16:creationId xmlns:a16="http://schemas.microsoft.com/office/drawing/2014/main" id="{F9F1B503-3361-9CA4-9C00-C024F89BFA8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6414018" y="3257550"/>
            <a:ext cx="7357505" cy="6283572"/>
          </a:xfrm>
          <a:prstGeom prst="round2SameRect">
            <a:avLst>
              <a:gd name="adj1" fmla="val 3327"/>
              <a:gd name="adj2" fmla="val 0"/>
            </a:avLst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</p:spTree>
    <p:extLst>
      <p:ext uri="{BB962C8B-B14F-4D97-AF65-F5344CB8AC3E}">
        <p14:creationId xmlns:p14="http://schemas.microsoft.com/office/powerpoint/2010/main" val="167882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Изображение на весь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3">
            <a:extLst>
              <a:ext uri="{FF2B5EF4-FFF2-40B4-BE49-F238E27FC236}">
                <a16:creationId xmlns:a16="http://schemas.microsoft.com/office/drawing/2014/main" id="{19F2B3E9-F71D-07AB-76A4-3AFF3CACAF3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2082801"/>
            <a:ext cx="24382413" cy="11633198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19042075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3563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Изображение на весь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3">
            <a:extLst>
              <a:ext uri="{FF2B5EF4-FFF2-40B4-BE49-F238E27FC236}">
                <a16:creationId xmlns:a16="http://schemas.microsoft.com/office/drawing/2014/main" id="{19F2B3E9-F71D-07AB-76A4-3AFF3CACAF3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24382413" cy="13715998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A61807B9-F128-DB4E-2EA6-484BEFFB11D8}"/>
              </a:ext>
            </a:extLst>
          </p:cNvPr>
          <p:cNvSpPr/>
          <p:nvPr userDrawn="1"/>
        </p:nvSpPr>
        <p:spPr>
          <a:xfrm>
            <a:off x="16414143" y="593726"/>
            <a:ext cx="7357507" cy="12436568"/>
          </a:xfrm>
          <a:prstGeom prst="roundRect">
            <a:avLst>
              <a:gd name="adj" fmla="val 3355"/>
            </a:avLst>
          </a:prstGeom>
          <a:solidFill>
            <a:schemeClr val="tx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4" name="Объект 5">
            <a:extLst>
              <a:ext uri="{FF2B5EF4-FFF2-40B4-BE49-F238E27FC236}">
                <a16:creationId xmlns:a16="http://schemas.microsoft.com/office/drawing/2014/main" id="{3237515C-37B5-6AC7-A5CA-F097AD98CBCF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16773670" y="4797915"/>
            <a:ext cx="6627641" cy="7835506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73672" y="1200027"/>
            <a:ext cx="6627641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49332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еребив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0D0EBE17-2011-0B4C-9E44-825996AF25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54048" y="1228459"/>
            <a:ext cx="21601113" cy="22386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18000">
                <a:solidFill>
                  <a:srgbClr val="000000"/>
                </a:solidFill>
              </a:defRPr>
            </a:lvl1pPr>
          </a:lstStyle>
          <a:p>
            <a:r>
              <a:rPr lang="ru-RU" dirty="0"/>
              <a:t>Название главы</a:t>
            </a:r>
          </a:p>
        </p:txBody>
      </p:sp>
      <p:sp>
        <p:nvSpPr>
          <p:cNvPr id="7" name="Номер слайда 9">
            <a:extLst>
              <a:ext uri="{FF2B5EF4-FFF2-40B4-BE49-F238E27FC236}">
                <a16:creationId xmlns:a16="http://schemas.microsoft.com/office/drawing/2014/main" id="{CCA98BE9-B6CD-D24B-A4EB-783B42514E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991763" y="12158276"/>
            <a:ext cx="869268" cy="730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2000">
                <a:solidFill>
                  <a:srgbClr val="BBBBBB"/>
                </a:solidFill>
              </a:defRPr>
            </a:lvl1pPr>
          </a:lstStyle>
          <a:p>
            <a:fld id="{283B1AB1-319D-4B24-A7E6-2CF2EF1A436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50230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Буллиты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3">
            <a:extLst>
              <a:ext uri="{FF2B5EF4-FFF2-40B4-BE49-F238E27FC236}">
                <a16:creationId xmlns:a16="http://schemas.microsoft.com/office/drawing/2014/main" id="{93C68F31-7EB2-E274-E758-C37A8E252E3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667308" y="4227751"/>
            <a:ext cx="13098863" cy="8894510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9561808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5" y="4227751"/>
            <a:ext cx="9561808" cy="631704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1C656F75-5705-D50A-08CC-766FB3572A16}"/>
              </a:ext>
            </a:extLst>
          </p:cNvPr>
          <p:cNvCxnSpPr>
            <a:cxnSpLocks/>
          </p:cNvCxnSpPr>
          <p:nvPr userDrawn="1"/>
        </p:nvCxnSpPr>
        <p:spPr>
          <a:xfrm>
            <a:off x="616245" y="3734196"/>
            <a:ext cx="95618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230BF053-C397-9682-B355-D20C1AFB96C4}"/>
              </a:ext>
            </a:extLst>
          </p:cNvPr>
          <p:cNvCxnSpPr>
            <a:cxnSpLocks/>
          </p:cNvCxnSpPr>
          <p:nvPr userDrawn="1"/>
        </p:nvCxnSpPr>
        <p:spPr>
          <a:xfrm>
            <a:off x="10667307" y="3734196"/>
            <a:ext cx="1313127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BA05FFD5-95E4-A484-CA8C-4071800136A1}"/>
              </a:ext>
            </a:extLst>
          </p:cNvPr>
          <p:cNvCxnSpPr>
            <a:cxnSpLocks/>
          </p:cNvCxnSpPr>
          <p:nvPr userDrawn="1"/>
        </p:nvCxnSpPr>
        <p:spPr>
          <a:xfrm>
            <a:off x="10422678" y="3919951"/>
            <a:ext cx="0" cy="920232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6029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Буллиты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3">
            <a:extLst>
              <a:ext uri="{FF2B5EF4-FFF2-40B4-BE49-F238E27FC236}">
                <a16:creationId xmlns:a16="http://schemas.microsoft.com/office/drawing/2014/main" id="{93C68F31-7EB2-E274-E758-C37A8E252E3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4241459" y="4227751"/>
            <a:ext cx="9524712" cy="8894510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9561808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C93B400-DCB6-F756-4FBE-412A451D0C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6" y="5362588"/>
            <a:ext cx="6165115" cy="775965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1C656F75-5705-D50A-08CC-766FB3572A16}"/>
              </a:ext>
            </a:extLst>
          </p:cNvPr>
          <p:cNvCxnSpPr>
            <a:cxnSpLocks/>
          </p:cNvCxnSpPr>
          <p:nvPr userDrawn="1"/>
        </p:nvCxnSpPr>
        <p:spPr>
          <a:xfrm>
            <a:off x="616245" y="3734196"/>
            <a:ext cx="616511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230BF053-C397-9682-B355-D20C1AFB96C4}"/>
              </a:ext>
            </a:extLst>
          </p:cNvPr>
          <p:cNvCxnSpPr>
            <a:cxnSpLocks/>
          </p:cNvCxnSpPr>
          <p:nvPr userDrawn="1"/>
        </p:nvCxnSpPr>
        <p:spPr>
          <a:xfrm>
            <a:off x="14273872" y="3734196"/>
            <a:ext cx="952471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BA05FFD5-95E4-A484-CA8C-4071800136A1}"/>
              </a:ext>
            </a:extLst>
          </p:cNvPr>
          <p:cNvCxnSpPr>
            <a:cxnSpLocks/>
          </p:cNvCxnSpPr>
          <p:nvPr userDrawn="1"/>
        </p:nvCxnSpPr>
        <p:spPr>
          <a:xfrm>
            <a:off x="7120893" y="3919951"/>
            <a:ext cx="0" cy="920232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Объект 5">
            <a:extLst>
              <a:ext uri="{FF2B5EF4-FFF2-40B4-BE49-F238E27FC236}">
                <a16:creationId xmlns:a16="http://schemas.microsoft.com/office/drawing/2014/main" id="{2DDB62A0-43DB-CCBA-CC7E-F519A38F921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7397604" y="5362588"/>
            <a:ext cx="6165115" cy="775965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9BA0CC98-0C82-DC37-18A6-AB191D33EE7C}"/>
              </a:ext>
            </a:extLst>
          </p:cNvPr>
          <p:cNvCxnSpPr>
            <a:cxnSpLocks/>
          </p:cNvCxnSpPr>
          <p:nvPr userDrawn="1"/>
        </p:nvCxnSpPr>
        <p:spPr>
          <a:xfrm>
            <a:off x="7397603" y="3734196"/>
            <a:ext cx="616511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A3BAF73B-D184-4CBB-5D0D-318CEDD103E2}"/>
              </a:ext>
            </a:extLst>
          </p:cNvPr>
          <p:cNvCxnSpPr>
            <a:cxnSpLocks/>
          </p:cNvCxnSpPr>
          <p:nvPr userDrawn="1"/>
        </p:nvCxnSpPr>
        <p:spPr>
          <a:xfrm>
            <a:off x="13902251" y="3919951"/>
            <a:ext cx="0" cy="920232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Объект 5">
            <a:extLst>
              <a:ext uri="{FF2B5EF4-FFF2-40B4-BE49-F238E27FC236}">
                <a16:creationId xmlns:a16="http://schemas.microsoft.com/office/drawing/2014/main" id="{C1ADA6BE-183D-B841-38C1-7AE5CFC9C2C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0036" y="4227751"/>
            <a:ext cx="6165061" cy="6647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6" name="Объект 5">
            <a:extLst>
              <a:ext uri="{FF2B5EF4-FFF2-40B4-BE49-F238E27FC236}">
                <a16:creationId xmlns:a16="http://schemas.microsoft.com/office/drawing/2014/main" id="{0A9C05CF-914B-0FEA-A723-7EA894D098DC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7397603" y="4227751"/>
            <a:ext cx="6165061" cy="6647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7043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с поясн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Номер слайда 5">
            <a:extLst>
              <a:ext uri="{FF2B5EF4-FFF2-40B4-BE49-F238E27FC236}">
                <a16:creationId xmlns:a16="http://schemas.microsoft.com/office/drawing/2014/main" id="{4005A651-6082-6391-B58A-454538B2DE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5">
            <a:extLst>
              <a:ext uri="{FF2B5EF4-FFF2-40B4-BE49-F238E27FC236}">
                <a16:creationId xmlns:a16="http://schemas.microsoft.com/office/drawing/2014/main" id="{C49BAB62-2ADC-4E64-6B44-3B3FE5A5E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6" y="3946819"/>
            <a:ext cx="12337725" cy="291118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70000"/>
              </a:lnSpc>
              <a:defRPr sz="13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0C884AB-2306-B1FF-CA83-DC42D66D95D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16046" y="7350828"/>
            <a:ext cx="11675160" cy="129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911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26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Крупный тезис с описа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27FC221-2432-DF8B-A15B-3028584F9B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6594" t="4924" r="54044" b="53466"/>
          <a:stretch/>
        </p:blipFill>
        <p:spPr>
          <a:xfrm rot="16200000" flipH="1">
            <a:off x="9234389" y="-1432024"/>
            <a:ext cx="13716008" cy="16580041"/>
          </a:xfrm>
          <a:prstGeom prst="rect">
            <a:avLst/>
          </a:prstGeom>
        </p:spPr>
      </p:pic>
      <p:sp>
        <p:nvSpPr>
          <p:cNvPr id="2" name="Заголовок 5">
            <a:extLst>
              <a:ext uri="{FF2B5EF4-FFF2-40B4-BE49-F238E27FC236}">
                <a16:creationId xmlns:a16="http://schemas.microsoft.com/office/drawing/2014/main" id="{C49BAB62-2ADC-4E64-6B44-3B3FE5A5E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6" y="4476067"/>
            <a:ext cx="12337725" cy="238193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70000"/>
              </a:lnSpc>
              <a:defRPr sz="107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0C884AB-2306-B1FF-CA83-DC42D66D95D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16046" y="7350828"/>
            <a:ext cx="11675160" cy="129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A77A64C7-FB25-0AF0-1B84-FC063A5F3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1140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26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Крупный тезис с описа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F695515-425D-AA53-8A9E-AE00BFE435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904" t="3962" r="44450" b="11878"/>
          <a:stretch/>
        </p:blipFill>
        <p:spPr>
          <a:xfrm rot="16200000">
            <a:off x="9335987" y="-1330433"/>
            <a:ext cx="13716002" cy="16376854"/>
          </a:xfrm>
          <a:prstGeom prst="rect">
            <a:avLst/>
          </a:prstGeom>
        </p:spPr>
      </p:pic>
      <p:sp>
        <p:nvSpPr>
          <p:cNvPr id="2" name="Заголовок 5">
            <a:extLst>
              <a:ext uri="{FF2B5EF4-FFF2-40B4-BE49-F238E27FC236}">
                <a16:creationId xmlns:a16="http://schemas.microsoft.com/office/drawing/2014/main" id="{C49BAB62-2ADC-4E64-6B44-3B3FE5A5E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6" y="4476067"/>
            <a:ext cx="12337725" cy="238193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70000"/>
              </a:lnSpc>
              <a:defRPr sz="107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0C884AB-2306-B1FF-CA83-DC42D66D95D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16046" y="7350828"/>
            <a:ext cx="11675160" cy="129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A77A64C7-FB25-0AF0-1B84-FC063A5F3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23341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26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Крупный тезис с описа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>
            <a:extLst>
              <a:ext uri="{FF2B5EF4-FFF2-40B4-BE49-F238E27FC236}">
                <a16:creationId xmlns:a16="http://schemas.microsoft.com/office/drawing/2014/main" id="{2CD621C7-4F66-A09D-E2B8-7F0689A665B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384541" y="0"/>
            <a:ext cx="10997872" cy="13716000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2" name="Заголовок 5">
            <a:extLst>
              <a:ext uri="{FF2B5EF4-FFF2-40B4-BE49-F238E27FC236}">
                <a16:creationId xmlns:a16="http://schemas.microsoft.com/office/drawing/2014/main" id="{C49BAB62-2ADC-4E64-6B44-3B3FE5A5E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7" y="4476067"/>
            <a:ext cx="12068169" cy="238193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70000"/>
              </a:lnSpc>
              <a:defRPr sz="107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0C884AB-2306-B1FF-CA83-DC42D66D95D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16046" y="7350828"/>
            <a:ext cx="12068167" cy="129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A77A64C7-FB25-0AF0-1B84-FC063A5F3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42054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26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с пояснением для графи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5">
            <a:extLst>
              <a:ext uri="{FF2B5EF4-FFF2-40B4-BE49-F238E27FC236}">
                <a16:creationId xmlns:a16="http://schemas.microsoft.com/office/drawing/2014/main" id="{C49BAB62-2ADC-4E64-6B44-3B3FE5A5E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6" y="2531675"/>
            <a:ext cx="12337725" cy="291118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70000"/>
              </a:lnSpc>
              <a:defRPr sz="13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0C884AB-2306-B1FF-CA83-DC42D66D95D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16046" y="5935684"/>
            <a:ext cx="11675160" cy="129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A77A64C7-FB25-0AF0-1B84-FC063A5F3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04794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2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3">
            <a:extLst>
              <a:ext uri="{FF2B5EF4-FFF2-40B4-BE49-F238E27FC236}">
                <a16:creationId xmlns:a16="http://schemas.microsoft.com/office/drawing/2014/main" id="{59711A3A-7415-E168-40FD-804F90FFE12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667306" y="0"/>
            <a:ext cx="13715107" cy="13716000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2" name="Заголовок 5">
            <a:extLst>
              <a:ext uri="{FF2B5EF4-FFF2-40B4-BE49-F238E27FC236}">
                <a16:creationId xmlns:a16="http://schemas.microsoft.com/office/drawing/2014/main" id="{C49BAB62-2ADC-4E64-6B44-3B3FE5A5E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8095" y="6871855"/>
            <a:ext cx="12337725" cy="291118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70000"/>
              </a:lnSpc>
              <a:defRPr sz="131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0C884AB-2306-B1FF-CA83-DC42D66D95D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1458095" y="10275864"/>
            <a:ext cx="11675160" cy="129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A77A64C7-FB25-0AF0-1B84-FC063A5F3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76185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2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Цитата / маленькая фотограф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A0FB5E3-1ACD-5501-CBF0-4E70F95C15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05" t="64638" r="64921" b="4008"/>
          <a:stretch/>
        </p:blipFill>
        <p:spPr>
          <a:xfrm rot="5400000" flipH="1">
            <a:off x="9904900" y="-761514"/>
            <a:ext cx="13716018" cy="15239008"/>
          </a:xfrm>
          <a:prstGeom prst="rect">
            <a:avLst/>
          </a:prstGeom>
        </p:spPr>
      </p:pic>
      <p:sp>
        <p:nvSpPr>
          <p:cNvPr id="7" name="Овал 6">
            <a:extLst>
              <a:ext uri="{FF2B5EF4-FFF2-40B4-BE49-F238E27FC236}">
                <a16:creationId xmlns:a16="http://schemas.microsoft.com/office/drawing/2014/main" id="{BC195574-5523-02BD-84B2-DE7A1477B26F}"/>
              </a:ext>
            </a:extLst>
          </p:cNvPr>
          <p:cNvSpPr/>
          <p:nvPr userDrawn="1"/>
        </p:nvSpPr>
        <p:spPr>
          <a:xfrm>
            <a:off x="1458096" y="2416931"/>
            <a:ext cx="2566495" cy="2566662"/>
          </a:xfrm>
          <a:prstGeom prst="ellipse">
            <a:avLst/>
          </a:prstGeom>
          <a:ln w="38100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2600BD94-DDE6-6E7A-46D1-0796AECFD59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458095" y="2416930"/>
            <a:ext cx="2566497" cy="2566664"/>
          </a:xfrm>
          <a:custGeom>
            <a:avLst/>
            <a:gdLst>
              <a:gd name="connsiteX0" fmla="*/ 641666 w 1283332"/>
              <a:gd name="connsiteY0" fmla="*/ 0 h 1283332"/>
              <a:gd name="connsiteX1" fmla="*/ 1283332 w 1283332"/>
              <a:gd name="connsiteY1" fmla="*/ 641666 h 1283332"/>
              <a:gd name="connsiteX2" fmla="*/ 641666 w 1283332"/>
              <a:gd name="connsiteY2" fmla="*/ 1283332 h 1283332"/>
              <a:gd name="connsiteX3" fmla="*/ 0 w 1283332"/>
              <a:gd name="connsiteY3" fmla="*/ 641666 h 1283332"/>
              <a:gd name="connsiteX4" fmla="*/ 641666 w 1283332"/>
              <a:gd name="connsiteY4" fmla="*/ 0 h 1283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3332" h="1283332">
                <a:moveTo>
                  <a:pt x="641666" y="0"/>
                </a:moveTo>
                <a:cubicBezTo>
                  <a:pt x="996048" y="0"/>
                  <a:pt x="1283332" y="287284"/>
                  <a:pt x="1283332" y="641666"/>
                </a:cubicBezTo>
                <a:cubicBezTo>
                  <a:pt x="1283332" y="996048"/>
                  <a:pt x="996048" y="1283332"/>
                  <a:pt x="641666" y="1283332"/>
                </a:cubicBezTo>
                <a:cubicBezTo>
                  <a:pt x="287284" y="1283332"/>
                  <a:pt x="0" y="996048"/>
                  <a:pt x="0" y="641666"/>
                </a:cubicBezTo>
                <a:cubicBezTo>
                  <a:pt x="0" y="287284"/>
                  <a:pt x="287284" y="0"/>
                  <a:pt x="641666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2" name="Заголовок 5">
            <a:extLst>
              <a:ext uri="{FF2B5EF4-FFF2-40B4-BE49-F238E27FC236}">
                <a16:creationId xmlns:a16="http://schemas.microsoft.com/office/drawing/2014/main" id="{C49BAB62-2ADC-4E64-6B44-3B3FE5A5E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8094" y="5684290"/>
            <a:ext cx="22313554" cy="162480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lnSpc>
                <a:spcPct val="70000"/>
              </a:lnSpc>
              <a:defRPr sz="143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E0C884AB-2306-B1FF-CA83-DC42D66D95D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497981" y="3052262"/>
            <a:ext cx="11675160" cy="129600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A77A64C7-FB25-0AF0-1B84-FC063A5F3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7541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2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Цитата / маленькая фотограф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FC1699B-6B3A-6134-4CFD-80502E7D73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475" t="55030" r="64287" b="5195"/>
          <a:stretch/>
        </p:blipFill>
        <p:spPr>
          <a:xfrm rot="16200000" flipH="1">
            <a:off x="1562360" y="-1628918"/>
            <a:ext cx="13782560" cy="16907276"/>
          </a:xfrm>
          <a:prstGeom prst="rect">
            <a:avLst/>
          </a:prstGeom>
        </p:spPr>
      </p:pic>
      <p:sp>
        <p:nvSpPr>
          <p:cNvPr id="7" name="Овал 6">
            <a:extLst>
              <a:ext uri="{FF2B5EF4-FFF2-40B4-BE49-F238E27FC236}">
                <a16:creationId xmlns:a16="http://schemas.microsoft.com/office/drawing/2014/main" id="{BC195574-5523-02BD-84B2-DE7A1477B26F}"/>
              </a:ext>
            </a:extLst>
          </p:cNvPr>
          <p:cNvSpPr/>
          <p:nvPr userDrawn="1"/>
        </p:nvSpPr>
        <p:spPr>
          <a:xfrm>
            <a:off x="779309" y="2713800"/>
            <a:ext cx="7462294" cy="7462780"/>
          </a:xfrm>
          <a:prstGeom prst="ellipse">
            <a:avLst/>
          </a:prstGeom>
          <a:ln w="38100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200"/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2600BD94-DDE6-6E7A-46D1-0796AECFD59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79308" y="2713799"/>
            <a:ext cx="7462300" cy="7462786"/>
          </a:xfrm>
          <a:custGeom>
            <a:avLst/>
            <a:gdLst>
              <a:gd name="connsiteX0" fmla="*/ 641666 w 1283332"/>
              <a:gd name="connsiteY0" fmla="*/ 0 h 1283332"/>
              <a:gd name="connsiteX1" fmla="*/ 1283332 w 1283332"/>
              <a:gd name="connsiteY1" fmla="*/ 641666 h 1283332"/>
              <a:gd name="connsiteX2" fmla="*/ 641666 w 1283332"/>
              <a:gd name="connsiteY2" fmla="*/ 1283332 h 1283332"/>
              <a:gd name="connsiteX3" fmla="*/ 0 w 1283332"/>
              <a:gd name="connsiteY3" fmla="*/ 641666 h 1283332"/>
              <a:gd name="connsiteX4" fmla="*/ 641666 w 1283332"/>
              <a:gd name="connsiteY4" fmla="*/ 0 h 1283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3332" h="1283332">
                <a:moveTo>
                  <a:pt x="641666" y="0"/>
                </a:moveTo>
                <a:cubicBezTo>
                  <a:pt x="996048" y="0"/>
                  <a:pt x="1283332" y="287284"/>
                  <a:pt x="1283332" y="641666"/>
                </a:cubicBezTo>
                <a:cubicBezTo>
                  <a:pt x="1283332" y="996048"/>
                  <a:pt x="996048" y="1283332"/>
                  <a:pt x="641666" y="1283332"/>
                </a:cubicBezTo>
                <a:cubicBezTo>
                  <a:pt x="287284" y="1283332"/>
                  <a:pt x="0" y="996048"/>
                  <a:pt x="0" y="641666"/>
                </a:cubicBezTo>
                <a:cubicBezTo>
                  <a:pt x="0" y="287284"/>
                  <a:pt x="287284" y="0"/>
                  <a:pt x="641666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6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</a:t>
            </a:r>
            <a:br>
              <a:rPr lang="ru-RU" dirty="0"/>
            </a:br>
            <a:r>
              <a:rPr lang="ru-RU" dirty="0"/>
              <a:t>фото сюда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A77A64C7-FB25-0AF0-1B84-FC063A5F3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Объект 5">
            <a:extLst>
              <a:ext uri="{FF2B5EF4-FFF2-40B4-BE49-F238E27FC236}">
                <a16:creationId xmlns:a16="http://schemas.microsoft.com/office/drawing/2014/main" id="{EE5E40FE-FB92-8D5F-DDBD-2918294A493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10457903" y="5362620"/>
            <a:ext cx="9977911" cy="775965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7CA374C9-E03B-127D-B45D-6680DB7FF3D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441692" y="3257551"/>
            <a:ext cx="9977823" cy="6647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0" name="Объект 5">
            <a:extLst>
              <a:ext uri="{FF2B5EF4-FFF2-40B4-BE49-F238E27FC236}">
                <a16:creationId xmlns:a16="http://schemas.microsoft.com/office/drawing/2014/main" id="{EFAB43EA-0214-D15E-FA31-E682ACBD3C8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0441692" y="4001129"/>
            <a:ext cx="9977823" cy="4985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8722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2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еребив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44A1AC5-FF74-4CD6-B6A7-067D983CA1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54048" y="1228459"/>
            <a:ext cx="21601113" cy="44546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180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ru-RU" dirty="0"/>
              <a:t>Название главы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6" name="Номер слайда 9">
            <a:extLst>
              <a:ext uri="{FF2B5EF4-FFF2-40B4-BE49-F238E27FC236}">
                <a16:creationId xmlns:a16="http://schemas.microsoft.com/office/drawing/2014/main" id="{4BCD6006-395F-2047-BF67-5D00F1B534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991763" y="12158276"/>
            <a:ext cx="869268" cy="730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2000">
                <a:solidFill>
                  <a:srgbClr val="BBBBBB"/>
                </a:solidFill>
              </a:defRPr>
            </a:lvl1pPr>
          </a:lstStyle>
          <a:p>
            <a:fld id="{283B1AB1-319D-4B24-A7E6-2CF2EF1A436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10114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Цитата / маленькая фотограф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F50FDF6-81AF-1CBC-1DDD-26A58B56E5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-13226" r="77687" b="63040"/>
          <a:stretch/>
        </p:blipFill>
        <p:spPr>
          <a:xfrm rot="16200000" flipH="1" flipV="1">
            <a:off x="1818075" y="-1818087"/>
            <a:ext cx="13716008" cy="17352157"/>
          </a:xfrm>
          <a:prstGeom prst="rect">
            <a:avLst/>
          </a:prstGeom>
        </p:spPr>
      </p:pic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A77A64C7-FB25-0AF0-1B84-FC063A5F3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5">
            <a:extLst>
              <a:ext uri="{FF2B5EF4-FFF2-40B4-BE49-F238E27FC236}">
                <a16:creationId xmlns:a16="http://schemas.microsoft.com/office/drawing/2014/main" id="{6FAB41B6-733F-B2A2-17F8-6713FB98D6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3194" y="3981031"/>
            <a:ext cx="10257520" cy="238193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lnSpc>
                <a:spcPct val="70000"/>
              </a:lnSpc>
              <a:defRPr sz="10799" b="0" i="0">
                <a:solidFill>
                  <a:schemeClr val="tx1"/>
                </a:solidFill>
                <a:latin typeface="YS Text Regular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FDE0FA3D-189B-F1AB-42F0-6741DBA91A0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2753193" y="6633795"/>
            <a:ext cx="10257518" cy="4985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2" name="Объект 5">
            <a:extLst>
              <a:ext uri="{FF2B5EF4-FFF2-40B4-BE49-F238E27FC236}">
                <a16:creationId xmlns:a16="http://schemas.microsoft.com/office/drawing/2014/main" id="{5E665952-8C5D-3401-404E-B80E9287D6F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3766835" y="8030571"/>
            <a:ext cx="9243872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3" name="Объект 5">
            <a:extLst>
              <a:ext uri="{FF2B5EF4-FFF2-40B4-BE49-F238E27FC236}">
                <a16:creationId xmlns:a16="http://schemas.microsoft.com/office/drawing/2014/main" id="{B9EFB1E1-4822-9FC8-EA33-512FA17D489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3766835" y="9078793"/>
            <a:ext cx="9243872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7" name="Рисунок 3">
            <a:extLst>
              <a:ext uri="{FF2B5EF4-FFF2-40B4-BE49-F238E27FC236}">
                <a16:creationId xmlns:a16="http://schemas.microsoft.com/office/drawing/2014/main" id="{0FE308D6-E1C1-257E-E606-B6865613B4F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69646" y="2415600"/>
            <a:ext cx="8884222" cy="8884800"/>
          </a:xfrm>
          <a:prstGeom prst="roundRect">
            <a:avLst>
              <a:gd name="adj" fmla="val 2210"/>
            </a:avLst>
          </a:pr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QR </a:t>
            </a:r>
            <a:r>
              <a:rPr lang="ru-RU" dirty="0"/>
              <a:t>код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4E6352A-4CAA-45C0-CCB5-02E0DE1F85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779128" y="8988130"/>
            <a:ext cx="696195" cy="69624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933531C-D652-B719-48EE-75F11E8ABE8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779128" y="7904048"/>
            <a:ext cx="696195" cy="69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498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2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аймлай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BDAB4C17-3C20-D81E-73D2-58DD4DC0073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0036" y="3807793"/>
            <a:ext cx="7145517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4" name="Объект 5">
            <a:extLst>
              <a:ext uri="{FF2B5EF4-FFF2-40B4-BE49-F238E27FC236}">
                <a16:creationId xmlns:a16="http://schemas.microsoft.com/office/drawing/2014/main" id="{ED292064-F681-489C-DFDF-398F012CD6A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0036" y="6467869"/>
            <a:ext cx="7145517" cy="63190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1" name="Объект 5">
            <a:extLst>
              <a:ext uri="{FF2B5EF4-FFF2-40B4-BE49-F238E27FC236}">
                <a16:creationId xmlns:a16="http://schemas.microsoft.com/office/drawing/2014/main" id="{4003BA2D-852B-9A3E-FC63-631174BCC38E}"/>
              </a:ext>
            </a:extLst>
          </p:cNvPr>
          <p:cNvSpPr>
            <a:spLocks noGrp="1"/>
          </p:cNvSpPr>
          <p:nvPr userDrawn="1">
            <p:ph sz="quarter" idx="20"/>
          </p:nvPr>
        </p:nvSpPr>
        <p:spPr>
          <a:xfrm>
            <a:off x="8656554" y="3807793"/>
            <a:ext cx="7145517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2" name="Объект 5">
            <a:extLst>
              <a:ext uri="{FF2B5EF4-FFF2-40B4-BE49-F238E27FC236}">
                <a16:creationId xmlns:a16="http://schemas.microsoft.com/office/drawing/2014/main" id="{6402800C-CC35-3AF3-60D7-542E300B0F8E}"/>
              </a:ext>
            </a:extLst>
          </p:cNvPr>
          <p:cNvSpPr>
            <a:spLocks noGrp="1"/>
          </p:cNvSpPr>
          <p:nvPr userDrawn="1">
            <p:ph sz="quarter" idx="21"/>
          </p:nvPr>
        </p:nvSpPr>
        <p:spPr>
          <a:xfrm>
            <a:off x="8656554" y="6467869"/>
            <a:ext cx="7145517" cy="63190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96DFC4D6-B708-BD98-FBE6-0A213712719F}"/>
              </a:ext>
            </a:extLst>
          </p:cNvPr>
          <p:cNvSpPr>
            <a:spLocks noGrp="1"/>
          </p:cNvSpPr>
          <p:nvPr userDrawn="1">
            <p:ph sz="quarter" idx="22"/>
          </p:nvPr>
        </p:nvSpPr>
        <p:spPr>
          <a:xfrm>
            <a:off x="16626099" y="3807793"/>
            <a:ext cx="7145517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71E6B38C-EDA8-1C6A-0DA6-D333DBE82606}"/>
              </a:ext>
            </a:extLst>
          </p:cNvPr>
          <p:cNvSpPr>
            <a:spLocks noGrp="1"/>
          </p:cNvSpPr>
          <p:nvPr userDrawn="1">
            <p:ph sz="quarter" idx="23"/>
          </p:nvPr>
        </p:nvSpPr>
        <p:spPr>
          <a:xfrm>
            <a:off x="16626099" y="6467869"/>
            <a:ext cx="7145517" cy="63190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41" name="Объект 5">
            <a:extLst>
              <a:ext uri="{FF2B5EF4-FFF2-40B4-BE49-F238E27FC236}">
                <a16:creationId xmlns:a16="http://schemas.microsoft.com/office/drawing/2014/main" id="{9C5BE594-AC21-2227-4BDA-E94BD540520A}"/>
              </a:ext>
            </a:extLst>
          </p:cNvPr>
          <p:cNvSpPr>
            <a:spLocks noGrp="1"/>
          </p:cNvSpPr>
          <p:nvPr userDrawn="1">
            <p:ph sz="quarter" idx="30" hasCustomPrompt="1"/>
          </p:nvPr>
        </p:nvSpPr>
        <p:spPr>
          <a:xfrm>
            <a:off x="600036" y="3257265"/>
            <a:ext cx="7145517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2" name="Объект 5">
            <a:extLst>
              <a:ext uri="{FF2B5EF4-FFF2-40B4-BE49-F238E27FC236}">
                <a16:creationId xmlns:a16="http://schemas.microsoft.com/office/drawing/2014/main" id="{B74F9462-55A6-250C-698B-C516DC1BCEAE}"/>
              </a:ext>
            </a:extLst>
          </p:cNvPr>
          <p:cNvSpPr>
            <a:spLocks noGrp="1"/>
          </p:cNvSpPr>
          <p:nvPr userDrawn="1">
            <p:ph sz="quarter" idx="31" hasCustomPrompt="1"/>
          </p:nvPr>
        </p:nvSpPr>
        <p:spPr>
          <a:xfrm>
            <a:off x="8656554" y="3257265"/>
            <a:ext cx="7145517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3" name="Объект 5">
            <a:extLst>
              <a:ext uri="{FF2B5EF4-FFF2-40B4-BE49-F238E27FC236}">
                <a16:creationId xmlns:a16="http://schemas.microsoft.com/office/drawing/2014/main" id="{29C33DD4-9181-D858-D7E2-14A39D2E9E1D}"/>
              </a:ext>
            </a:extLst>
          </p:cNvPr>
          <p:cNvSpPr>
            <a:spLocks noGrp="1"/>
          </p:cNvSpPr>
          <p:nvPr userDrawn="1">
            <p:ph sz="quarter" idx="32" hasCustomPrompt="1"/>
          </p:nvPr>
        </p:nvSpPr>
        <p:spPr>
          <a:xfrm>
            <a:off x="16626099" y="3257265"/>
            <a:ext cx="7145517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3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935B8348-0BC5-A51B-0163-F67A1AA0812F}"/>
              </a:ext>
            </a:extLst>
          </p:cNvPr>
          <p:cNvCxnSpPr>
            <a:cxnSpLocks/>
          </p:cNvCxnSpPr>
          <p:nvPr userDrawn="1"/>
        </p:nvCxnSpPr>
        <p:spPr>
          <a:xfrm>
            <a:off x="8197096" y="6210174"/>
            <a:ext cx="0" cy="662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D8E299EE-FAE6-40E4-AEAF-4CDB8AD8290B}"/>
              </a:ext>
            </a:extLst>
          </p:cNvPr>
          <p:cNvCxnSpPr>
            <a:cxnSpLocks/>
          </p:cNvCxnSpPr>
          <p:nvPr userDrawn="1"/>
        </p:nvCxnSpPr>
        <p:spPr>
          <a:xfrm>
            <a:off x="16198826" y="6210174"/>
            <a:ext cx="0" cy="662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C5B035BF-F844-5340-7BD9-761799099C14}"/>
              </a:ext>
            </a:extLst>
          </p:cNvPr>
          <p:cNvCxnSpPr>
            <a:cxnSpLocks/>
          </p:cNvCxnSpPr>
          <p:nvPr userDrawn="1"/>
        </p:nvCxnSpPr>
        <p:spPr>
          <a:xfrm>
            <a:off x="8617617" y="5976406"/>
            <a:ext cx="7152302" cy="0"/>
          </a:xfrm>
          <a:prstGeom prst="line">
            <a:avLst/>
          </a:prstGeom>
          <a:ln>
            <a:solidFill>
              <a:schemeClr val="tx1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A3F7F731-6D25-3831-AE0B-E081E64E9B09}"/>
              </a:ext>
            </a:extLst>
          </p:cNvPr>
          <p:cNvCxnSpPr>
            <a:cxnSpLocks/>
          </p:cNvCxnSpPr>
          <p:nvPr userDrawn="1"/>
        </p:nvCxnSpPr>
        <p:spPr>
          <a:xfrm>
            <a:off x="585218" y="5976406"/>
            <a:ext cx="7301309" cy="0"/>
          </a:xfrm>
          <a:prstGeom prst="line">
            <a:avLst/>
          </a:prstGeom>
          <a:ln>
            <a:solidFill>
              <a:schemeClr val="tx1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750EB279-C3CC-AD01-E358-8FBC9D79164F}"/>
              </a:ext>
            </a:extLst>
          </p:cNvPr>
          <p:cNvCxnSpPr>
            <a:cxnSpLocks/>
          </p:cNvCxnSpPr>
          <p:nvPr userDrawn="1"/>
        </p:nvCxnSpPr>
        <p:spPr>
          <a:xfrm>
            <a:off x="16619347" y="5976406"/>
            <a:ext cx="7152302" cy="0"/>
          </a:xfrm>
          <a:prstGeom prst="line">
            <a:avLst/>
          </a:prstGeom>
          <a:ln>
            <a:solidFill>
              <a:schemeClr val="tx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5458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аймлай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BDAB4C17-3C20-D81E-73D2-58DD4DC0073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0036" y="3807793"/>
            <a:ext cx="5222866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4" name="Объект 5">
            <a:extLst>
              <a:ext uri="{FF2B5EF4-FFF2-40B4-BE49-F238E27FC236}">
                <a16:creationId xmlns:a16="http://schemas.microsoft.com/office/drawing/2014/main" id="{ED292064-F681-489C-DFDF-398F012CD6A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0036" y="6467869"/>
            <a:ext cx="5222866" cy="63190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1" name="Объект 5">
            <a:extLst>
              <a:ext uri="{FF2B5EF4-FFF2-40B4-BE49-F238E27FC236}">
                <a16:creationId xmlns:a16="http://schemas.microsoft.com/office/drawing/2014/main" id="{4003BA2D-852B-9A3E-FC63-631174BCC38E}"/>
              </a:ext>
            </a:extLst>
          </p:cNvPr>
          <p:cNvSpPr>
            <a:spLocks noGrp="1"/>
          </p:cNvSpPr>
          <p:nvPr userDrawn="1">
            <p:ph sz="quarter" idx="20"/>
          </p:nvPr>
        </p:nvSpPr>
        <p:spPr>
          <a:xfrm>
            <a:off x="6649880" y="3807793"/>
            <a:ext cx="5222866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2" name="Объект 5">
            <a:extLst>
              <a:ext uri="{FF2B5EF4-FFF2-40B4-BE49-F238E27FC236}">
                <a16:creationId xmlns:a16="http://schemas.microsoft.com/office/drawing/2014/main" id="{6402800C-CC35-3AF3-60D7-542E300B0F8E}"/>
              </a:ext>
            </a:extLst>
          </p:cNvPr>
          <p:cNvSpPr>
            <a:spLocks noGrp="1"/>
          </p:cNvSpPr>
          <p:nvPr userDrawn="1">
            <p:ph sz="quarter" idx="21"/>
          </p:nvPr>
        </p:nvSpPr>
        <p:spPr>
          <a:xfrm>
            <a:off x="6649880" y="6467869"/>
            <a:ext cx="5222866" cy="63190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96DFC4D6-B708-BD98-FBE6-0A213712719F}"/>
              </a:ext>
            </a:extLst>
          </p:cNvPr>
          <p:cNvSpPr>
            <a:spLocks noGrp="1"/>
          </p:cNvSpPr>
          <p:nvPr userDrawn="1">
            <p:ph sz="quarter" idx="22"/>
          </p:nvPr>
        </p:nvSpPr>
        <p:spPr>
          <a:xfrm>
            <a:off x="12578404" y="3807793"/>
            <a:ext cx="5222866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71E6B38C-EDA8-1C6A-0DA6-D333DBE82606}"/>
              </a:ext>
            </a:extLst>
          </p:cNvPr>
          <p:cNvSpPr>
            <a:spLocks noGrp="1"/>
          </p:cNvSpPr>
          <p:nvPr userDrawn="1">
            <p:ph sz="quarter" idx="23"/>
          </p:nvPr>
        </p:nvSpPr>
        <p:spPr>
          <a:xfrm>
            <a:off x="12578404" y="6467869"/>
            <a:ext cx="5222866" cy="63190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5" name="Объект 5">
            <a:extLst>
              <a:ext uri="{FF2B5EF4-FFF2-40B4-BE49-F238E27FC236}">
                <a16:creationId xmlns:a16="http://schemas.microsoft.com/office/drawing/2014/main" id="{548E12E6-654A-4509-AFD9-88EBC3953671}"/>
              </a:ext>
            </a:extLst>
          </p:cNvPr>
          <p:cNvSpPr>
            <a:spLocks noGrp="1"/>
          </p:cNvSpPr>
          <p:nvPr userDrawn="1">
            <p:ph sz="quarter" idx="24"/>
          </p:nvPr>
        </p:nvSpPr>
        <p:spPr>
          <a:xfrm>
            <a:off x="18529139" y="3807793"/>
            <a:ext cx="5222866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6" name="Объект 5">
            <a:extLst>
              <a:ext uri="{FF2B5EF4-FFF2-40B4-BE49-F238E27FC236}">
                <a16:creationId xmlns:a16="http://schemas.microsoft.com/office/drawing/2014/main" id="{582B5D1A-F8DB-DEBC-FC04-230CD249271D}"/>
              </a:ext>
            </a:extLst>
          </p:cNvPr>
          <p:cNvSpPr>
            <a:spLocks noGrp="1"/>
          </p:cNvSpPr>
          <p:nvPr userDrawn="1">
            <p:ph sz="quarter" idx="25"/>
          </p:nvPr>
        </p:nvSpPr>
        <p:spPr>
          <a:xfrm>
            <a:off x="18529139" y="6467869"/>
            <a:ext cx="5222866" cy="63190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F7E6FF4F-C736-543F-FD2A-069F0F1546DD}"/>
              </a:ext>
            </a:extLst>
          </p:cNvPr>
          <p:cNvGrpSpPr/>
          <p:nvPr userDrawn="1"/>
        </p:nvGrpSpPr>
        <p:grpSpPr>
          <a:xfrm>
            <a:off x="585217" y="5976406"/>
            <a:ext cx="23197160" cy="6857768"/>
            <a:chOff x="292628" y="2988203"/>
            <a:chExt cx="7536089" cy="3428884"/>
          </a:xfrm>
        </p:grpSpPr>
        <p:cxnSp>
          <p:nvCxnSpPr>
            <p:cNvPr id="15" name="Прямая соединительная линия 14">
              <a:extLst>
                <a:ext uri="{FF2B5EF4-FFF2-40B4-BE49-F238E27FC236}">
                  <a16:creationId xmlns:a16="http://schemas.microsoft.com/office/drawing/2014/main" id="{935B8348-0BC5-A51B-0163-F67A1AA0812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131662" y="3105087"/>
              <a:ext cx="0" cy="3312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id="{D8E299EE-FAE6-40E4-AEAF-4CDB8AD8290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64884" y="3105087"/>
              <a:ext cx="0" cy="3312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id="{F40C7F88-0A08-2BCE-8827-940B210B85B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998106" y="3105087"/>
              <a:ext cx="0" cy="3312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Прямая соединительная линия 30">
              <a:extLst>
                <a:ext uri="{FF2B5EF4-FFF2-40B4-BE49-F238E27FC236}">
                  <a16:creationId xmlns:a16="http://schemas.microsoft.com/office/drawing/2014/main" id="{D5363D29-426D-3A55-C783-8EFE2AD23A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100717" y="2988203"/>
              <a:ext cx="1728000" cy="0"/>
            </a:xfrm>
            <a:prstGeom prst="line">
              <a:avLst/>
            </a:prstGeom>
            <a:ln>
              <a:solidFill>
                <a:schemeClr val="tx1"/>
              </a:solidFill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Прямая соединительная линия 34">
              <a:extLst>
                <a:ext uri="{FF2B5EF4-FFF2-40B4-BE49-F238E27FC236}">
                  <a16:creationId xmlns:a16="http://schemas.microsoft.com/office/drawing/2014/main" id="{DD50BFB4-27C7-9288-B8DE-4D6025ACF5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66482" y="2988203"/>
              <a:ext cx="1728000" cy="0"/>
            </a:xfrm>
            <a:prstGeom prst="line">
              <a:avLst/>
            </a:prstGeom>
            <a:ln>
              <a:solidFill>
                <a:schemeClr val="tx1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Прямая соединительная линия 35">
              <a:extLst>
                <a:ext uri="{FF2B5EF4-FFF2-40B4-BE49-F238E27FC236}">
                  <a16:creationId xmlns:a16="http://schemas.microsoft.com/office/drawing/2014/main" id="{C5B035BF-F844-5340-7BD9-761799099C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33260" y="2988203"/>
              <a:ext cx="1728000" cy="0"/>
            </a:xfrm>
            <a:prstGeom prst="line">
              <a:avLst/>
            </a:prstGeom>
            <a:ln>
              <a:solidFill>
                <a:schemeClr val="tx1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Прямая соединительная линия 36">
              <a:extLst>
                <a:ext uri="{FF2B5EF4-FFF2-40B4-BE49-F238E27FC236}">
                  <a16:creationId xmlns:a16="http://schemas.microsoft.com/office/drawing/2014/main" id="{A3F7F731-6D25-3831-AE0B-E081E64E9B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92628" y="2988203"/>
              <a:ext cx="1764000" cy="0"/>
            </a:xfrm>
            <a:prstGeom prst="line">
              <a:avLst/>
            </a:prstGeom>
            <a:ln>
              <a:solidFill>
                <a:schemeClr val="tx1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Объект 5">
            <a:extLst>
              <a:ext uri="{FF2B5EF4-FFF2-40B4-BE49-F238E27FC236}">
                <a16:creationId xmlns:a16="http://schemas.microsoft.com/office/drawing/2014/main" id="{9C5BE594-AC21-2227-4BDA-E94BD540520A}"/>
              </a:ext>
            </a:extLst>
          </p:cNvPr>
          <p:cNvSpPr>
            <a:spLocks noGrp="1"/>
          </p:cNvSpPr>
          <p:nvPr userDrawn="1">
            <p:ph sz="quarter" idx="30" hasCustomPrompt="1"/>
          </p:nvPr>
        </p:nvSpPr>
        <p:spPr>
          <a:xfrm>
            <a:off x="600036" y="3257265"/>
            <a:ext cx="5222866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2" name="Объект 5">
            <a:extLst>
              <a:ext uri="{FF2B5EF4-FFF2-40B4-BE49-F238E27FC236}">
                <a16:creationId xmlns:a16="http://schemas.microsoft.com/office/drawing/2014/main" id="{B74F9462-55A6-250C-698B-C516DC1BCEAE}"/>
              </a:ext>
            </a:extLst>
          </p:cNvPr>
          <p:cNvSpPr>
            <a:spLocks noGrp="1"/>
          </p:cNvSpPr>
          <p:nvPr userDrawn="1">
            <p:ph sz="quarter" idx="31" hasCustomPrompt="1"/>
          </p:nvPr>
        </p:nvSpPr>
        <p:spPr>
          <a:xfrm>
            <a:off x="6649880" y="3257265"/>
            <a:ext cx="5222866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3" name="Объект 5">
            <a:extLst>
              <a:ext uri="{FF2B5EF4-FFF2-40B4-BE49-F238E27FC236}">
                <a16:creationId xmlns:a16="http://schemas.microsoft.com/office/drawing/2014/main" id="{29C33DD4-9181-D858-D7E2-14A39D2E9E1D}"/>
              </a:ext>
            </a:extLst>
          </p:cNvPr>
          <p:cNvSpPr>
            <a:spLocks noGrp="1"/>
          </p:cNvSpPr>
          <p:nvPr userDrawn="1">
            <p:ph sz="quarter" idx="32" hasCustomPrompt="1"/>
          </p:nvPr>
        </p:nvSpPr>
        <p:spPr>
          <a:xfrm>
            <a:off x="12578404" y="3257265"/>
            <a:ext cx="5222866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44" name="Объект 5">
            <a:extLst>
              <a:ext uri="{FF2B5EF4-FFF2-40B4-BE49-F238E27FC236}">
                <a16:creationId xmlns:a16="http://schemas.microsoft.com/office/drawing/2014/main" id="{48FD99DD-83AD-6D58-7F1F-70F49C0B95F6}"/>
              </a:ext>
            </a:extLst>
          </p:cNvPr>
          <p:cNvSpPr>
            <a:spLocks noGrp="1"/>
          </p:cNvSpPr>
          <p:nvPr userDrawn="1">
            <p:ph sz="quarter" idx="33" hasCustomPrompt="1"/>
          </p:nvPr>
        </p:nvSpPr>
        <p:spPr>
          <a:xfrm>
            <a:off x="18529139" y="3257265"/>
            <a:ext cx="5222866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1710881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аймлай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BDAB4C17-3C20-D81E-73D2-58DD4DC0073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0037" y="4695221"/>
            <a:ext cx="4048157" cy="4431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4" name="Объект 5">
            <a:extLst>
              <a:ext uri="{FF2B5EF4-FFF2-40B4-BE49-F238E27FC236}">
                <a16:creationId xmlns:a16="http://schemas.microsoft.com/office/drawing/2014/main" id="{ED292064-F681-489C-DFDF-398F012CD6A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0037" y="5245748"/>
            <a:ext cx="4048157" cy="216860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1" name="Объект 5">
            <a:extLst>
              <a:ext uri="{FF2B5EF4-FFF2-40B4-BE49-F238E27FC236}">
                <a16:creationId xmlns:a16="http://schemas.microsoft.com/office/drawing/2014/main" id="{4003BA2D-852B-9A3E-FC63-631174BCC38E}"/>
              </a:ext>
            </a:extLst>
          </p:cNvPr>
          <p:cNvSpPr>
            <a:spLocks noGrp="1"/>
          </p:cNvSpPr>
          <p:nvPr userDrawn="1">
            <p:ph sz="quarter" idx="20"/>
          </p:nvPr>
        </p:nvSpPr>
        <p:spPr>
          <a:xfrm>
            <a:off x="5464032" y="4695221"/>
            <a:ext cx="4048157" cy="4431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2" name="Объект 5">
            <a:extLst>
              <a:ext uri="{FF2B5EF4-FFF2-40B4-BE49-F238E27FC236}">
                <a16:creationId xmlns:a16="http://schemas.microsoft.com/office/drawing/2014/main" id="{6402800C-CC35-3AF3-60D7-542E300B0F8E}"/>
              </a:ext>
            </a:extLst>
          </p:cNvPr>
          <p:cNvSpPr>
            <a:spLocks noGrp="1"/>
          </p:cNvSpPr>
          <p:nvPr userDrawn="1">
            <p:ph sz="quarter" idx="21"/>
          </p:nvPr>
        </p:nvSpPr>
        <p:spPr>
          <a:xfrm>
            <a:off x="5464032" y="5245748"/>
            <a:ext cx="4048157" cy="216860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96DFC4D6-B708-BD98-FBE6-0A213712719F}"/>
              </a:ext>
            </a:extLst>
          </p:cNvPr>
          <p:cNvSpPr>
            <a:spLocks noGrp="1"/>
          </p:cNvSpPr>
          <p:nvPr userDrawn="1">
            <p:ph sz="quarter" idx="22"/>
          </p:nvPr>
        </p:nvSpPr>
        <p:spPr>
          <a:xfrm>
            <a:off x="10156393" y="4695221"/>
            <a:ext cx="4048157" cy="4431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71E6B38C-EDA8-1C6A-0DA6-D333DBE82606}"/>
              </a:ext>
            </a:extLst>
          </p:cNvPr>
          <p:cNvSpPr>
            <a:spLocks noGrp="1"/>
          </p:cNvSpPr>
          <p:nvPr userDrawn="1">
            <p:ph sz="quarter" idx="23"/>
          </p:nvPr>
        </p:nvSpPr>
        <p:spPr>
          <a:xfrm>
            <a:off x="10156393" y="5245748"/>
            <a:ext cx="4048157" cy="216860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5" name="Объект 5">
            <a:extLst>
              <a:ext uri="{FF2B5EF4-FFF2-40B4-BE49-F238E27FC236}">
                <a16:creationId xmlns:a16="http://schemas.microsoft.com/office/drawing/2014/main" id="{548E12E6-654A-4509-AFD9-88EBC3953671}"/>
              </a:ext>
            </a:extLst>
          </p:cNvPr>
          <p:cNvSpPr>
            <a:spLocks noGrp="1"/>
          </p:cNvSpPr>
          <p:nvPr userDrawn="1">
            <p:ph sz="quarter" idx="24"/>
          </p:nvPr>
        </p:nvSpPr>
        <p:spPr>
          <a:xfrm>
            <a:off x="14848753" y="4695221"/>
            <a:ext cx="4048157" cy="4431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6" name="Объект 5">
            <a:extLst>
              <a:ext uri="{FF2B5EF4-FFF2-40B4-BE49-F238E27FC236}">
                <a16:creationId xmlns:a16="http://schemas.microsoft.com/office/drawing/2014/main" id="{582B5D1A-F8DB-DEBC-FC04-230CD249271D}"/>
              </a:ext>
            </a:extLst>
          </p:cNvPr>
          <p:cNvSpPr>
            <a:spLocks noGrp="1"/>
          </p:cNvSpPr>
          <p:nvPr userDrawn="1">
            <p:ph sz="quarter" idx="25"/>
          </p:nvPr>
        </p:nvSpPr>
        <p:spPr>
          <a:xfrm>
            <a:off x="14848753" y="5245748"/>
            <a:ext cx="4048157" cy="216860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0DCDB218-A177-1890-C935-C11C8ED14742}"/>
              </a:ext>
            </a:extLst>
          </p:cNvPr>
          <p:cNvGrpSpPr/>
          <p:nvPr userDrawn="1"/>
        </p:nvGrpSpPr>
        <p:grpSpPr>
          <a:xfrm>
            <a:off x="585215" y="4144978"/>
            <a:ext cx="23197164" cy="5419740"/>
            <a:chOff x="292626" y="1431758"/>
            <a:chExt cx="11599337" cy="2709870"/>
          </a:xfrm>
        </p:grpSpPr>
        <p:cxnSp>
          <p:nvCxnSpPr>
            <p:cNvPr id="31" name="Прямая соединительная линия 30">
              <a:extLst>
                <a:ext uri="{FF2B5EF4-FFF2-40B4-BE49-F238E27FC236}">
                  <a16:creationId xmlns:a16="http://schemas.microsoft.com/office/drawing/2014/main" id="{D5363D29-426D-3A55-C783-8EFE2AD23A55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677963" y="4141628"/>
              <a:ext cx="2214000" cy="0"/>
            </a:xfrm>
            <a:prstGeom prst="line">
              <a:avLst/>
            </a:prstGeom>
            <a:ln>
              <a:solidFill>
                <a:schemeClr val="tx1"/>
              </a:solidFill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Прямая соединительная линия 34">
              <a:extLst>
                <a:ext uri="{FF2B5EF4-FFF2-40B4-BE49-F238E27FC236}">
                  <a16:creationId xmlns:a16="http://schemas.microsoft.com/office/drawing/2014/main" id="{DD50BFB4-27C7-9288-B8DE-4D6025ACF58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331628" y="4141628"/>
              <a:ext cx="2214000" cy="0"/>
            </a:xfrm>
            <a:prstGeom prst="line">
              <a:avLst/>
            </a:prstGeom>
            <a:ln>
              <a:solidFill>
                <a:schemeClr val="tx1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Прямая соединительная линия 35">
              <a:extLst>
                <a:ext uri="{FF2B5EF4-FFF2-40B4-BE49-F238E27FC236}">
                  <a16:creationId xmlns:a16="http://schemas.microsoft.com/office/drawing/2014/main" id="{C5B035BF-F844-5340-7BD9-761799099C14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638960" y="4141628"/>
              <a:ext cx="2214000" cy="0"/>
            </a:xfrm>
            <a:prstGeom prst="line">
              <a:avLst/>
            </a:prstGeom>
            <a:ln>
              <a:solidFill>
                <a:schemeClr val="tx1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Прямая соединительная линия 36">
              <a:extLst>
                <a:ext uri="{FF2B5EF4-FFF2-40B4-BE49-F238E27FC236}">
                  <a16:creationId xmlns:a16="http://schemas.microsoft.com/office/drawing/2014/main" id="{A3F7F731-6D25-3831-AE0B-E081E64E9B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92626" y="4141628"/>
              <a:ext cx="2214000" cy="0"/>
            </a:xfrm>
            <a:prstGeom prst="line">
              <a:avLst/>
            </a:prstGeom>
            <a:ln>
              <a:solidFill>
                <a:schemeClr val="tx1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Группа 11">
              <a:extLst>
                <a:ext uri="{FF2B5EF4-FFF2-40B4-BE49-F238E27FC236}">
                  <a16:creationId xmlns:a16="http://schemas.microsoft.com/office/drawing/2014/main" id="{BD4CEC7F-06B7-ED2E-047F-8813F7D04C48}"/>
                </a:ext>
              </a:extLst>
            </p:cNvPr>
            <p:cNvGrpSpPr/>
            <p:nvPr userDrawn="1"/>
          </p:nvGrpSpPr>
          <p:grpSpPr>
            <a:xfrm>
              <a:off x="2572793" y="1431758"/>
              <a:ext cx="7039002" cy="2592986"/>
              <a:chOff x="2572793" y="712744"/>
              <a:chExt cx="7039002" cy="3312000"/>
            </a:xfrm>
          </p:grpSpPr>
          <p:cxnSp>
            <p:nvCxnSpPr>
              <p:cNvPr id="15" name="Прямая соединительная линия 14">
                <a:extLst>
                  <a:ext uri="{FF2B5EF4-FFF2-40B4-BE49-F238E27FC236}">
                    <a16:creationId xmlns:a16="http://schemas.microsoft.com/office/drawing/2014/main" id="{935B8348-0BC5-A51B-0163-F67A1AA0812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919127" y="712744"/>
                <a:ext cx="0" cy="3312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Прямая соединительная линия 15">
                <a:extLst>
                  <a:ext uri="{FF2B5EF4-FFF2-40B4-BE49-F238E27FC236}">
                    <a16:creationId xmlns:a16="http://schemas.microsoft.com/office/drawing/2014/main" id="{D8E299EE-FAE6-40E4-AEAF-4CDB8AD829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7265461" y="712744"/>
                <a:ext cx="0" cy="3312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Прямая соединительная линия 16">
                <a:extLst>
                  <a:ext uri="{FF2B5EF4-FFF2-40B4-BE49-F238E27FC236}">
                    <a16:creationId xmlns:a16="http://schemas.microsoft.com/office/drawing/2014/main" id="{F40C7F88-0A08-2BCE-8827-940B210B85B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9611795" y="712744"/>
                <a:ext cx="0" cy="3312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" name="Прямая соединительная линия 6">
                <a:extLst>
                  <a:ext uri="{FF2B5EF4-FFF2-40B4-BE49-F238E27FC236}">
                    <a16:creationId xmlns:a16="http://schemas.microsoft.com/office/drawing/2014/main" id="{DDE7C08F-888C-0201-8CF2-B5DAAC22598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2572793" y="712744"/>
                <a:ext cx="0" cy="3312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1" name="Прямая соединительная линия 10">
              <a:extLst>
                <a:ext uri="{FF2B5EF4-FFF2-40B4-BE49-F238E27FC236}">
                  <a16:creationId xmlns:a16="http://schemas.microsoft.com/office/drawing/2014/main" id="{4AF0C8EF-B701-9269-A203-83CF93E612E3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985294" y="4141628"/>
              <a:ext cx="2214000" cy="0"/>
            </a:xfrm>
            <a:prstGeom prst="line">
              <a:avLst/>
            </a:prstGeom>
            <a:ln>
              <a:solidFill>
                <a:schemeClr val="tx1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Объект 5">
            <a:extLst>
              <a:ext uri="{FF2B5EF4-FFF2-40B4-BE49-F238E27FC236}">
                <a16:creationId xmlns:a16="http://schemas.microsoft.com/office/drawing/2014/main" id="{2BB5B34F-B217-4969-A100-82AD76C26742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19516703" y="4695221"/>
            <a:ext cx="4048157" cy="4431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8" name="Объект 5">
            <a:extLst>
              <a:ext uri="{FF2B5EF4-FFF2-40B4-BE49-F238E27FC236}">
                <a16:creationId xmlns:a16="http://schemas.microsoft.com/office/drawing/2014/main" id="{091CAE1C-0A62-82CA-4857-7B9348A8A19E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19516703" y="5245748"/>
            <a:ext cx="4048157" cy="216860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61698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аймлай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BDAB4C17-3C20-D81E-73D2-58DD4DC0073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0037" y="3807793"/>
            <a:ext cx="3455775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4" name="Объект 5">
            <a:extLst>
              <a:ext uri="{FF2B5EF4-FFF2-40B4-BE49-F238E27FC236}">
                <a16:creationId xmlns:a16="http://schemas.microsoft.com/office/drawing/2014/main" id="{ED292064-F681-489C-DFDF-398F012CD6A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0037" y="6467869"/>
            <a:ext cx="3455775" cy="63190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grpSp>
        <p:nvGrpSpPr>
          <p:cNvPr id="47" name="Группа 46">
            <a:extLst>
              <a:ext uri="{FF2B5EF4-FFF2-40B4-BE49-F238E27FC236}">
                <a16:creationId xmlns:a16="http://schemas.microsoft.com/office/drawing/2014/main" id="{B584B01A-B2CF-596E-61FD-7C7FC1F93CF2}"/>
              </a:ext>
            </a:extLst>
          </p:cNvPr>
          <p:cNvGrpSpPr/>
          <p:nvPr userDrawn="1"/>
        </p:nvGrpSpPr>
        <p:grpSpPr>
          <a:xfrm>
            <a:off x="4263047" y="6210174"/>
            <a:ext cx="15464769" cy="6624000"/>
            <a:chOff x="2131662" y="2831085"/>
            <a:chExt cx="7732888" cy="3577544"/>
          </a:xfrm>
        </p:grpSpPr>
        <p:cxnSp>
          <p:nvCxnSpPr>
            <p:cNvPr id="15" name="Прямая соединительная линия 14">
              <a:extLst>
                <a:ext uri="{FF2B5EF4-FFF2-40B4-BE49-F238E27FC236}">
                  <a16:creationId xmlns:a16="http://schemas.microsoft.com/office/drawing/2014/main" id="{935B8348-0BC5-A51B-0163-F67A1AA0812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131662" y="2831085"/>
              <a:ext cx="0" cy="357754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id="{D8E299EE-FAE6-40E4-AEAF-4CDB8AD8290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64884" y="2831085"/>
              <a:ext cx="0" cy="357754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id="{F40C7F88-0A08-2BCE-8827-940B210B85B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998106" y="2831085"/>
              <a:ext cx="0" cy="357754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>
              <a:extLst>
                <a:ext uri="{FF2B5EF4-FFF2-40B4-BE49-F238E27FC236}">
                  <a16:creationId xmlns:a16="http://schemas.microsoft.com/office/drawing/2014/main" id="{1AFA7825-9B55-02FF-2FA9-D74D1AF425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931328" y="2831085"/>
              <a:ext cx="0" cy="357754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id="{F38E3311-F54D-D31E-FA81-87D6A0055E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864550" y="2831085"/>
              <a:ext cx="0" cy="357754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Объект 5">
            <a:extLst>
              <a:ext uri="{FF2B5EF4-FFF2-40B4-BE49-F238E27FC236}">
                <a16:creationId xmlns:a16="http://schemas.microsoft.com/office/drawing/2014/main" id="{4003BA2D-852B-9A3E-FC63-631174BCC38E}"/>
              </a:ext>
            </a:extLst>
          </p:cNvPr>
          <p:cNvSpPr>
            <a:spLocks noGrp="1"/>
          </p:cNvSpPr>
          <p:nvPr userDrawn="1">
            <p:ph sz="quarter" idx="20"/>
          </p:nvPr>
        </p:nvSpPr>
        <p:spPr>
          <a:xfrm>
            <a:off x="4466229" y="3807793"/>
            <a:ext cx="3455775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2" name="Объект 5">
            <a:extLst>
              <a:ext uri="{FF2B5EF4-FFF2-40B4-BE49-F238E27FC236}">
                <a16:creationId xmlns:a16="http://schemas.microsoft.com/office/drawing/2014/main" id="{6402800C-CC35-3AF3-60D7-542E300B0F8E}"/>
              </a:ext>
            </a:extLst>
          </p:cNvPr>
          <p:cNvSpPr>
            <a:spLocks noGrp="1"/>
          </p:cNvSpPr>
          <p:nvPr userDrawn="1">
            <p:ph sz="quarter" idx="21"/>
          </p:nvPr>
        </p:nvSpPr>
        <p:spPr>
          <a:xfrm>
            <a:off x="4466229" y="6467869"/>
            <a:ext cx="3455775" cy="63190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96DFC4D6-B708-BD98-FBE6-0A213712719F}"/>
              </a:ext>
            </a:extLst>
          </p:cNvPr>
          <p:cNvSpPr>
            <a:spLocks noGrp="1"/>
          </p:cNvSpPr>
          <p:nvPr userDrawn="1">
            <p:ph sz="quarter" idx="22"/>
          </p:nvPr>
        </p:nvSpPr>
        <p:spPr>
          <a:xfrm>
            <a:off x="8332422" y="3807793"/>
            <a:ext cx="3455775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71E6B38C-EDA8-1C6A-0DA6-D333DBE82606}"/>
              </a:ext>
            </a:extLst>
          </p:cNvPr>
          <p:cNvSpPr>
            <a:spLocks noGrp="1"/>
          </p:cNvSpPr>
          <p:nvPr userDrawn="1">
            <p:ph sz="quarter" idx="23"/>
          </p:nvPr>
        </p:nvSpPr>
        <p:spPr>
          <a:xfrm>
            <a:off x="8332422" y="6467869"/>
            <a:ext cx="3455775" cy="63190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5" name="Объект 5">
            <a:extLst>
              <a:ext uri="{FF2B5EF4-FFF2-40B4-BE49-F238E27FC236}">
                <a16:creationId xmlns:a16="http://schemas.microsoft.com/office/drawing/2014/main" id="{548E12E6-654A-4509-AFD9-88EBC3953671}"/>
              </a:ext>
            </a:extLst>
          </p:cNvPr>
          <p:cNvSpPr>
            <a:spLocks noGrp="1"/>
          </p:cNvSpPr>
          <p:nvPr userDrawn="1">
            <p:ph sz="quarter" idx="24"/>
          </p:nvPr>
        </p:nvSpPr>
        <p:spPr>
          <a:xfrm>
            <a:off x="12198614" y="3807793"/>
            <a:ext cx="3455775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6" name="Объект 5">
            <a:extLst>
              <a:ext uri="{FF2B5EF4-FFF2-40B4-BE49-F238E27FC236}">
                <a16:creationId xmlns:a16="http://schemas.microsoft.com/office/drawing/2014/main" id="{582B5D1A-F8DB-DEBC-FC04-230CD249271D}"/>
              </a:ext>
            </a:extLst>
          </p:cNvPr>
          <p:cNvSpPr>
            <a:spLocks noGrp="1"/>
          </p:cNvSpPr>
          <p:nvPr userDrawn="1">
            <p:ph sz="quarter" idx="25"/>
          </p:nvPr>
        </p:nvSpPr>
        <p:spPr>
          <a:xfrm>
            <a:off x="12198614" y="6467869"/>
            <a:ext cx="3455775" cy="63190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7" name="Объект 5">
            <a:extLst>
              <a:ext uri="{FF2B5EF4-FFF2-40B4-BE49-F238E27FC236}">
                <a16:creationId xmlns:a16="http://schemas.microsoft.com/office/drawing/2014/main" id="{7B0120E8-F557-F1AA-4B11-38D319448A44}"/>
              </a:ext>
            </a:extLst>
          </p:cNvPr>
          <p:cNvSpPr>
            <a:spLocks noGrp="1"/>
          </p:cNvSpPr>
          <p:nvPr userDrawn="1">
            <p:ph sz="quarter" idx="26"/>
          </p:nvPr>
        </p:nvSpPr>
        <p:spPr>
          <a:xfrm>
            <a:off x="16064806" y="3807793"/>
            <a:ext cx="3455775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8" name="Объект 5">
            <a:extLst>
              <a:ext uri="{FF2B5EF4-FFF2-40B4-BE49-F238E27FC236}">
                <a16:creationId xmlns:a16="http://schemas.microsoft.com/office/drawing/2014/main" id="{CC55C8C1-05C2-5D84-817D-DD2F0615B140}"/>
              </a:ext>
            </a:extLst>
          </p:cNvPr>
          <p:cNvSpPr>
            <a:spLocks noGrp="1"/>
          </p:cNvSpPr>
          <p:nvPr userDrawn="1">
            <p:ph sz="quarter" idx="27"/>
          </p:nvPr>
        </p:nvSpPr>
        <p:spPr>
          <a:xfrm>
            <a:off x="16064806" y="6467869"/>
            <a:ext cx="3455775" cy="63190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9" name="Объект 5">
            <a:extLst>
              <a:ext uri="{FF2B5EF4-FFF2-40B4-BE49-F238E27FC236}">
                <a16:creationId xmlns:a16="http://schemas.microsoft.com/office/drawing/2014/main" id="{C83B9166-BE32-7F94-E71F-A83DFA2721F2}"/>
              </a:ext>
            </a:extLst>
          </p:cNvPr>
          <p:cNvSpPr>
            <a:spLocks noGrp="1"/>
          </p:cNvSpPr>
          <p:nvPr userDrawn="1">
            <p:ph sz="quarter" idx="28"/>
          </p:nvPr>
        </p:nvSpPr>
        <p:spPr>
          <a:xfrm>
            <a:off x="19930999" y="3807793"/>
            <a:ext cx="3455775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0" name="Объект 5">
            <a:extLst>
              <a:ext uri="{FF2B5EF4-FFF2-40B4-BE49-F238E27FC236}">
                <a16:creationId xmlns:a16="http://schemas.microsoft.com/office/drawing/2014/main" id="{5DCBFACB-F39B-CDE2-46DD-B05BF9A6B2A1}"/>
              </a:ext>
            </a:extLst>
          </p:cNvPr>
          <p:cNvSpPr>
            <a:spLocks noGrp="1"/>
          </p:cNvSpPr>
          <p:nvPr userDrawn="1">
            <p:ph sz="quarter" idx="29"/>
          </p:nvPr>
        </p:nvSpPr>
        <p:spPr>
          <a:xfrm>
            <a:off x="19930999" y="6467869"/>
            <a:ext cx="3455775" cy="63190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D5363D29-426D-3A55-C783-8EFE2AD23A55}"/>
              </a:ext>
            </a:extLst>
          </p:cNvPr>
          <p:cNvCxnSpPr>
            <a:cxnSpLocks/>
          </p:cNvCxnSpPr>
          <p:nvPr userDrawn="1"/>
        </p:nvCxnSpPr>
        <p:spPr>
          <a:xfrm>
            <a:off x="19931000" y="5976406"/>
            <a:ext cx="3866194" cy="0"/>
          </a:xfrm>
          <a:prstGeom prst="line">
            <a:avLst/>
          </a:prstGeom>
          <a:ln>
            <a:solidFill>
              <a:schemeClr val="tx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B6B4D285-FC88-57F0-ECE9-F1D847698467}"/>
              </a:ext>
            </a:extLst>
          </p:cNvPr>
          <p:cNvCxnSpPr>
            <a:cxnSpLocks/>
          </p:cNvCxnSpPr>
          <p:nvPr userDrawn="1"/>
        </p:nvCxnSpPr>
        <p:spPr>
          <a:xfrm>
            <a:off x="16064806" y="5976406"/>
            <a:ext cx="3455775" cy="0"/>
          </a:xfrm>
          <a:prstGeom prst="line">
            <a:avLst/>
          </a:prstGeom>
          <a:ln>
            <a:solidFill>
              <a:schemeClr val="tx1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9AF062C1-7964-79E1-087D-38FF9FFB8372}"/>
              </a:ext>
            </a:extLst>
          </p:cNvPr>
          <p:cNvCxnSpPr>
            <a:cxnSpLocks/>
          </p:cNvCxnSpPr>
          <p:nvPr userDrawn="1"/>
        </p:nvCxnSpPr>
        <p:spPr>
          <a:xfrm>
            <a:off x="12198614" y="5976406"/>
            <a:ext cx="3455775" cy="0"/>
          </a:xfrm>
          <a:prstGeom prst="line">
            <a:avLst/>
          </a:prstGeom>
          <a:ln>
            <a:solidFill>
              <a:schemeClr val="tx1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DD50BFB4-27C7-9288-B8DE-4D6025ACF589}"/>
              </a:ext>
            </a:extLst>
          </p:cNvPr>
          <p:cNvCxnSpPr>
            <a:cxnSpLocks/>
          </p:cNvCxnSpPr>
          <p:nvPr userDrawn="1"/>
        </p:nvCxnSpPr>
        <p:spPr>
          <a:xfrm>
            <a:off x="8332422" y="5976406"/>
            <a:ext cx="3455775" cy="0"/>
          </a:xfrm>
          <a:prstGeom prst="line">
            <a:avLst/>
          </a:prstGeom>
          <a:ln>
            <a:solidFill>
              <a:schemeClr val="tx1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C5B035BF-F844-5340-7BD9-761799099C14}"/>
              </a:ext>
            </a:extLst>
          </p:cNvPr>
          <p:cNvCxnSpPr>
            <a:cxnSpLocks/>
          </p:cNvCxnSpPr>
          <p:nvPr userDrawn="1"/>
        </p:nvCxnSpPr>
        <p:spPr>
          <a:xfrm>
            <a:off x="4466229" y="5976406"/>
            <a:ext cx="3455775" cy="0"/>
          </a:xfrm>
          <a:prstGeom prst="line">
            <a:avLst/>
          </a:prstGeom>
          <a:ln>
            <a:solidFill>
              <a:schemeClr val="tx1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A3F7F731-6D25-3831-AE0B-E081E64E9B09}"/>
              </a:ext>
            </a:extLst>
          </p:cNvPr>
          <p:cNvCxnSpPr>
            <a:cxnSpLocks/>
          </p:cNvCxnSpPr>
          <p:nvPr userDrawn="1"/>
        </p:nvCxnSpPr>
        <p:spPr>
          <a:xfrm>
            <a:off x="585218" y="5976406"/>
            <a:ext cx="3527770" cy="0"/>
          </a:xfrm>
          <a:prstGeom prst="line">
            <a:avLst/>
          </a:prstGeom>
          <a:ln>
            <a:solidFill>
              <a:schemeClr val="tx1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Объект 5">
            <a:extLst>
              <a:ext uri="{FF2B5EF4-FFF2-40B4-BE49-F238E27FC236}">
                <a16:creationId xmlns:a16="http://schemas.microsoft.com/office/drawing/2014/main" id="{9C5BE594-AC21-2227-4BDA-E94BD540520A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600037" y="3257265"/>
            <a:ext cx="3455775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rgbClr val="799DFF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2" name="Объект 5">
            <a:extLst>
              <a:ext uri="{FF2B5EF4-FFF2-40B4-BE49-F238E27FC236}">
                <a16:creationId xmlns:a16="http://schemas.microsoft.com/office/drawing/2014/main" id="{B74F9462-55A6-250C-698B-C516DC1BCEAE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466229" y="3257265"/>
            <a:ext cx="3455775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rgbClr val="799DFF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3" name="Объект 5">
            <a:extLst>
              <a:ext uri="{FF2B5EF4-FFF2-40B4-BE49-F238E27FC236}">
                <a16:creationId xmlns:a16="http://schemas.microsoft.com/office/drawing/2014/main" id="{29C33DD4-9181-D858-D7E2-14A39D2E9E1D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8332422" y="3257265"/>
            <a:ext cx="3455775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rgbClr val="799DFF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44" name="Объект 5">
            <a:extLst>
              <a:ext uri="{FF2B5EF4-FFF2-40B4-BE49-F238E27FC236}">
                <a16:creationId xmlns:a16="http://schemas.microsoft.com/office/drawing/2014/main" id="{48FD99DD-83AD-6D58-7F1F-70F49C0B95F6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12198614" y="3257265"/>
            <a:ext cx="3455775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rgbClr val="799DFF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5" name="Объект 5">
            <a:extLst>
              <a:ext uri="{FF2B5EF4-FFF2-40B4-BE49-F238E27FC236}">
                <a16:creationId xmlns:a16="http://schemas.microsoft.com/office/drawing/2014/main" id="{33EB54CF-1CEF-71C3-9266-9F2E20687BBD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16064806" y="3257265"/>
            <a:ext cx="3455775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rgbClr val="799DFF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6" name="Объект 5">
            <a:extLst>
              <a:ext uri="{FF2B5EF4-FFF2-40B4-BE49-F238E27FC236}">
                <a16:creationId xmlns:a16="http://schemas.microsoft.com/office/drawing/2014/main" id="{67983904-EB69-0C67-597C-97FB16F87770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19930999" y="3257265"/>
            <a:ext cx="3455775" cy="4431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200">
                <a:solidFill>
                  <a:srgbClr val="799DFF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2723956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блока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9" name="Объект 5">
            <a:extLst>
              <a:ext uri="{FF2B5EF4-FFF2-40B4-BE49-F238E27FC236}">
                <a16:creationId xmlns:a16="http://schemas.microsoft.com/office/drawing/2014/main" id="{FBD0BA45-3FAD-5EB5-3CF2-74F8747D64F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2782004" y="4724897"/>
            <a:ext cx="7344246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0" name="Объект 5">
            <a:extLst>
              <a:ext uri="{FF2B5EF4-FFF2-40B4-BE49-F238E27FC236}">
                <a16:creationId xmlns:a16="http://schemas.microsoft.com/office/drawing/2014/main" id="{B6F1663F-742F-8350-9DE1-BE9B08ABA9E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200406" y="4724897"/>
            <a:ext cx="7344246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805081D3-D58B-D9C5-FEC2-B34EBE4E1B0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1200406" y="5670019"/>
            <a:ext cx="7344246" cy="745225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C0E1428E-F5C5-309B-F691-7D6CD0D2B66E}"/>
              </a:ext>
            </a:extLst>
          </p:cNvPr>
          <p:cNvGrpSpPr/>
          <p:nvPr userDrawn="1"/>
        </p:nvGrpSpPr>
        <p:grpSpPr>
          <a:xfrm>
            <a:off x="610764" y="3248074"/>
            <a:ext cx="23136662" cy="9874204"/>
            <a:chOff x="308142" y="1498600"/>
            <a:chExt cx="11569084" cy="5062537"/>
          </a:xfrm>
        </p:grpSpPr>
        <p:cxnSp>
          <p:nvCxnSpPr>
            <p:cNvPr id="2" name="Прямая соединительная линия 1">
              <a:extLst>
                <a:ext uri="{FF2B5EF4-FFF2-40B4-BE49-F238E27FC236}">
                  <a16:creationId xmlns:a16="http://schemas.microsoft.com/office/drawing/2014/main" id="{2E1FB57B-9D80-7502-E27B-AF9B39E5C31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8142" y="1498600"/>
              <a:ext cx="557424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Прямая соединительная линия 2">
              <a:extLst>
                <a:ext uri="{FF2B5EF4-FFF2-40B4-BE49-F238E27FC236}">
                  <a16:creationId xmlns:a16="http://schemas.microsoft.com/office/drawing/2014/main" id="{1466F0C8-30CD-E0C5-1923-E1D25A07AFD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1659036"/>
              <a:ext cx="0" cy="490210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Прямая соединительная линия 4">
              <a:extLst>
                <a:ext uri="{FF2B5EF4-FFF2-40B4-BE49-F238E27FC236}">
                  <a16:creationId xmlns:a16="http://schemas.microsoft.com/office/drawing/2014/main" id="{6ED886FC-F24F-D334-232B-32B57279C2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02986" y="1498600"/>
              <a:ext cx="557424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Объект 5">
            <a:extLst>
              <a:ext uri="{FF2B5EF4-FFF2-40B4-BE49-F238E27FC236}">
                <a16:creationId xmlns:a16="http://schemas.microsoft.com/office/drawing/2014/main" id="{78836102-A9B4-CFB2-9F12-43A537F54BB7}"/>
              </a:ext>
            </a:extLst>
          </p:cNvPr>
          <p:cNvSpPr>
            <a:spLocks noGrp="1"/>
          </p:cNvSpPr>
          <p:nvPr userDrawn="1">
            <p:ph sz="quarter" idx="20"/>
          </p:nvPr>
        </p:nvSpPr>
        <p:spPr>
          <a:xfrm>
            <a:off x="12782006" y="5670019"/>
            <a:ext cx="7344246" cy="74522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355482" indent="-355482">
              <a:spcBef>
                <a:spcPts val="0"/>
              </a:spcBef>
              <a:spcAft>
                <a:spcPts val="32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82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ри текстов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F24C7062-4984-C857-0DA3-FF310B19E7C2}"/>
              </a:ext>
            </a:extLst>
          </p:cNvPr>
          <p:cNvCxnSpPr>
            <a:cxnSpLocks/>
          </p:cNvCxnSpPr>
          <p:nvPr userDrawn="1"/>
        </p:nvCxnSpPr>
        <p:spPr>
          <a:xfrm>
            <a:off x="600037" y="3269146"/>
            <a:ext cx="231716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29ECBAD8-5306-1412-A441-3F2F335F9A5B}"/>
              </a:ext>
            </a:extLst>
          </p:cNvPr>
          <p:cNvCxnSpPr>
            <a:cxnSpLocks/>
          </p:cNvCxnSpPr>
          <p:nvPr userDrawn="1"/>
        </p:nvCxnSpPr>
        <p:spPr>
          <a:xfrm>
            <a:off x="600037" y="6553520"/>
            <a:ext cx="231716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7FD6C3FB-84BB-0545-BC41-6C1520FFF797}"/>
              </a:ext>
            </a:extLst>
          </p:cNvPr>
          <p:cNvCxnSpPr>
            <a:cxnSpLocks/>
          </p:cNvCxnSpPr>
          <p:nvPr userDrawn="1"/>
        </p:nvCxnSpPr>
        <p:spPr>
          <a:xfrm>
            <a:off x="600037" y="9837894"/>
            <a:ext cx="231716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5">
            <a:extLst>
              <a:ext uri="{FF2B5EF4-FFF2-40B4-BE49-F238E27FC236}">
                <a16:creationId xmlns:a16="http://schemas.microsoft.com/office/drawing/2014/main" id="{966424DE-F68C-6A57-7D24-9251650B2B6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5088" y="7132161"/>
            <a:ext cx="1945667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17" name="Объект 5">
            <a:extLst>
              <a:ext uri="{FF2B5EF4-FFF2-40B4-BE49-F238E27FC236}">
                <a16:creationId xmlns:a16="http://schemas.microsoft.com/office/drawing/2014/main" id="{0A6D5CDE-C814-36D5-7533-3BA1C8E130E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5088" y="3847787"/>
            <a:ext cx="1945667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18" name="Объект 5">
            <a:extLst>
              <a:ext uri="{FF2B5EF4-FFF2-40B4-BE49-F238E27FC236}">
                <a16:creationId xmlns:a16="http://schemas.microsoft.com/office/drawing/2014/main" id="{89E86485-14A2-50C2-F00D-5003EB0944C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5088" y="10416535"/>
            <a:ext cx="1945667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19" name="Объект 5">
            <a:extLst>
              <a:ext uri="{FF2B5EF4-FFF2-40B4-BE49-F238E27FC236}">
                <a16:creationId xmlns:a16="http://schemas.microsoft.com/office/drawing/2014/main" id="{FBD0BA45-3FAD-5EB5-3CF2-74F8747D64F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210041" y="7132161"/>
            <a:ext cx="18547285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0" name="Объект 5">
            <a:extLst>
              <a:ext uri="{FF2B5EF4-FFF2-40B4-BE49-F238E27FC236}">
                <a16:creationId xmlns:a16="http://schemas.microsoft.com/office/drawing/2014/main" id="{B6F1663F-742F-8350-9DE1-BE9B08ABA9E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210041" y="3847787"/>
            <a:ext cx="18547285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1" name="Объект 5">
            <a:extLst>
              <a:ext uri="{FF2B5EF4-FFF2-40B4-BE49-F238E27FC236}">
                <a16:creationId xmlns:a16="http://schemas.microsoft.com/office/drawing/2014/main" id="{01B71E5B-CF92-EC6D-90CA-37C8E6C65DC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210041" y="10416535"/>
            <a:ext cx="18547285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2" name="Объект 5">
            <a:extLst>
              <a:ext uri="{FF2B5EF4-FFF2-40B4-BE49-F238E27FC236}">
                <a16:creationId xmlns:a16="http://schemas.microsoft.com/office/drawing/2014/main" id="{DE5E0CD2-4EF2-0ACC-E931-37419A98ED1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210041" y="7980300"/>
            <a:ext cx="18547285" cy="129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805081D3-D58B-D9C5-FEC2-B34EBE4E1B0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210041" y="4695926"/>
            <a:ext cx="18547285" cy="129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AAB9A2D6-1D6B-7884-7470-5FA0BD99322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210041" y="11264674"/>
            <a:ext cx="18547285" cy="129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7997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ри текстов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9" name="Объект 5">
            <a:extLst>
              <a:ext uri="{FF2B5EF4-FFF2-40B4-BE49-F238E27FC236}">
                <a16:creationId xmlns:a16="http://schemas.microsoft.com/office/drawing/2014/main" id="{FBD0BA45-3FAD-5EB5-3CF2-74F8747D64F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519084" y="4724897"/>
            <a:ext cx="7344246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0" name="Объект 5">
            <a:extLst>
              <a:ext uri="{FF2B5EF4-FFF2-40B4-BE49-F238E27FC236}">
                <a16:creationId xmlns:a16="http://schemas.microsoft.com/office/drawing/2014/main" id="{B6F1663F-742F-8350-9DE1-BE9B08ABA9E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6244" y="4724897"/>
            <a:ext cx="7344246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1" name="Объект 5">
            <a:extLst>
              <a:ext uri="{FF2B5EF4-FFF2-40B4-BE49-F238E27FC236}">
                <a16:creationId xmlns:a16="http://schemas.microsoft.com/office/drawing/2014/main" id="{01B71E5B-CF92-EC6D-90CA-37C8E6C65DC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6408660" y="4724897"/>
            <a:ext cx="7344246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2" name="Объект 5">
            <a:extLst>
              <a:ext uri="{FF2B5EF4-FFF2-40B4-BE49-F238E27FC236}">
                <a16:creationId xmlns:a16="http://schemas.microsoft.com/office/drawing/2014/main" id="{DE5E0CD2-4EF2-0ACC-E931-37419A98ED1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519084" y="5670019"/>
            <a:ext cx="7344246" cy="745225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805081D3-D58B-D9C5-FEC2-B34EBE4E1B0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4" y="5670019"/>
            <a:ext cx="7344246" cy="745225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AAB9A2D6-1D6B-7884-7470-5FA0BD99322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6408660" y="5670019"/>
            <a:ext cx="7344246" cy="745225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F3FC676D-BEC1-F6E2-D36C-232031C834B5}"/>
              </a:ext>
            </a:extLst>
          </p:cNvPr>
          <p:cNvGrpSpPr/>
          <p:nvPr userDrawn="1"/>
        </p:nvGrpSpPr>
        <p:grpSpPr>
          <a:xfrm>
            <a:off x="616244" y="4237797"/>
            <a:ext cx="23141082" cy="8884478"/>
            <a:chOff x="308142" y="1634573"/>
            <a:chExt cx="9713495" cy="4926565"/>
          </a:xfrm>
        </p:grpSpPr>
        <p:cxnSp>
          <p:nvCxnSpPr>
            <p:cNvPr id="2" name="Прямая соединительная линия 1">
              <a:extLst>
                <a:ext uri="{FF2B5EF4-FFF2-40B4-BE49-F238E27FC236}">
                  <a16:creationId xmlns:a16="http://schemas.microsoft.com/office/drawing/2014/main" id="{2E1FB57B-9D80-7502-E27B-AF9B39E5C31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8142" y="1634573"/>
              <a:ext cx="308275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Прямая соединительная линия 2">
              <a:extLst>
                <a:ext uri="{FF2B5EF4-FFF2-40B4-BE49-F238E27FC236}">
                  <a16:creationId xmlns:a16="http://schemas.microsoft.com/office/drawing/2014/main" id="{1466F0C8-30CD-E0C5-1923-E1D25A07AFD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07205" y="1790700"/>
              <a:ext cx="0" cy="477043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Прямая соединительная линия 4">
              <a:extLst>
                <a:ext uri="{FF2B5EF4-FFF2-40B4-BE49-F238E27FC236}">
                  <a16:creationId xmlns:a16="http://schemas.microsoft.com/office/drawing/2014/main" id="{6ED886FC-F24F-D334-232B-32B57279C2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23510" y="1634573"/>
              <a:ext cx="308275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Прямая соединительная линия 6">
              <a:extLst>
                <a:ext uri="{FF2B5EF4-FFF2-40B4-BE49-F238E27FC236}">
                  <a16:creationId xmlns:a16="http://schemas.microsoft.com/office/drawing/2014/main" id="{4EA40904-D0BF-C191-0AB3-EBEE3BF2335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38878" y="1634573"/>
              <a:ext cx="308275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10">
              <a:extLst>
                <a:ext uri="{FF2B5EF4-FFF2-40B4-BE49-F238E27FC236}">
                  <a16:creationId xmlns:a16="http://schemas.microsoft.com/office/drawing/2014/main" id="{F7314600-178F-4FF9-7227-E6F8DFBC5EF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822574" y="1790700"/>
              <a:ext cx="0" cy="477043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Объект 5">
            <a:extLst>
              <a:ext uri="{FF2B5EF4-FFF2-40B4-BE49-F238E27FC236}">
                <a16:creationId xmlns:a16="http://schemas.microsoft.com/office/drawing/2014/main" id="{D071ED9A-5BAC-D7EB-293D-AE5BCF8795A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519084" y="3267037"/>
            <a:ext cx="7344246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8" name="Объект 5">
            <a:extLst>
              <a:ext uri="{FF2B5EF4-FFF2-40B4-BE49-F238E27FC236}">
                <a16:creationId xmlns:a16="http://schemas.microsoft.com/office/drawing/2014/main" id="{EEF6BC94-F32C-B2CE-5685-AE986E6F146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6244" y="3267037"/>
            <a:ext cx="7344246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9" name="Объект 5">
            <a:extLst>
              <a:ext uri="{FF2B5EF4-FFF2-40B4-BE49-F238E27FC236}">
                <a16:creationId xmlns:a16="http://schemas.microsoft.com/office/drawing/2014/main" id="{3D0F1BA8-35D3-6E34-6F19-8C83F0493C4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16408660" y="3267037"/>
            <a:ext cx="7344246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1284190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ри блока с буллит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id="{3CEC6337-AE0C-7581-6F91-2FF0D72E2A1A}"/>
              </a:ext>
            </a:extLst>
          </p:cNvPr>
          <p:cNvSpPr/>
          <p:nvPr userDrawn="1"/>
        </p:nvSpPr>
        <p:spPr>
          <a:xfrm>
            <a:off x="616247" y="3257550"/>
            <a:ext cx="7357507" cy="9864724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sz="3600"/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6D8286B9-5774-A27B-AB90-533EEC67A5E5}"/>
              </a:ext>
            </a:extLst>
          </p:cNvPr>
          <p:cNvSpPr/>
          <p:nvPr userDrawn="1"/>
        </p:nvSpPr>
        <p:spPr>
          <a:xfrm>
            <a:off x="8515133" y="3257550"/>
            <a:ext cx="7357507" cy="9864724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79817173-B251-C621-9A6D-3267D5A12602}"/>
              </a:ext>
            </a:extLst>
          </p:cNvPr>
          <p:cNvSpPr/>
          <p:nvPr userDrawn="1"/>
        </p:nvSpPr>
        <p:spPr>
          <a:xfrm>
            <a:off x="16414019" y="3257550"/>
            <a:ext cx="7357507" cy="9864724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2" name="Объект 5">
            <a:extLst>
              <a:ext uri="{FF2B5EF4-FFF2-40B4-BE49-F238E27FC236}">
                <a16:creationId xmlns:a16="http://schemas.microsoft.com/office/drawing/2014/main" id="{DE5E0CD2-4EF2-0ACC-E931-37419A98ED1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874660" y="5638800"/>
            <a:ext cx="6627641" cy="70866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buClr>
                <a:schemeClr val="bg1"/>
              </a:buClr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805081D3-D58B-D9C5-FEC2-B34EBE4E1B0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71821" y="5638800"/>
            <a:ext cx="6627641" cy="70866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buClr>
                <a:schemeClr val="bg1"/>
              </a:buClr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AAB9A2D6-1D6B-7884-7470-5FA0BD99322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6764237" y="5638800"/>
            <a:ext cx="6627641" cy="70866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buClr>
                <a:schemeClr val="bg1"/>
              </a:buClr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8706F713-F963-A124-A8E6-0BE42E0C2F1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874660" y="4549289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" name="Объект 5">
            <a:extLst>
              <a:ext uri="{FF2B5EF4-FFF2-40B4-BE49-F238E27FC236}">
                <a16:creationId xmlns:a16="http://schemas.microsoft.com/office/drawing/2014/main" id="{65A94CE6-6407-284D-CEFC-D436C99A661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71821" y="4549289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7" name="Объект 5">
            <a:extLst>
              <a:ext uri="{FF2B5EF4-FFF2-40B4-BE49-F238E27FC236}">
                <a16:creationId xmlns:a16="http://schemas.microsoft.com/office/drawing/2014/main" id="{1E1734E1-C364-11AC-8002-0950E6A8C21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6764237" y="4549289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15595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анные и выво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79817173-B251-C621-9A6D-3267D5A12602}"/>
              </a:ext>
            </a:extLst>
          </p:cNvPr>
          <p:cNvSpPr/>
          <p:nvPr userDrawn="1"/>
        </p:nvSpPr>
        <p:spPr>
          <a:xfrm>
            <a:off x="16414019" y="3257550"/>
            <a:ext cx="7357507" cy="9864724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AAB9A2D6-1D6B-7884-7470-5FA0BD99322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6764237" y="5638800"/>
            <a:ext cx="6627641" cy="70866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buClr>
                <a:schemeClr val="bg1"/>
              </a:buClr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7" name="Объект 5">
            <a:extLst>
              <a:ext uri="{FF2B5EF4-FFF2-40B4-BE49-F238E27FC236}">
                <a16:creationId xmlns:a16="http://schemas.microsoft.com/office/drawing/2014/main" id="{1E1734E1-C364-11AC-8002-0950E6A8C21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6764237" y="4549289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5859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еребив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782EAF5C-288F-AD4A-9244-DE1BB62D4D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54048" y="1228459"/>
            <a:ext cx="21601113" cy="44546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180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главы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9" name="Номер слайда 9">
            <a:extLst>
              <a:ext uri="{FF2B5EF4-FFF2-40B4-BE49-F238E27FC236}">
                <a16:creationId xmlns:a16="http://schemas.microsoft.com/office/drawing/2014/main" id="{0FD6752C-B1B9-B147-8751-B4A50D323A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991763" y="12158276"/>
            <a:ext cx="869268" cy="730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2000">
                <a:solidFill>
                  <a:srgbClr val="BBBBBB"/>
                </a:solidFill>
              </a:defRPr>
            </a:lvl1pPr>
          </a:lstStyle>
          <a:p>
            <a:fld id="{283B1AB1-319D-4B24-A7E6-2CF2EF1A436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68978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блока и акц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id="{3CEC6337-AE0C-7581-6F91-2FF0D72E2A1A}"/>
              </a:ext>
            </a:extLst>
          </p:cNvPr>
          <p:cNvSpPr/>
          <p:nvPr userDrawn="1"/>
        </p:nvSpPr>
        <p:spPr>
          <a:xfrm>
            <a:off x="616247" y="3257550"/>
            <a:ext cx="7357507" cy="9864724"/>
          </a:xfrm>
          <a:prstGeom prst="roundRect">
            <a:avLst>
              <a:gd name="adj" fmla="val 3355"/>
            </a:avLst>
          </a:prstGeom>
          <a:solidFill>
            <a:srgbClr val="799D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6D8286B9-5774-A27B-AB90-533EEC67A5E5}"/>
              </a:ext>
            </a:extLst>
          </p:cNvPr>
          <p:cNvSpPr/>
          <p:nvPr userDrawn="1"/>
        </p:nvSpPr>
        <p:spPr>
          <a:xfrm>
            <a:off x="8515133" y="3257550"/>
            <a:ext cx="7357507" cy="9864724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79817173-B251-C621-9A6D-3267D5A12602}"/>
              </a:ext>
            </a:extLst>
          </p:cNvPr>
          <p:cNvSpPr/>
          <p:nvPr userDrawn="1"/>
        </p:nvSpPr>
        <p:spPr>
          <a:xfrm>
            <a:off x="16414019" y="3257550"/>
            <a:ext cx="7357507" cy="9864724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9" name="Объект 5">
            <a:extLst>
              <a:ext uri="{FF2B5EF4-FFF2-40B4-BE49-F238E27FC236}">
                <a16:creationId xmlns:a16="http://schemas.microsoft.com/office/drawing/2014/main" id="{FBD0BA45-3FAD-5EB5-3CF2-74F8747D64F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874660" y="3944771"/>
            <a:ext cx="6627641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0" name="Объект 5">
            <a:extLst>
              <a:ext uri="{FF2B5EF4-FFF2-40B4-BE49-F238E27FC236}">
                <a16:creationId xmlns:a16="http://schemas.microsoft.com/office/drawing/2014/main" id="{B6F1663F-742F-8350-9DE1-BE9B08ABA9E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71821" y="3944771"/>
            <a:ext cx="6627641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1" name="Объект 5">
            <a:extLst>
              <a:ext uri="{FF2B5EF4-FFF2-40B4-BE49-F238E27FC236}">
                <a16:creationId xmlns:a16="http://schemas.microsoft.com/office/drawing/2014/main" id="{01B71E5B-CF92-EC6D-90CA-37C8E6C65DC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6764237" y="3944771"/>
            <a:ext cx="6627641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2" name="Объект 5">
            <a:extLst>
              <a:ext uri="{FF2B5EF4-FFF2-40B4-BE49-F238E27FC236}">
                <a16:creationId xmlns:a16="http://schemas.microsoft.com/office/drawing/2014/main" id="{DE5E0CD2-4EF2-0ACC-E931-37419A98ED1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874660" y="4889895"/>
            <a:ext cx="6627641" cy="783550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805081D3-D58B-D9C5-FEC2-B34EBE4E1B0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71821" y="4889895"/>
            <a:ext cx="6627641" cy="783550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AAB9A2D6-1D6B-7884-7470-5FA0BD99322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6764237" y="4889895"/>
            <a:ext cx="6627641" cy="783550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19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ять бло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Скругленный прямоугольник 24">
            <a:extLst>
              <a:ext uri="{FF2B5EF4-FFF2-40B4-BE49-F238E27FC236}">
                <a16:creationId xmlns:a16="http://schemas.microsoft.com/office/drawing/2014/main" id="{D2ED0E6B-6062-2C5F-5A7C-DB36CAECE852}"/>
              </a:ext>
            </a:extLst>
          </p:cNvPr>
          <p:cNvSpPr/>
          <p:nvPr userDrawn="1"/>
        </p:nvSpPr>
        <p:spPr>
          <a:xfrm>
            <a:off x="8515133" y="3257551"/>
            <a:ext cx="7357507" cy="9496226"/>
          </a:xfrm>
          <a:prstGeom prst="roundRect">
            <a:avLst>
              <a:gd name="adj" fmla="val 231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id="{3CEC6337-AE0C-7581-6F91-2FF0D72E2A1A}"/>
              </a:ext>
            </a:extLst>
          </p:cNvPr>
          <p:cNvSpPr/>
          <p:nvPr userDrawn="1"/>
        </p:nvSpPr>
        <p:spPr>
          <a:xfrm>
            <a:off x="616247" y="3257551"/>
            <a:ext cx="7357507" cy="4489450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sz="3600"/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79817173-B251-C621-9A6D-3267D5A12602}"/>
              </a:ext>
            </a:extLst>
          </p:cNvPr>
          <p:cNvSpPr/>
          <p:nvPr userDrawn="1"/>
        </p:nvSpPr>
        <p:spPr>
          <a:xfrm>
            <a:off x="16414019" y="3257551"/>
            <a:ext cx="7357507" cy="4489450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805081D3-D58B-D9C5-FEC2-B34EBE4E1B0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71821" y="4830717"/>
            <a:ext cx="6627641" cy="12419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AAB9A2D6-1D6B-7884-7470-5FA0BD99322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6764237" y="4830717"/>
            <a:ext cx="6627641" cy="12419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5" name="Объект 5">
            <a:extLst>
              <a:ext uri="{FF2B5EF4-FFF2-40B4-BE49-F238E27FC236}">
                <a16:creationId xmlns:a16="http://schemas.microsoft.com/office/drawing/2014/main" id="{65A94CE6-6407-284D-CEFC-D436C99A661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71821" y="3928331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7" name="Объект 5">
            <a:extLst>
              <a:ext uri="{FF2B5EF4-FFF2-40B4-BE49-F238E27FC236}">
                <a16:creationId xmlns:a16="http://schemas.microsoft.com/office/drawing/2014/main" id="{1E1734E1-C364-11AC-8002-0950E6A8C21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6764237" y="3928331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69CEFD38-B5A8-7D2D-FA50-B1195FFFEE61}"/>
              </a:ext>
            </a:extLst>
          </p:cNvPr>
          <p:cNvSpPr/>
          <p:nvPr userDrawn="1"/>
        </p:nvSpPr>
        <p:spPr>
          <a:xfrm>
            <a:off x="616247" y="8264327"/>
            <a:ext cx="7357507" cy="4489450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sz="3600"/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5724276D-EDF9-D4B3-C150-0AB1B10735FD}"/>
              </a:ext>
            </a:extLst>
          </p:cNvPr>
          <p:cNvSpPr/>
          <p:nvPr userDrawn="1"/>
        </p:nvSpPr>
        <p:spPr>
          <a:xfrm>
            <a:off x="16414019" y="8264327"/>
            <a:ext cx="7357507" cy="4489450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14" name="Объект 5">
            <a:extLst>
              <a:ext uri="{FF2B5EF4-FFF2-40B4-BE49-F238E27FC236}">
                <a16:creationId xmlns:a16="http://schemas.microsoft.com/office/drawing/2014/main" id="{7CA45B54-BEEE-79A5-D9AB-E1FE4770FCC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971821" y="9837493"/>
            <a:ext cx="6627641" cy="12419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15" name="Объект 5">
            <a:extLst>
              <a:ext uri="{FF2B5EF4-FFF2-40B4-BE49-F238E27FC236}">
                <a16:creationId xmlns:a16="http://schemas.microsoft.com/office/drawing/2014/main" id="{C4175B50-BE82-65DA-08E8-748353A5082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6764237" y="9837493"/>
            <a:ext cx="6627641" cy="12419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17" name="Объект 5">
            <a:extLst>
              <a:ext uri="{FF2B5EF4-FFF2-40B4-BE49-F238E27FC236}">
                <a16:creationId xmlns:a16="http://schemas.microsoft.com/office/drawing/2014/main" id="{9BB3F355-8EDE-68F7-1CE5-2AA8F5D5164B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71821" y="8935107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18" name="Объект 5">
            <a:extLst>
              <a:ext uri="{FF2B5EF4-FFF2-40B4-BE49-F238E27FC236}">
                <a16:creationId xmlns:a16="http://schemas.microsoft.com/office/drawing/2014/main" id="{A2C517D9-D278-6158-AD36-C304CAA53BD8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16764237" y="8935107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5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1D85D007-A8B2-D9E0-C5D5-C7B7BBE2FE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075" t="-7613" r="58161" b="61106"/>
          <a:stretch/>
        </p:blipFill>
        <p:spPr>
          <a:xfrm rot="16200000">
            <a:off x="7445775" y="4326910"/>
            <a:ext cx="9496226" cy="7357505"/>
          </a:xfrm>
          <a:custGeom>
            <a:avLst/>
            <a:gdLst>
              <a:gd name="connsiteX0" fmla="*/ 4748113 w 4748113"/>
              <a:gd name="connsiteY0" fmla="*/ 85316 h 3678992"/>
              <a:gd name="connsiteX1" fmla="*/ 4748113 w 4748113"/>
              <a:gd name="connsiteY1" fmla="*/ 3593677 h 3678992"/>
              <a:gd name="connsiteX2" fmla="*/ 4696006 w 4748113"/>
              <a:gd name="connsiteY2" fmla="*/ 3672288 h 3678992"/>
              <a:gd name="connsiteX3" fmla="*/ 4662800 w 4748113"/>
              <a:gd name="connsiteY3" fmla="*/ 3678992 h 3678992"/>
              <a:gd name="connsiteX4" fmla="*/ 85314 w 4748113"/>
              <a:gd name="connsiteY4" fmla="*/ 3678992 h 3678992"/>
              <a:gd name="connsiteX5" fmla="*/ 52107 w 4748113"/>
              <a:gd name="connsiteY5" fmla="*/ 3672288 h 3678992"/>
              <a:gd name="connsiteX6" fmla="*/ 0 w 4748113"/>
              <a:gd name="connsiteY6" fmla="*/ 3593677 h 3678992"/>
              <a:gd name="connsiteX7" fmla="*/ 0 w 4748113"/>
              <a:gd name="connsiteY7" fmla="*/ 85316 h 3678992"/>
              <a:gd name="connsiteX8" fmla="*/ 85316 w 4748113"/>
              <a:gd name="connsiteY8" fmla="*/ 0 h 3678992"/>
              <a:gd name="connsiteX9" fmla="*/ 4662797 w 4748113"/>
              <a:gd name="connsiteY9" fmla="*/ 0 h 3678992"/>
              <a:gd name="connsiteX10" fmla="*/ 4748113 w 4748113"/>
              <a:gd name="connsiteY10" fmla="*/ 85316 h 3678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48113" h="3678992">
                <a:moveTo>
                  <a:pt x="4748113" y="85316"/>
                </a:moveTo>
                <a:lnTo>
                  <a:pt x="4748113" y="3593677"/>
                </a:lnTo>
                <a:cubicBezTo>
                  <a:pt x="4748113" y="3629016"/>
                  <a:pt x="4726628" y="3659337"/>
                  <a:pt x="4696006" y="3672288"/>
                </a:cubicBezTo>
                <a:lnTo>
                  <a:pt x="4662800" y="3678992"/>
                </a:lnTo>
                <a:lnTo>
                  <a:pt x="85314" y="3678992"/>
                </a:lnTo>
                <a:lnTo>
                  <a:pt x="52107" y="3672288"/>
                </a:lnTo>
                <a:cubicBezTo>
                  <a:pt x="21486" y="3659337"/>
                  <a:pt x="0" y="3629016"/>
                  <a:pt x="0" y="3593677"/>
                </a:cubicBezTo>
                <a:lnTo>
                  <a:pt x="0" y="85316"/>
                </a:lnTo>
                <a:cubicBezTo>
                  <a:pt x="0" y="38197"/>
                  <a:pt x="38197" y="0"/>
                  <a:pt x="85316" y="0"/>
                </a:cubicBezTo>
                <a:lnTo>
                  <a:pt x="4662797" y="0"/>
                </a:lnTo>
                <a:cubicBezTo>
                  <a:pt x="4709916" y="0"/>
                  <a:pt x="4748113" y="38197"/>
                  <a:pt x="4748113" y="85316"/>
                </a:cubicBezTo>
                <a:close/>
              </a:path>
            </a:pathLst>
          </a:custGeom>
        </p:spPr>
      </p:pic>
      <p:sp>
        <p:nvSpPr>
          <p:cNvPr id="22" name="Объект 5">
            <a:extLst>
              <a:ext uri="{FF2B5EF4-FFF2-40B4-BE49-F238E27FC236}">
                <a16:creationId xmlns:a16="http://schemas.microsoft.com/office/drawing/2014/main" id="{DE5E0CD2-4EF2-0ACC-E931-37419A98ED1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874661" y="4830717"/>
            <a:ext cx="5729389" cy="562773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8706F713-F963-A124-A8E6-0BE42E0C2F1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874661" y="3928331"/>
            <a:ext cx="5729389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3726636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Шесть бло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id="{3CEC6337-AE0C-7581-6F91-2FF0D72E2A1A}"/>
              </a:ext>
            </a:extLst>
          </p:cNvPr>
          <p:cNvSpPr/>
          <p:nvPr userDrawn="1"/>
        </p:nvSpPr>
        <p:spPr>
          <a:xfrm>
            <a:off x="616247" y="3257551"/>
            <a:ext cx="7357507" cy="4489450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sz="3600"/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6D8286B9-5774-A27B-AB90-533EEC67A5E5}"/>
              </a:ext>
            </a:extLst>
          </p:cNvPr>
          <p:cNvSpPr/>
          <p:nvPr userDrawn="1"/>
        </p:nvSpPr>
        <p:spPr>
          <a:xfrm>
            <a:off x="8515133" y="3257551"/>
            <a:ext cx="7357507" cy="4489450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79817173-B251-C621-9A6D-3267D5A12602}"/>
              </a:ext>
            </a:extLst>
          </p:cNvPr>
          <p:cNvSpPr/>
          <p:nvPr userDrawn="1"/>
        </p:nvSpPr>
        <p:spPr>
          <a:xfrm>
            <a:off x="16414019" y="3257551"/>
            <a:ext cx="7357507" cy="4489450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69CEFD38-B5A8-7D2D-FA50-B1195FFFEE61}"/>
              </a:ext>
            </a:extLst>
          </p:cNvPr>
          <p:cNvSpPr/>
          <p:nvPr userDrawn="1"/>
        </p:nvSpPr>
        <p:spPr>
          <a:xfrm>
            <a:off x="616247" y="8264327"/>
            <a:ext cx="7357507" cy="4489450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sz="3600"/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FFE839FD-56C0-03CF-7855-641E64BB271E}"/>
              </a:ext>
            </a:extLst>
          </p:cNvPr>
          <p:cNvSpPr/>
          <p:nvPr userDrawn="1"/>
        </p:nvSpPr>
        <p:spPr>
          <a:xfrm>
            <a:off x="8515133" y="8264327"/>
            <a:ext cx="7357507" cy="4489450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5724276D-EDF9-D4B3-C150-0AB1B10735FD}"/>
              </a:ext>
            </a:extLst>
          </p:cNvPr>
          <p:cNvSpPr/>
          <p:nvPr userDrawn="1"/>
        </p:nvSpPr>
        <p:spPr>
          <a:xfrm>
            <a:off x="16414019" y="8264327"/>
            <a:ext cx="7357507" cy="4489450"/>
          </a:xfrm>
          <a:prstGeom prst="roundRect">
            <a:avLst>
              <a:gd name="adj" fmla="val 33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2" name="Объект 5">
            <a:extLst>
              <a:ext uri="{FF2B5EF4-FFF2-40B4-BE49-F238E27FC236}">
                <a16:creationId xmlns:a16="http://schemas.microsoft.com/office/drawing/2014/main" id="{DE5E0CD2-4EF2-0ACC-E931-37419A98ED1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874660" y="5451675"/>
            <a:ext cx="6627641" cy="12419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805081D3-D58B-D9C5-FEC2-B34EBE4E1B0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71821" y="5451675"/>
            <a:ext cx="6627641" cy="12419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AAB9A2D6-1D6B-7884-7470-5FA0BD99322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6764237" y="5451675"/>
            <a:ext cx="6627641" cy="12419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8706F713-F963-A124-A8E6-0BE42E0C2F1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874660" y="4549289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" name="Объект 5">
            <a:extLst>
              <a:ext uri="{FF2B5EF4-FFF2-40B4-BE49-F238E27FC236}">
                <a16:creationId xmlns:a16="http://schemas.microsoft.com/office/drawing/2014/main" id="{65A94CE6-6407-284D-CEFC-D436C99A661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71821" y="4549289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7" name="Объект 5">
            <a:extLst>
              <a:ext uri="{FF2B5EF4-FFF2-40B4-BE49-F238E27FC236}">
                <a16:creationId xmlns:a16="http://schemas.microsoft.com/office/drawing/2014/main" id="{1E1734E1-C364-11AC-8002-0950E6A8C21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6764237" y="4549289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3" name="Объект 5">
            <a:extLst>
              <a:ext uri="{FF2B5EF4-FFF2-40B4-BE49-F238E27FC236}">
                <a16:creationId xmlns:a16="http://schemas.microsoft.com/office/drawing/2014/main" id="{D579D5CA-0449-494D-A8A9-F5F687FA4C1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8874660" y="10458451"/>
            <a:ext cx="6627641" cy="12419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14" name="Объект 5">
            <a:extLst>
              <a:ext uri="{FF2B5EF4-FFF2-40B4-BE49-F238E27FC236}">
                <a16:creationId xmlns:a16="http://schemas.microsoft.com/office/drawing/2014/main" id="{7CA45B54-BEEE-79A5-D9AB-E1FE4770FCC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971821" y="10458451"/>
            <a:ext cx="6627641" cy="12419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15" name="Объект 5">
            <a:extLst>
              <a:ext uri="{FF2B5EF4-FFF2-40B4-BE49-F238E27FC236}">
                <a16:creationId xmlns:a16="http://schemas.microsoft.com/office/drawing/2014/main" id="{C4175B50-BE82-65DA-08E8-748353A5082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6764237" y="10458451"/>
            <a:ext cx="6627641" cy="12419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bg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16" name="Объект 5">
            <a:extLst>
              <a:ext uri="{FF2B5EF4-FFF2-40B4-BE49-F238E27FC236}">
                <a16:creationId xmlns:a16="http://schemas.microsoft.com/office/drawing/2014/main" id="{6908356F-B03F-A486-C0EE-19F9C11D7F14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874660" y="9556065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7" name="Объект 5">
            <a:extLst>
              <a:ext uri="{FF2B5EF4-FFF2-40B4-BE49-F238E27FC236}">
                <a16:creationId xmlns:a16="http://schemas.microsoft.com/office/drawing/2014/main" id="{9BB3F355-8EDE-68F7-1CE5-2AA8F5D5164B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71821" y="9556065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8" name="Объект 5">
            <a:extLst>
              <a:ext uri="{FF2B5EF4-FFF2-40B4-BE49-F238E27FC236}">
                <a16:creationId xmlns:a16="http://schemas.microsoft.com/office/drawing/2014/main" id="{A2C517D9-D278-6158-AD36-C304CAA53BD8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16764237" y="9556065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5245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ри текстовых блока с ико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9" name="Объект 5">
            <a:extLst>
              <a:ext uri="{FF2B5EF4-FFF2-40B4-BE49-F238E27FC236}">
                <a16:creationId xmlns:a16="http://schemas.microsoft.com/office/drawing/2014/main" id="{FBD0BA45-3FAD-5EB5-3CF2-74F8747D64F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519084" y="5620291"/>
            <a:ext cx="7344246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0" name="Объект 5">
            <a:extLst>
              <a:ext uri="{FF2B5EF4-FFF2-40B4-BE49-F238E27FC236}">
                <a16:creationId xmlns:a16="http://schemas.microsoft.com/office/drawing/2014/main" id="{B6F1663F-742F-8350-9DE1-BE9B08ABA9E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6244" y="5620291"/>
            <a:ext cx="7344246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1" name="Объект 5">
            <a:extLst>
              <a:ext uri="{FF2B5EF4-FFF2-40B4-BE49-F238E27FC236}">
                <a16:creationId xmlns:a16="http://schemas.microsoft.com/office/drawing/2014/main" id="{01B71E5B-CF92-EC6D-90CA-37C8E6C65DC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6408660" y="5620291"/>
            <a:ext cx="7344246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2" name="Объект 5">
            <a:extLst>
              <a:ext uri="{FF2B5EF4-FFF2-40B4-BE49-F238E27FC236}">
                <a16:creationId xmlns:a16="http://schemas.microsoft.com/office/drawing/2014/main" id="{DE5E0CD2-4EF2-0ACC-E931-37419A98ED1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519084" y="6567019"/>
            <a:ext cx="7344246" cy="649793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805081D3-D58B-D9C5-FEC2-B34EBE4E1B0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4" y="6567019"/>
            <a:ext cx="7344246" cy="649793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AAB9A2D6-1D6B-7884-7470-5FA0BD99322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6408660" y="6567019"/>
            <a:ext cx="7344246" cy="649793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2E1FB57B-9D80-7502-E27B-AF9B39E5C318}"/>
              </a:ext>
            </a:extLst>
          </p:cNvPr>
          <p:cNvCxnSpPr>
            <a:cxnSpLocks/>
          </p:cNvCxnSpPr>
          <p:nvPr userDrawn="1"/>
        </p:nvCxnSpPr>
        <p:spPr>
          <a:xfrm>
            <a:off x="616244" y="3274878"/>
            <a:ext cx="734424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AA0991C0-BF84-A920-7964-79DE308CAA12}"/>
              </a:ext>
            </a:extLst>
          </p:cNvPr>
          <p:cNvCxnSpPr>
            <a:cxnSpLocks/>
          </p:cNvCxnSpPr>
          <p:nvPr userDrawn="1"/>
        </p:nvCxnSpPr>
        <p:spPr>
          <a:xfrm>
            <a:off x="8519084" y="3274878"/>
            <a:ext cx="734424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9320CBB4-D22D-3A2B-EDE3-5F37E43C3543}"/>
              </a:ext>
            </a:extLst>
          </p:cNvPr>
          <p:cNvCxnSpPr>
            <a:cxnSpLocks/>
          </p:cNvCxnSpPr>
          <p:nvPr userDrawn="1"/>
        </p:nvCxnSpPr>
        <p:spPr>
          <a:xfrm>
            <a:off x="16408660" y="3274878"/>
            <a:ext cx="734424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8334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Шесть текстовых блоков с ико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9" name="Объект 5">
            <a:extLst>
              <a:ext uri="{FF2B5EF4-FFF2-40B4-BE49-F238E27FC236}">
                <a16:creationId xmlns:a16="http://schemas.microsoft.com/office/drawing/2014/main" id="{FBD0BA45-3FAD-5EB5-3CF2-74F8747D64F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519084" y="4517971"/>
            <a:ext cx="7344246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0" name="Объект 5">
            <a:extLst>
              <a:ext uri="{FF2B5EF4-FFF2-40B4-BE49-F238E27FC236}">
                <a16:creationId xmlns:a16="http://schemas.microsoft.com/office/drawing/2014/main" id="{B6F1663F-742F-8350-9DE1-BE9B08ABA9E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6244" y="4517971"/>
            <a:ext cx="7344246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1" name="Объект 5">
            <a:extLst>
              <a:ext uri="{FF2B5EF4-FFF2-40B4-BE49-F238E27FC236}">
                <a16:creationId xmlns:a16="http://schemas.microsoft.com/office/drawing/2014/main" id="{01B71E5B-CF92-EC6D-90CA-37C8E6C65DC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6408660" y="4517971"/>
            <a:ext cx="7344246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2" name="Объект 5">
            <a:extLst>
              <a:ext uri="{FF2B5EF4-FFF2-40B4-BE49-F238E27FC236}">
                <a16:creationId xmlns:a16="http://schemas.microsoft.com/office/drawing/2014/main" id="{DE5E0CD2-4EF2-0ACC-E931-37419A98ED1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519084" y="5463092"/>
            <a:ext cx="7344246" cy="26692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805081D3-D58B-D9C5-FEC2-B34EBE4E1B0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244" y="5463092"/>
            <a:ext cx="7344246" cy="26692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AAB9A2D6-1D6B-7884-7470-5FA0BD99322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6408660" y="5463092"/>
            <a:ext cx="7344246" cy="26692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2E1FB57B-9D80-7502-E27B-AF9B39E5C318}"/>
              </a:ext>
            </a:extLst>
          </p:cNvPr>
          <p:cNvCxnSpPr>
            <a:cxnSpLocks/>
          </p:cNvCxnSpPr>
          <p:nvPr userDrawn="1"/>
        </p:nvCxnSpPr>
        <p:spPr>
          <a:xfrm>
            <a:off x="616244" y="3274878"/>
            <a:ext cx="734424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Объект 5">
            <a:extLst>
              <a:ext uri="{FF2B5EF4-FFF2-40B4-BE49-F238E27FC236}">
                <a16:creationId xmlns:a16="http://schemas.microsoft.com/office/drawing/2014/main" id="{78737C60-1D94-2E51-3C59-48F96C6E911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8519084" y="9507913"/>
            <a:ext cx="7344246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2" name="Объект 5">
            <a:extLst>
              <a:ext uri="{FF2B5EF4-FFF2-40B4-BE49-F238E27FC236}">
                <a16:creationId xmlns:a16="http://schemas.microsoft.com/office/drawing/2014/main" id="{2102B9B8-E673-E610-80C6-853AFE5A13AE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6244" y="9507913"/>
            <a:ext cx="7344246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3" name="Объект 5">
            <a:extLst>
              <a:ext uri="{FF2B5EF4-FFF2-40B4-BE49-F238E27FC236}">
                <a16:creationId xmlns:a16="http://schemas.microsoft.com/office/drawing/2014/main" id="{47E74572-D121-3739-8753-EFAB0196B74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6408660" y="9507913"/>
            <a:ext cx="7344246" cy="664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4" name="Объект 5">
            <a:extLst>
              <a:ext uri="{FF2B5EF4-FFF2-40B4-BE49-F238E27FC236}">
                <a16:creationId xmlns:a16="http://schemas.microsoft.com/office/drawing/2014/main" id="{28321FBB-24FA-34DA-0B69-BDDB27A8C594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519084" y="10453034"/>
            <a:ext cx="7344246" cy="26692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5" name="Объект 5">
            <a:extLst>
              <a:ext uri="{FF2B5EF4-FFF2-40B4-BE49-F238E27FC236}">
                <a16:creationId xmlns:a16="http://schemas.microsoft.com/office/drawing/2014/main" id="{12AFF2C6-382E-F937-6662-F92733CAB342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16244" y="10453034"/>
            <a:ext cx="7344246" cy="26692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6" name="Объект 5">
            <a:extLst>
              <a:ext uri="{FF2B5EF4-FFF2-40B4-BE49-F238E27FC236}">
                <a16:creationId xmlns:a16="http://schemas.microsoft.com/office/drawing/2014/main" id="{8A0F3F06-FCDE-031E-F843-2AB3F3F2AAD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16408660" y="10453034"/>
            <a:ext cx="7344246" cy="26692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AA0991C0-BF84-A920-7964-79DE308CAA12}"/>
              </a:ext>
            </a:extLst>
          </p:cNvPr>
          <p:cNvCxnSpPr>
            <a:cxnSpLocks/>
          </p:cNvCxnSpPr>
          <p:nvPr userDrawn="1"/>
        </p:nvCxnSpPr>
        <p:spPr>
          <a:xfrm>
            <a:off x="8519084" y="3274878"/>
            <a:ext cx="734424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9320CBB4-D22D-3A2B-EDE3-5F37E43C3543}"/>
              </a:ext>
            </a:extLst>
          </p:cNvPr>
          <p:cNvCxnSpPr>
            <a:cxnSpLocks/>
          </p:cNvCxnSpPr>
          <p:nvPr userDrawn="1"/>
        </p:nvCxnSpPr>
        <p:spPr>
          <a:xfrm>
            <a:off x="16408660" y="3274878"/>
            <a:ext cx="734424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1087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Шесть бло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2" name="Объект 5">
            <a:extLst>
              <a:ext uri="{FF2B5EF4-FFF2-40B4-BE49-F238E27FC236}">
                <a16:creationId xmlns:a16="http://schemas.microsoft.com/office/drawing/2014/main" id="{DE5E0CD2-4EF2-0ACC-E931-37419A98ED1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874660" y="4637472"/>
            <a:ext cx="6627641" cy="318572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tx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23" name="Объект 5">
            <a:extLst>
              <a:ext uri="{FF2B5EF4-FFF2-40B4-BE49-F238E27FC236}">
                <a16:creationId xmlns:a16="http://schemas.microsoft.com/office/drawing/2014/main" id="{805081D3-D58B-D9C5-FEC2-B34EBE4E1B0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71821" y="4637472"/>
            <a:ext cx="6627641" cy="318572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tx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24" name="Объект 5">
            <a:extLst>
              <a:ext uri="{FF2B5EF4-FFF2-40B4-BE49-F238E27FC236}">
                <a16:creationId xmlns:a16="http://schemas.microsoft.com/office/drawing/2014/main" id="{AAB9A2D6-1D6B-7884-7470-5FA0BD99322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6764237" y="4637472"/>
            <a:ext cx="6627641" cy="318572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tx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3" name="Объект 5">
            <a:extLst>
              <a:ext uri="{FF2B5EF4-FFF2-40B4-BE49-F238E27FC236}">
                <a16:creationId xmlns:a16="http://schemas.microsoft.com/office/drawing/2014/main" id="{8706F713-F963-A124-A8E6-0BE42E0C2F1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874660" y="3735087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" name="Объект 5">
            <a:extLst>
              <a:ext uri="{FF2B5EF4-FFF2-40B4-BE49-F238E27FC236}">
                <a16:creationId xmlns:a16="http://schemas.microsoft.com/office/drawing/2014/main" id="{65A94CE6-6407-284D-CEFC-D436C99A661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71821" y="3735087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7" name="Объект 5">
            <a:extLst>
              <a:ext uri="{FF2B5EF4-FFF2-40B4-BE49-F238E27FC236}">
                <a16:creationId xmlns:a16="http://schemas.microsoft.com/office/drawing/2014/main" id="{1E1734E1-C364-11AC-8002-0950E6A8C21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6764237" y="3735087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3" name="Объект 5">
            <a:extLst>
              <a:ext uri="{FF2B5EF4-FFF2-40B4-BE49-F238E27FC236}">
                <a16:creationId xmlns:a16="http://schemas.microsoft.com/office/drawing/2014/main" id="{D579D5CA-0449-494D-A8A9-F5F687FA4C1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8874660" y="9253968"/>
            <a:ext cx="6627641" cy="318572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tx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14" name="Объект 5">
            <a:extLst>
              <a:ext uri="{FF2B5EF4-FFF2-40B4-BE49-F238E27FC236}">
                <a16:creationId xmlns:a16="http://schemas.microsoft.com/office/drawing/2014/main" id="{7CA45B54-BEEE-79A5-D9AB-E1FE4770FCC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971821" y="9253968"/>
            <a:ext cx="6627641" cy="318572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tx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15" name="Объект 5">
            <a:extLst>
              <a:ext uri="{FF2B5EF4-FFF2-40B4-BE49-F238E27FC236}">
                <a16:creationId xmlns:a16="http://schemas.microsoft.com/office/drawing/2014/main" id="{C4175B50-BE82-65DA-08E8-748353A5082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6764237" y="9253968"/>
            <a:ext cx="6627641" cy="318572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lang="ru-RU" sz="3200" dirty="0">
                <a:solidFill>
                  <a:schemeClr val="tx1"/>
                </a:solidFill>
              </a:defRPr>
            </a:lvl1pPr>
          </a:lstStyle>
          <a:p>
            <a:pPr marL="355482" lvl="0" indent="-355482">
              <a:spcBef>
                <a:spcPts val="0"/>
              </a:spcBef>
              <a:spcAft>
                <a:spcPts val="3200"/>
              </a:spcAft>
              <a:buClr>
                <a:srgbClr val="406EFF"/>
              </a:buClr>
            </a:pPr>
            <a:endParaRPr lang="ru-RU" dirty="0"/>
          </a:p>
        </p:txBody>
      </p:sp>
      <p:sp>
        <p:nvSpPr>
          <p:cNvPr id="16" name="Объект 5">
            <a:extLst>
              <a:ext uri="{FF2B5EF4-FFF2-40B4-BE49-F238E27FC236}">
                <a16:creationId xmlns:a16="http://schemas.microsoft.com/office/drawing/2014/main" id="{6908356F-B03F-A486-C0EE-19F9C11D7F14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874660" y="8351583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7" name="Объект 5">
            <a:extLst>
              <a:ext uri="{FF2B5EF4-FFF2-40B4-BE49-F238E27FC236}">
                <a16:creationId xmlns:a16="http://schemas.microsoft.com/office/drawing/2014/main" id="{9BB3F355-8EDE-68F7-1CE5-2AA8F5D5164B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71821" y="8351583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18" name="Объект 5">
            <a:extLst>
              <a:ext uri="{FF2B5EF4-FFF2-40B4-BE49-F238E27FC236}">
                <a16:creationId xmlns:a16="http://schemas.microsoft.com/office/drawing/2014/main" id="{A2C517D9-D278-6158-AD36-C304CAA53BD8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16764237" y="8351583"/>
            <a:ext cx="6627641" cy="6647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AA6CA395-3C6A-1433-3A54-1DCA0875CBF0}"/>
              </a:ext>
            </a:extLst>
          </p:cNvPr>
          <p:cNvGrpSpPr/>
          <p:nvPr userDrawn="1"/>
        </p:nvGrpSpPr>
        <p:grpSpPr>
          <a:xfrm>
            <a:off x="616244" y="3287836"/>
            <a:ext cx="23141082" cy="4462140"/>
            <a:chOff x="308142" y="1634573"/>
            <a:chExt cx="9713495" cy="4926565"/>
          </a:xfrm>
        </p:grpSpPr>
        <p:cxnSp>
          <p:nvCxnSpPr>
            <p:cNvPr id="20" name="Прямая соединительная линия 19">
              <a:extLst>
                <a:ext uri="{FF2B5EF4-FFF2-40B4-BE49-F238E27FC236}">
                  <a16:creationId xmlns:a16="http://schemas.microsoft.com/office/drawing/2014/main" id="{10E99DCB-966E-DBF6-90CA-D4647BB4203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8142" y="1634573"/>
              <a:ext cx="308275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>
              <a:extLst>
                <a:ext uri="{FF2B5EF4-FFF2-40B4-BE49-F238E27FC236}">
                  <a16:creationId xmlns:a16="http://schemas.microsoft.com/office/drawing/2014/main" id="{DC6F4E5A-CEEF-FE0A-FAC8-A62FE1663BE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07205" y="1790699"/>
              <a:ext cx="0" cy="4770439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Прямая соединительная линия 24">
              <a:extLst>
                <a:ext uri="{FF2B5EF4-FFF2-40B4-BE49-F238E27FC236}">
                  <a16:creationId xmlns:a16="http://schemas.microsoft.com/office/drawing/2014/main" id="{8981405A-0242-CB99-1ED5-0F1BB300CC0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23510" y="1634573"/>
              <a:ext cx="308275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Прямая соединительная линия 25">
              <a:extLst>
                <a:ext uri="{FF2B5EF4-FFF2-40B4-BE49-F238E27FC236}">
                  <a16:creationId xmlns:a16="http://schemas.microsoft.com/office/drawing/2014/main" id="{13FB027C-28C2-DAEB-FD37-D0C9CCB0E8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38878" y="1634573"/>
              <a:ext cx="308275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Прямая соединительная линия 26">
              <a:extLst>
                <a:ext uri="{FF2B5EF4-FFF2-40B4-BE49-F238E27FC236}">
                  <a16:creationId xmlns:a16="http://schemas.microsoft.com/office/drawing/2014/main" id="{D5C0A8A0-C90C-92D9-D53D-8351D64B4A0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822574" y="1790699"/>
              <a:ext cx="0" cy="477043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ED3ABDC5-1189-2ADD-DD43-0E6CEBFB0326}"/>
              </a:ext>
            </a:extLst>
          </p:cNvPr>
          <p:cNvGrpSpPr/>
          <p:nvPr userDrawn="1"/>
        </p:nvGrpSpPr>
        <p:grpSpPr>
          <a:xfrm>
            <a:off x="616244" y="7977556"/>
            <a:ext cx="23141082" cy="4462140"/>
            <a:chOff x="308142" y="1634573"/>
            <a:chExt cx="9713495" cy="4926565"/>
          </a:xfrm>
        </p:grpSpPr>
        <p:cxnSp>
          <p:nvCxnSpPr>
            <p:cNvPr id="29" name="Прямая соединительная линия 28">
              <a:extLst>
                <a:ext uri="{FF2B5EF4-FFF2-40B4-BE49-F238E27FC236}">
                  <a16:creationId xmlns:a16="http://schemas.microsoft.com/office/drawing/2014/main" id="{FFD73747-DC55-605D-40C3-1EF5E7904A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8142" y="1634573"/>
              <a:ext cx="308275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Прямая соединительная линия 29">
              <a:extLst>
                <a:ext uri="{FF2B5EF4-FFF2-40B4-BE49-F238E27FC236}">
                  <a16:creationId xmlns:a16="http://schemas.microsoft.com/office/drawing/2014/main" id="{3F0A5670-D7AA-A232-0527-127CC16A708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07205" y="1790700"/>
              <a:ext cx="0" cy="477043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Прямая соединительная линия 30">
              <a:extLst>
                <a:ext uri="{FF2B5EF4-FFF2-40B4-BE49-F238E27FC236}">
                  <a16:creationId xmlns:a16="http://schemas.microsoft.com/office/drawing/2014/main" id="{ACD11E23-3F82-7A5B-5327-988B9B989A9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23510" y="1634573"/>
              <a:ext cx="308275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Прямая соединительная линия 31">
              <a:extLst>
                <a:ext uri="{FF2B5EF4-FFF2-40B4-BE49-F238E27FC236}">
                  <a16:creationId xmlns:a16="http://schemas.microsoft.com/office/drawing/2014/main" id="{1F413A42-7B16-7A23-F15F-E86AC7D1247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38878" y="1634573"/>
              <a:ext cx="308275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Прямая соединительная линия 32">
              <a:extLst>
                <a:ext uri="{FF2B5EF4-FFF2-40B4-BE49-F238E27FC236}">
                  <a16:creationId xmlns:a16="http://schemas.microsoft.com/office/drawing/2014/main" id="{4112268A-CACE-0B97-2D63-D1D48ED1158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822574" y="1790700"/>
              <a:ext cx="0" cy="477043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25214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манда 4 челове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Скругленный прямоугольник 45">
            <a:extLst>
              <a:ext uri="{FF2B5EF4-FFF2-40B4-BE49-F238E27FC236}">
                <a16:creationId xmlns:a16="http://schemas.microsoft.com/office/drawing/2014/main" id="{832C4E42-5F41-570F-418C-186F3025C71E}"/>
              </a:ext>
            </a:extLst>
          </p:cNvPr>
          <p:cNvSpPr/>
          <p:nvPr userDrawn="1"/>
        </p:nvSpPr>
        <p:spPr>
          <a:xfrm>
            <a:off x="616242" y="3257550"/>
            <a:ext cx="11375260" cy="4551928"/>
          </a:xfrm>
          <a:prstGeom prst="roundRect">
            <a:avLst>
              <a:gd name="adj" fmla="val 439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DEE70D10-F503-34E3-EFFC-1AAAED314541}"/>
              </a:ext>
            </a:extLst>
          </p:cNvPr>
          <p:cNvSpPr/>
          <p:nvPr userDrawn="1"/>
        </p:nvSpPr>
        <p:spPr>
          <a:xfrm>
            <a:off x="12401815" y="3257550"/>
            <a:ext cx="11375260" cy="4551928"/>
          </a:xfrm>
          <a:prstGeom prst="roundRect">
            <a:avLst>
              <a:gd name="adj" fmla="val 439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43" name="Скругленный прямоугольник 42">
            <a:extLst>
              <a:ext uri="{FF2B5EF4-FFF2-40B4-BE49-F238E27FC236}">
                <a16:creationId xmlns:a16="http://schemas.microsoft.com/office/drawing/2014/main" id="{9A1FB826-E6B1-BF08-FF9A-FE2DD227D53D}"/>
              </a:ext>
            </a:extLst>
          </p:cNvPr>
          <p:cNvSpPr/>
          <p:nvPr userDrawn="1"/>
        </p:nvSpPr>
        <p:spPr>
          <a:xfrm>
            <a:off x="12401815" y="8183118"/>
            <a:ext cx="11375260" cy="4551928"/>
          </a:xfrm>
          <a:prstGeom prst="roundRect">
            <a:avLst>
              <a:gd name="adj" fmla="val 439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44" name="Скругленный прямоугольник 43">
            <a:extLst>
              <a:ext uri="{FF2B5EF4-FFF2-40B4-BE49-F238E27FC236}">
                <a16:creationId xmlns:a16="http://schemas.microsoft.com/office/drawing/2014/main" id="{DE816CD4-4FF2-8595-614A-201CBC18ABDB}"/>
              </a:ext>
            </a:extLst>
          </p:cNvPr>
          <p:cNvSpPr/>
          <p:nvPr userDrawn="1"/>
        </p:nvSpPr>
        <p:spPr>
          <a:xfrm>
            <a:off x="616242" y="8183118"/>
            <a:ext cx="11375260" cy="4551928"/>
          </a:xfrm>
          <a:prstGeom prst="roundRect">
            <a:avLst>
              <a:gd name="adj" fmla="val 439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6" name="Полилиния 55">
            <a:extLst>
              <a:ext uri="{FF2B5EF4-FFF2-40B4-BE49-F238E27FC236}">
                <a16:creationId xmlns:a16="http://schemas.microsoft.com/office/drawing/2014/main" id="{39F8BBFE-2101-D19F-B947-13519FEC301D}"/>
              </a:ext>
            </a:extLst>
          </p:cNvPr>
          <p:cNvSpPr/>
          <p:nvPr userDrawn="1"/>
        </p:nvSpPr>
        <p:spPr>
          <a:xfrm>
            <a:off x="12401819" y="3257550"/>
            <a:ext cx="3904330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3600"/>
          </a:p>
        </p:txBody>
      </p:sp>
      <p:sp>
        <p:nvSpPr>
          <p:cNvPr id="30" name="Объект 5">
            <a:extLst>
              <a:ext uri="{FF2B5EF4-FFF2-40B4-BE49-F238E27FC236}">
                <a16:creationId xmlns:a16="http://schemas.microsoft.com/office/drawing/2014/main" id="{E866DEFA-59A7-68F6-0679-2B4605CD535D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865737" y="4451959"/>
            <a:ext cx="6780603" cy="4985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1" name="Объект 5">
            <a:extLst>
              <a:ext uri="{FF2B5EF4-FFF2-40B4-BE49-F238E27FC236}">
                <a16:creationId xmlns:a16="http://schemas.microsoft.com/office/drawing/2014/main" id="{D46C35E8-AB90-BACD-96EB-C76733ADA5FA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865737" y="5133898"/>
            <a:ext cx="6780603" cy="20487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200">
                <a:solidFill>
                  <a:schemeClr val="bg1">
                    <a:alpha val="60000"/>
                  </a:schemeClr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2" name="Объект 5">
            <a:extLst>
              <a:ext uri="{FF2B5EF4-FFF2-40B4-BE49-F238E27FC236}">
                <a16:creationId xmlns:a16="http://schemas.microsoft.com/office/drawing/2014/main" id="{E4B30F44-1273-D5F9-F980-8D17B21F5C2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6651310" y="4451959"/>
            <a:ext cx="6780603" cy="4985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3" name="Объект 5">
            <a:extLst>
              <a:ext uri="{FF2B5EF4-FFF2-40B4-BE49-F238E27FC236}">
                <a16:creationId xmlns:a16="http://schemas.microsoft.com/office/drawing/2014/main" id="{DD7F00C3-2B9E-C156-9D2C-EB29A996B1B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6651310" y="5133898"/>
            <a:ext cx="6780603" cy="20487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200">
                <a:solidFill>
                  <a:schemeClr val="bg1">
                    <a:alpha val="60000"/>
                  </a:schemeClr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6" name="Объект 5">
            <a:extLst>
              <a:ext uri="{FF2B5EF4-FFF2-40B4-BE49-F238E27FC236}">
                <a16:creationId xmlns:a16="http://schemas.microsoft.com/office/drawing/2014/main" id="{FC46751A-7FD3-A432-0418-4AEC7B9E736B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865737" y="9355263"/>
            <a:ext cx="6780603" cy="4985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7" name="Объект 5">
            <a:extLst>
              <a:ext uri="{FF2B5EF4-FFF2-40B4-BE49-F238E27FC236}">
                <a16:creationId xmlns:a16="http://schemas.microsoft.com/office/drawing/2014/main" id="{2D4B536B-6CB2-7F97-7FC6-DEB9E95DC15A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865737" y="10037202"/>
            <a:ext cx="6780603" cy="20487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200">
                <a:solidFill>
                  <a:schemeClr val="bg1">
                    <a:alpha val="60000"/>
                  </a:schemeClr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8" name="Объект 5">
            <a:extLst>
              <a:ext uri="{FF2B5EF4-FFF2-40B4-BE49-F238E27FC236}">
                <a16:creationId xmlns:a16="http://schemas.microsoft.com/office/drawing/2014/main" id="{862ABB26-2A19-6CCF-6872-C79015DABEA6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16651310" y="9355263"/>
            <a:ext cx="6780603" cy="4985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9" name="Объект 5">
            <a:extLst>
              <a:ext uri="{FF2B5EF4-FFF2-40B4-BE49-F238E27FC236}">
                <a16:creationId xmlns:a16="http://schemas.microsoft.com/office/drawing/2014/main" id="{21B8651C-D5AF-CCE1-E5B5-5B533895FBFC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16651310" y="10037202"/>
            <a:ext cx="6780603" cy="20487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200">
                <a:solidFill>
                  <a:schemeClr val="bg1">
                    <a:alpha val="60000"/>
                  </a:schemeClr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1" name="Полилиния 50">
            <a:extLst>
              <a:ext uri="{FF2B5EF4-FFF2-40B4-BE49-F238E27FC236}">
                <a16:creationId xmlns:a16="http://schemas.microsoft.com/office/drawing/2014/main" id="{32210147-4933-E63F-7214-C2CA5D457B3A}"/>
              </a:ext>
            </a:extLst>
          </p:cNvPr>
          <p:cNvSpPr/>
          <p:nvPr userDrawn="1"/>
        </p:nvSpPr>
        <p:spPr>
          <a:xfrm>
            <a:off x="616246" y="3257550"/>
            <a:ext cx="3904330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3600"/>
          </a:p>
        </p:txBody>
      </p:sp>
      <p:sp>
        <p:nvSpPr>
          <p:cNvPr id="49" name="Рисунок 48">
            <a:extLst>
              <a:ext uri="{FF2B5EF4-FFF2-40B4-BE49-F238E27FC236}">
                <a16:creationId xmlns:a16="http://schemas.microsoft.com/office/drawing/2014/main" id="{611D788D-F8B3-A3A8-E593-A7AC362DC3B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6246" y="3257550"/>
            <a:ext cx="3904330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</a:t>
            </a:r>
            <a:br>
              <a:rPr lang="ru-RU" dirty="0"/>
            </a:br>
            <a:r>
              <a:rPr lang="ru-RU" dirty="0"/>
              <a:t>фото сюда</a:t>
            </a:r>
          </a:p>
        </p:txBody>
      </p:sp>
      <p:sp>
        <p:nvSpPr>
          <p:cNvPr id="54" name="Рисунок 53">
            <a:extLst>
              <a:ext uri="{FF2B5EF4-FFF2-40B4-BE49-F238E27FC236}">
                <a16:creationId xmlns:a16="http://schemas.microsoft.com/office/drawing/2014/main" id="{022D403B-8211-3A42-BCAB-C30A9A18726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2401819" y="3257550"/>
            <a:ext cx="3904330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</a:t>
            </a:r>
            <a:br>
              <a:rPr lang="ru-RU" dirty="0"/>
            </a:br>
            <a:r>
              <a:rPr lang="ru-RU" dirty="0"/>
              <a:t>фото сюда</a:t>
            </a:r>
          </a:p>
        </p:txBody>
      </p:sp>
      <p:sp>
        <p:nvSpPr>
          <p:cNvPr id="62" name="Полилиния 61">
            <a:extLst>
              <a:ext uri="{FF2B5EF4-FFF2-40B4-BE49-F238E27FC236}">
                <a16:creationId xmlns:a16="http://schemas.microsoft.com/office/drawing/2014/main" id="{844B65FF-8F1D-9B7A-C670-85D1BD4D669F}"/>
              </a:ext>
            </a:extLst>
          </p:cNvPr>
          <p:cNvSpPr/>
          <p:nvPr userDrawn="1"/>
        </p:nvSpPr>
        <p:spPr>
          <a:xfrm>
            <a:off x="12401819" y="8183118"/>
            <a:ext cx="3904330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3600"/>
          </a:p>
        </p:txBody>
      </p:sp>
      <p:sp>
        <p:nvSpPr>
          <p:cNvPr id="64" name="Полилиния 63">
            <a:extLst>
              <a:ext uri="{FF2B5EF4-FFF2-40B4-BE49-F238E27FC236}">
                <a16:creationId xmlns:a16="http://schemas.microsoft.com/office/drawing/2014/main" id="{2DC6CC7B-C0F1-4C70-CB8B-54494CA8C1D8}"/>
              </a:ext>
            </a:extLst>
          </p:cNvPr>
          <p:cNvSpPr/>
          <p:nvPr userDrawn="1"/>
        </p:nvSpPr>
        <p:spPr>
          <a:xfrm>
            <a:off x="616246" y="8183118"/>
            <a:ext cx="3904330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3600"/>
          </a:p>
        </p:txBody>
      </p:sp>
      <p:sp>
        <p:nvSpPr>
          <p:cNvPr id="65" name="Рисунок 64">
            <a:extLst>
              <a:ext uri="{FF2B5EF4-FFF2-40B4-BE49-F238E27FC236}">
                <a16:creationId xmlns:a16="http://schemas.microsoft.com/office/drawing/2014/main" id="{8AFB329D-91C3-D5A1-3A4A-E2607CCAC88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16246" y="8183118"/>
            <a:ext cx="3904330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</a:t>
            </a:r>
            <a:br>
              <a:rPr lang="ru-RU" dirty="0"/>
            </a:br>
            <a:r>
              <a:rPr lang="ru-RU" dirty="0"/>
              <a:t>фото сюда</a:t>
            </a:r>
          </a:p>
        </p:txBody>
      </p:sp>
      <p:sp>
        <p:nvSpPr>
          <p:cNvPr id="66" name="Рисунок 65">
            <a:extLst>
              <a:ext uri="{FF2B5EF4-FFF2-40B4-BE49-F238E27FC236}">
                <a16:creationId xmlns:a16="http://schemas.microsoft.com/office/drawing/2014/main" id="{B4689B75-C79E-E9C2-8422-6445C21F24A1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12401819" y="8183118"/>
            <a:ext cx="3904330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</a:t>
            </a:r>
            <a:br>
              <a:rPr lang="ru-RU" dirty="0"/>
            </a:br>
            <a:r>
              <a:rPr lang="ru-RU" dirty="0"/>
              <a:t>фото сюда</a:t>
            </a:r>
          </a:p>
        </p:txBody>
      </p:sp>
    </p:spTree>
    <p:extLst>
      <p:ext uri="{BB962C8B-B14F-4D97-AF65-F5344CB8AC3E}">
        <p14:creationId xmlns:p14="http://schemas.microsoft.com/office/powerpoint/2010/main" val="2107064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манда 6 челове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Скругленный прямоугольник 45">
            <a:extLst>
              <a:ext uri="{FF2B5EF4-FFF2-40B4-BE49-F238E27FC236}">
                <a16:creationId xmlns:a16="http://schemas.microsoft.com/office/drawing/2014/main" id="{832C4E42-5F41-570F-418C-186F3025C71E}"/>
              </a:ext>
            </a:extLst>
          </p:cNvPr>
          <p:cNvSpPr/>
          <p:nvPr userDrawn="1"/>
        </p:nvSpPr>
        <p:spPr>
          <a:xfrm>
            <a:off x="616246" y="3257550"/>
            <a:ext cx="7469386" cy="4551928"/>
          </a:xfrm>
          <a:prstGeom prst="roundRect">
            <a:avLst>
              <a:gd name="adj" fmla="val 439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DEE70D10-F503-34E3-EFFC-1AAAED314541}"/>
              </a:ext>
            </a:extLst>
          </p:cNvPr>
          <p:cNvSpPr/>
          <p:nvPr userDrawn="1"/>
        </p:nvSpPr>
        <p:spPr>
          <a:xfrm>
            <a:off x="8464619" y="3257550"/>
            <a:ext cx="7469386" cy="4551928"/>
          </a:xfrm>
          <a:prstGeom prst="roundRect">
            <a:avLst>
              <a:gd name="adj" fmla="val 439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42" name="Скругленный прямоугольник 41">
            <a:extLst>
              <a:ext uri="{FF2B5EF4-FFF2-40B4-BE49-F238E27FC236}">
                <a16:creationId xmlns:a16="http://schemas.microsoft.com/office/drawing/2014/main" id="{3C700CCC-BEC5-86C0-910F-16B561A4A4EC}"/>
              </a:ext>
            </a:extLst>
          </p:cNvPr>
          <p:cNvSpPr/>
          <p:nvPr userDrawn="1"/>
        </p:nvSpPr>
        <p:spPr>
          <a:xfrm>
            <a:off x="16312992" y="3257550"/>
            <a:ext cx="7469386" cy="4551928"/>
          </a:xfrm>
          <a:prstGeom prst="roundRect">
            <a:avLst>
              <a:gd name="adj" fmla="val 439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43" name="Скругленный прямоугольник 42">
            <a:extLst>
              <a:ext uri="{FF2B5EF4-FFF2-40B4-BE49-F238E27FC236}">
                <a16:creationId xmlns:a16="http://schemas.microsoft.com/office/drawing/2014/main" id="{9A1FB826-E6B1-BF08-FF9A-FE2DD227D53D}"/>
              </a:ext>
            </a:extLst>
          </p:cNvPr>
          <p:cNvSpPr/>
          <p:nvPr userDrawn="1"/>
        </p:nvSpPr>
        <p:spPr>
          <a:xfrm>
            <a:off x="8464619" y="8183118"/>
            <a:ext cx="7469386" cy="4551928"/>
          </a:xfrm>
          <a:prstGeom prst="roundRect">
            <a:avLst>
              <a:gd name="adj" fmla="val 439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44" name="Скругленный прямоугольник 43">
            <a:extLst>
              <a:ext uri="{FF2B5EF4-FFF2-40B4-BE49-F238E27FC236}">
                <a16:creationId xmlns:a16="http://schemas.microsoft.com/office/drawing/2014/main" id="{DE816CD4-4FF2-8595-614A-201CBC18ABDB}"/>
              </a:ext>
            </a:extLst>
          </p:cNvPr>
          <p:cNvSpPr/>
          <p:nvPr userDrawn="1"/>
        </p:nvSpPr>
        <p:spPr>
          <a:xfrm>
            <a:off x="616246" y="8183118"/>
            <a:ext cx="7469386" cy="4551928"/>
          </a:xfrm>
          <a:prstGeom prst="roundRect">
            <a:avLst>
              <a:gd name="adj" fmla="val 439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45" name="Скругленный прямоугольник 44">
            <a:extLst>
              <a:ext uri="{FF2B5EF4-FFF2-40B4-BE49-F238E27FC236}">
                <a16:creationId xmlns:a16="http://schemas.microsoft.com/office/drawing/2014/main" id="{03F7E4EA-859B-A27D-2E34-A9DC043FC190}"/>
              </a:ext>
            </a:extLst>
          </p:cNvPr>
          <p:cNvSpPr/>
          <p:nvPr userDrawn="1"/>
        </p:nvSpPr>
        <p:spPr>
          <a:xfrm>
            <a:off x="16312992" y="8183118"/>
            <a:ext cx="7469386" cy="4551928"/>
          </a:xfrm>
          <a:prstGeom prst="roundRect">
            <a:avLst>
              <a:gd name="adj" fmla="val 439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3BD54E5-38BF-049A-4EF3-BA8A6DCE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2286499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278745E-67BB-5A7A-922B-DDFFDE078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454887" y="13219258"/>
            <a:ext cx="131676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10E31255-4732-1546-9A93-A4692AA283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6" name="Полилиния 55">
            <a:extLst>
              <a:ext uri="{FF2B5EF4-FFF2-40B4-BE49-F238E27FC236}">
                <a16:creationId xmlns:a16="http://schemas.microsoft.com/office/drawing/2014/main" id="{39F8BBFE-2101-D19F-B947-13519FEC301D}"/>
              </a:ext>
            </a:extLst>
          </p:cNvPr>
          <p:cNvSpPr/>
          <p:nvPr userDrawn="1"/>
        </p:nvSpPr>
        <p:spPr>
          <a:xfrm>
            <a:off x="8464620" y="3257550"/>
            <a:ext cx="3457965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3600"/>
          </a:p>
        </p:txBody>
      </p:sp>
      <p:sp>
        <p:nvSpPr>
          <p:cNvPr id="61" name="Полилиния 60">
            <a:extLst>
              <a:ext uri="{FF2B5EF4-FFF2-40B4-BE49-F238E27FC236}">
                <a16:creationId xmlns:a16="http://schemas.microsoft.com/office/drawing/2014/main" id="{B1161B93-34D4-BA41-D208-5045BF5347EE}"/>
              </a:ext>
            </a:extLst>
          </p:cNvPr>
          <p:cNvSpPr/>
          <p:nvPr userDrawn="1"/>
        </p:nvSpPr>
        <p:spPr>
          <a:xfrm>
            <a:off x="16312993" y="3257550"/>
            <a:ext cx="3457965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3600"/>
          </a:p>
        </p:txBody>
      </p:sp>
      <p:sp>
        <p:nvSpPr>
          <p:cNvPr id="30" name="Объект 5">
            <a:extLst>
              <a:ext uri="{FF2B5EF4-FFF2-40B4-BE49-F238E27FC236}">
                <a16:creationId xmlns:a16="http://schemas.microsoft.com/office/drawing/2014/main" id="{E866DEFA-59A7-68F6-0679-2B4605CD535D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373691" y="4451959"/>
            <a:ext cx="3455775" cy="4985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1" name="Объект 5">
            <a:extLst>
              <a:ext uri="{FF2B5EF4-FFF2-40B4-BE49-F238E27FC236}">
                <a16:creationId xmlns:a16="http://schemas.microsoft.com/office/drawing/2014/main" id="{D46C35E8-AB90-BACD-96EB-C76733ADA5FA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73691" y="5133898"/>
            <a:ext cx="3455775" cy="20487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200">
                <a:solidFill>
                  <a:schemeClr val="bg1">
                    <a:alpha val="60000"/>
                  </a:schemeClr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2" name="Объект 5">
            <a:extLst>
              <a:ext uri="{FF2B5EF4-FFF2-40B4-BE49-F238E27FC236}">
                <a16:creationId xmlns:a16="http://schemas.microsoft.com/office/drawing/2014/main" id="{E4B30F44-1273-D5F9-F980-8D17B21F5C2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2222065" y="4451959"/>
            <a:ext cx="3455775" cy="4985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3" name="Объект 5">
            <a:extLst>
              <a:ext uri="{FF2B5EF4-FFF2-40B4-BE49-F238E27FC236}">
                <a16:creationId xmlns:a16="http://schemas.microsoft.com/office/drawing/2014/main" id="{DD7F00C3-2B9E-C156-9D2C-EB29A996B1B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2222065" y="5133898"/>
            <a:ext cx="3455775" cy="20487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200">
                <a:solidFill>
                  <a:schemeClr val="bg1">
                    <a:alpha val="60000"/>
                  </a:schemeClr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4" name="Объект 5">
            <a:extLst>
              <a:ext uri="{FF2B5EF4-FFF2-40B4-BE49-F238E27FC236}">
                <a16:creationId xmlns:a16="http://schemas.microsoft.com/office/drawing/2014/main" id="{5449E007-4483-B646-0AE5-5ED5851AF1C2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20070438" y="4451959"/>
            <a:ext cx="3455775" cy="4985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5" name="Объект 5">
            <a:extLst>
              <a:ext uri="{FF2B5EF4-FFF2-40B4-BE49-F238E27FC236}">
                <a16:creationId xmlns:a16="http://schemas.microsoft.com/office/drawing/2014/main" id="{9B7F14ED-7D7E-2A77-2E22-9CA30C899BF6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20070438" y="5133898"/>
            <a:ext cx="3455775" cy="20487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200">
                <a:solidFill>
                  <a:schemeClr val="bg1">
                    <a:alpha val="60000"/>
                  </a:schemeClr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6" name="Объект 5">
            <a:extLst>
              <a:ext uri="{FF2B5EF4-FFF2-40B4-BE49-F238E27FC236}">
                <a16:creationId xmlns:a16="http://schemas.microsoft.com/office/drawing/2014/main" id="{FC46751A-7FD3-A432-0418-4AEC7B9E736B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73691" y="9355263"/>
            <a:ext cx="3455775" cy="4985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7" name="Объект 5">
            <a:extLst>
              <a:ext uri="{FF2B5EF4-FFF2-40B4-BE49-F238E27FC236}">
                <a16:creationId xmlns:a16="http://schemas.microsoft.com/office/drawing/2014/main" id="{2D4B536B-6CB2-7F97-7FC6-DEB9E95DC15A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373691" y="10037202"/>
            <a:ext cx="3455775" cy="20487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200">
                <a:solidFill>
                  <a:schemeClr val="bg1">
                    <a:alpha val="60000"/>
                  </a:schemeClr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8" name="Объект 5">
            <a:extLst>
              <a:ext uri="{FF2B5EF4-FFF2-40B4-BE49-F238E27FC236}">
                <a16:creationId xmlns:a16="http://schemas.microsoft.com/office/drawing/2014/main" id="{862ABB26-2A19-6CCF-6872-C79015DABEA6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12222065" y="9355263"/>
            <a:ext cx="3455775" cy="4985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39" name="Объект 5">
            <a:extLst>
              <a:ext uri="{FF2B5EF4-FFF2-40B4-BE49-F238E27FC236}">
                <a16:creationId xmlns:a16="http://schemas.microsoft.com/office/drawing/2014/main" id="{21B8651C-D5AF-CCE1-E5B5-5B533895FBFC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12222065" y="10037202"/>
            <a:ext cx="3455775" cy="20487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200">
                <a:solidFill>
                  <a:schemeClr val="bg1">
                    <a:alpha val="60000"/>
                  </a:schemeClr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40" name="Объект 5">
            <a:extLst>
              <a:ext uri="{FF2B5EF4-FFF2-40B4-BE49-F238E27FC236}">
                <a16:creationId xmlns:a16="http://schemas.microsoft.com/office/drawing/2014/main" id="{1FAD5D0B-FCA3-0C68-A7E4-5AC6C776E23C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20070438" y="9355263"/>
            <a:ext cx="3455775" cy="4985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41" name="Объект 5">
            <a:extLst>
              <a:ext uri="{FF2B5EF4-FFF2-40B4-BE49-F238E27FC236}">
                <a16:creationId xmlns:a16="http://schemas.microsoft.com/office/drawing/2014/main" id="{AD7B9AD8-E44F-C84B-5A9B-E04F71F085B0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20070438" y="10037202"/>
            <a:ext cx="3455775" cy="20487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200">
                <a:solidFill>
                  <a:schemeClr val="bg1">
                    <a:alpha val="60000"/>
                  </a:schemeClr>
                </a:solidFill>
                <a:latin typeface="+mn-lt"/>
              </a:defRPr>
            </a:lvl1pPr>
            <a:lvl2pPr marL="914354" indent="0">
              <a:buNone/>
              <a:defRPr sz="4800">
                <a:solidFill>
                  <a:schemeClr val="bg1"/>
                </a:solidFill>
                <a:latin typeface="+mj-lt"/>
              </a:defRPr>
            </a:lvl2pPr>
            <a:lvl3pPr marL="1828709" indent="0">
              <a:buNone/>
              <a:defRPr sz="4800">
                <a:solidFill>
                  <a:schemeClr val="bg1"/>
                </a:solidFill>
                <a:latin typeface="+mj-lt"/>
              </a:defRPr>
            </a:lvl3pPr>
            <a:lvl4pPr marL="2743063" indent="0">
              <a:buNone/>
              <a:defRPr sz="4800">
                <a:solidFill>
                  <a:schemeClr val="bg1"/>
                </a:solidFill>
                <a:latin typeface="+mj-lt"/>
              </a:defRPr>
            </a:lvl4pPr>
            <a:lvl5pPr marL="3657417" indent="0">
              <a:buNone/>
              <a:defRPr sz="4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1" name="Полилиния 50">
            <a:extLst>
              <a:ext uri="{FF2B5EF4-FFF2-40B4-BE49-F238E27FC236}">
                <a16:creationId xmlns:a16="http://schemas.microsoft.com/office/drawing/2014/main" id="{32210147-4933-E63F-7214-C2CA5D457B3A}"/>
              </a:ext>
            </a:extLst>
          </p:cNvPr>
          <p:cNvSpPr/>
          <p:nvPr userDrawn="1"/>
        </p:nvSpPr>
        <p:spPr>
          <a:xfrm>
            <a:off x="616247" y="3257550"/>
            <a:ext cx="3457965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3600"/>
          </a:p>
        </p:txBody>
      </p:sp>
      <p:sp>
        <p:nvSpPr>
          <p:cNvPr id="49" name="Рисунок 48">
            <a:extLst>
              <a:ext uri="{FF2B5EF4-FFF2-40B4-BE49-F238E27FC236}">
                <a16:creationId xmlns:a16="http://schemas.microsoft.com/office/drawing/2014/main" id="{611D788D-F8B3-A3A8-E593-A7AC362DC3B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6247" y="3257550"/>
            <a:ext cx="3457965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54" name="Рисунок 53">
            <a:extLst>
              <a:ext uri="{FF2B5EF4-FFF2-40B4-BE49-F238E27FC236}">
                <a16:creationId xmlns:a16="http://schemas.microsoft.com/office/drawing/2014/main" id="{022D403B-8211-3A42-BCAB-C30A9A18726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464620" y="3257550"/>
            <a:ext cx="3457965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59" name="Рисунок 58">
            <a:extLst>
              <a:ext uri="{FF2B5EF4-FFF2-40B4-BE49-F238E27FC236}">
                <a16:creationId xmlns:a16="http://schemas.microsoft.com/office/drawing/2014/main" id="{8445EE52-EA5B-2DDF-9095-89CF5ABEA22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6312993" y="3257550"/>
            <a:ext cx="3457965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62" name="Полилиния 61">
            <a:extLst>
              <a:ext uri="{FF2B5EF4-FFF2-40B4-BE49-F238E27FC236}">
                <a16:creationId xmlns:a16="http://schemas.microsoft.com/office/drawing/2014/main" id="{844B65FF-8F1D-9B7A-C670-85D1BD4D669F}"/>
              </a:ext>
            </a:extLst>
          </p:cNvPr>
          <p:cNvSpPr/>
          <p:nvPr userDrawn="1"/>
        </p:nvSpPr>
        <p:spPr>
          <a:xfrm>
            <a:off x="8464620" y="8183118"/>
            <a:ext cx="3457965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3600"/>
          </a:p>
        </p:txBody>
      </p:sp>
      <p:sp>
        <p:nvSpPr>
          <p:cNvPr id="63" name="Полилиния 62">
            <a:extLst>
              <a:ext uri="{FF2B5EF4-FFF2-40B4-BE49-F238E27FC236}">
                <a16:creationId xmlns:a16="http://schemas.microsoft.com/office/drawing/2014/main" id="{66DE1641-69B4-7B64-5579-476722F8DCE9}"/>
              </a:ext>
            </a:extLst>
          </p:cNvPr>
          <p:cNvSpPr/>
          <p:nvPr userDrawn="1"/>
        </p:nvSpPr>
        <p:spPr>
          <a:xfrm>
            <a:off x="16312993" y="8183118"/>
            <a:ext cx="3457965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rgbClr val="799D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3600"/>
          </a:p>
        </p:txBody>
      </p:sp>
      <p:sp>
        <p:nvSpPr>
          <p:cNvPr id="64" name="Полилиния 63">
            <a:extLst>
              <a:ext uri="{FF2B5EF4-FFF2-40B4-BE49-F238E27FC236}">
                <a16:creationId xmlns:a16="http://schemas.microsoft.com/office/drawing/2014/main" id="{2DC6CC7B-C0F1-4C70-CB8B-54494CA8C1D8}"/>
              </a:ext>
            </a:extLst>
          </p:cNvPr>
          <p:cNvSpPr/>
          <p:nvPr userDrawn="1"/>
        </p:nvSpPr>
        <p:spPr>
          <a:xfrm>
            <a:off x="616247" y="8183118"/>
            <a:ext cx="3457965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3600"/>
          </a:p>
        </p:txBody>
      </p:sp>
      <p:sp>
        <p:nvSpPr>
          <p:cNvPr id="65" name="Рисунок 64">
            <a:extLst>
              <a:ext uri="{FF2B5EF4-FFF2-40B4-BE49-F238E27FC236}">
                <a16:creationId xmlns:a16="http://schemas.microsoft.com/office/drawing/2014/main" id="{8AFB329D-91C3-D5A1-3A4A-E2607CCAC88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16247" y="8183118"/>
            <a:ext cx="3457965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66" name="Рисунок 65">
            <a:extLst>
              <a:ext uri="{FF2B5EF4-FFF2-40B4-BE49-F238E27FC236}">
                <a16:creationId xmlns:a16="http://schemas.microsoft.com/office/drawing/2014/main" id="{B4689B75-C79E-E9C2-8422-6445C21F24A1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8464620" y="8183118"/>
            <a:ext cx="3457965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  <p:sp>
        <p:nvSpPr>
          <p:cNvPr id="67" name="Рисунок 66">
            <a:extLst>
              <a:ext uri="{FF2B5EF4-FFF2-40B4-BE49-F238E27FC236}">
                <a16:creationId xmlns:a16="http://schemas.microsoft.com/office/drawing/2014/main" id="{7B999ADF-0EA7-B879-5D58-A02184B56EF1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6312993" y="8183118"/>
            <a:ext cx="3457965" cy="4551928"/>
          </a:xfrm>
          <a:custGeom>
            <a:avLst/>
            <a:gdLst>
              <a:gd name="connsiteX0" fmla="*/ 99938 w 1729095"/>
              <a:gd name="connsiteY0" fmla="*/ 0 h 2275964"/>
              <a:gd name="connsiteX1" fmla="*/ 1729095 w 1729095"/>
              <a:gd name="connsiteY1" fmla="*/ 0 h 2275964"/>
              <a:gd name="connsiteX2" fmla="*/ 1729095 w 1729095"/>
              <a:gd name="connsiteY2" fmla="*/ 2275964 h 2275964"/>
              <a:gd name="connsiteX3" fmla="*/ 99938 w 1729095"/>
              <a:gd name="connsiteY3" fmla="*/ 2275964 h 2275964"/>
              <a:gd name="connsiteX4" fmla="*/ 0 w 1729095"/>
              <a:gd name="connsiteY4" fmla="*/ 2176026 h 2275964"/>
              <a:gd name="connsiteX5" fmla="*/ 0 w 1729095"/>
              <a:gd name="connsiteY5" fmla="*/ 99938 h 2275964"/>
              <a:gd name="connsiteX6" fmla="*/ 99938 w 1729095"/>
              <a:gd name="connsiteY6" fmla="*/ 0 h 227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bg2">
                <a:lumMod val="10000"/>
                <a:lumOff val="9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Вставьте фото сюда</a:t>
            </a:r>
          </a:p>
        </p:txBody>
      </p:sp>
    </p:spTree>
    <p:extLst>
      <p:ext uri="{BB962C8B-B14F-4D97-AF65-F5344CB8AC3E}">
        <p14:creationId xmlns:p14="http://schemas.microsoft.com/office/powerpoint/2010/main" val="18646658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4B5F163-38E6-3C4A-8884-DD75C2DD4C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77086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4B5F163-38E6-3C4A-8884-DD75C2DD4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3">
            <a:extLst>
              <a:ext uri="{FF2B5EF4-FFF2-40B4-BE49-F238E27FC236}">
                <a16:creationId xmlns:a16="http://schemas.microsoft.com/office/drawing/2014/main" id="{F1F4520F-52AD-1A48-9C8D-4DE8B66AEA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87600" y="740445"/>
            <a:ext cx="21232812" cy="14546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6400" b="0" i="0">
                <a:solidFill>
                  <a:schemeClr val="tx2"/>
                </a:solidFill>
                <a:latin typeface="YS Text Medium" pitchFamily="2" charset="77"/>
              </a:defRPr>
            </a:lvl1pPr>
          </a:lstStyle>
          <a:p>
            <a:r>
              <a:rPr lang="ru-RU"/>
              <a:t>Заголовок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DE2E1D8-A8FD-4F4D-9760-DE2B5FE20F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87600" y="12801600"/>
            <a:ext cx="20243700" cy="43974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2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847785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AA25CDA-D157-D4D9-D2AB-7FEA52E1D3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01800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A25CDA-D157-D4D9-D2AB-7FEA52E1D3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3">
            <a:extLst>
              <a:ext uri="{FF2B5EF4-FFF2-40B4-BE49-F238E27FC236}">
                <a16:creationId xmlns:a16="http://schemas.microsoft.com/office/drawing/2014/main" id="{F1F4520F-52AD-1A48-9C8D-4DE8B66AEA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87600" y="547141"/>
            <a:ext cx="21232812" cy="1454697"/>
          </a:xfrm>
          <a:prstGeom prst="rect">
            <a:avLst/>
          </a:prstGeom>
        </p:spPr>
        <p:txBody>
          <a:bodyPr vert="horz" lIns="0" tIns="198000" rIns="0" bIns="0" rtlCol="0" anchor="t">
            <a:noAutofit/>
          </a:bodyPr>
          <a:lstStyle>
            <a:lvl1pPr>
              <a:defRPr>
                <a:solidFill>
                  <a:srgbClr val="F8604A"/>
                </a:solidFill>
              </a:defRPr>
            </a:lvl1pPr>
          </a:lstStyle>
          <a:p>
            <a:r>
              <a:rPr lang="ru-RU"/>
              <a:t>Заголовок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2E98DA7-8DF9-9948-95F5-7937E92298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718588" y="12621150"/>
            <a:ext cx="1093787" cy="441707"/>
          </a:xfrm>
          <a:prstGeom prst="rect">
            <a:avLst/>
          </a:prstGeom>
        </p:spPr>
        <p:txBody>
          <a:bodyPr vert="horz" lIns="0" tIns="72000" rIns="0" bIns="0" rtlCol="0" anchor="ctr"/>
          <a:lstStyle>
            <a:lvl1pPr algn="r">
              <a:defRPr sz="2400">
                <a:solidFill>
                  <a:schemeClr val="tx1"/>
                </a:solidFill>
                <a:latin typeface="YS Text Regular" pitchFamily="2" charset="0"/>
                <a:cs typeface="YS Text Regular" pitchFamily="2" charset="0"/>
              </a:defRPr>
            </a:lvl1pPr>
          </a:lstStyle>
          <a:p>
            <a:fld id="{741C03D3-FA44-40EC-9A21-1FC4FEA3E22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70475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53.xml"/><Relationship Id="rId34" Type="http://schemas.openxmlformats.org/officeDocument/2006/relationships/slideLayout" Target="../slideLayouts/slideLayout66.xml"/><Relationship Id="rId42" Type="http://schemas.openxmlformats.org/officeDocument/2006/relationships/slideLayout" Target="../slideLayouts/slideLayout74.xml"/><Relationship Id="rId47" Type="http://schemas.openxmlformats.org/officeDocument/2006/relationships/slideLayout" Target="../slideLayouts/slideLayout79.xml"/><Relationship Id="rId50" Type="http://schemas.openxmlformats.org/officeDocument/2006/relationships/slideLayout" Target="../slideLayouts/slideLayout82.xml"/><Relationship Id="rId55" Type="http://schemas.openxmlformats.org/officeDocument/2006/relationships/slideLayout" Target="../slideLayouts/slideLayout87.xml"/><Relationship Id="rId6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9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slideLayout" Target="../slideLayouts/slideLayout64.xml"/><Relationship Id="rId37" Type="http://schemas.openxmlformats.org/officeDocument/2006/relationships/slideLayout" Target="../slideLayouts/slideLayout69.xml"/><Relationship Id="rId40" Type="http://schemas.openxmlformats.org/officeDocument/2006/relationships/slideLayout" Target="../slideLayouts/slideLayout72.xml"/><Relationship Id="rId45" Type="http://schemas.openxmlformats.org/officeDocument/2006/relationships/slideLayout" Target="../slideLayouts/slideLayout77.xml"/><Relationship Id="rId53" Type="http://schemas.openxmlformats.org/officeDocument/2006/relationships/slideLayout" Target="../slideLayouts/slideLayout85.xml"/><Relationship Id="rId58" Type="http://schemas.openxmlformats.org/officeDocument/2006/relationships/slideLayout" Target="../slideLayouts/slideLayout90.xml"/><Relationship Id="rId66" Type="http://schemas.openxmlformats.org/officeDocument/2006/relationships/theme" Target="../theme/theme3.xml"/><Relationship Id="rId5" Type="http://schemas.openxmlformats.org/officeDocument/2006/relationships/slideLayout" Target="../slideLayouts/slideLayout37.xml"/><Relationship Id="rId61" Type="http://schemas.openxmlformats.org/officeDocument/2006/relationships/slideLayout" Target="../slideLayouts/slideLayout93.xml"/><Relationship Id="rId1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slideLayout" Target="../slideLayouts/slideLayout62.xml"/><Relationship Id="rId35" Type="http://schemas.openxmlformats.org/officeDocument/2006/relationships/slideLayout" Target="../slideLayouts/slideLayout67.xml"/><Relationship Id="rId43" Type="http://schemas.openxmlformats.org/officeDocument/2006/relationships/slideLayout" Target="../slideLayouts/slideLayout75.xml"/><Relationship Id="rId48" Type="http://schemas.openxmlformats.org/officeDocument/2006/relationships/slideLayout" Target="../slideLayouts/slideLayout80.xml"/><Relationship Id="rId56" Type="http://schemas.openxmlformats.org/officeDocument/2006/relationships/slideLayout" Target="../slideLayouts/slideLayout88.xml"/><Relationship Id="rId64" Type="http://schemas.openxmlformats.org/officeDocument/2006/relationships/slideLayout" Target="../slideLayouts/slideLayout96.xml"/><Relationship Id="rId8" Type="http://schemas.openxmlformats.org/officeDocument/2006/relationships/slideLayout" Target="../slideLayouts/slideLayout40.xml"/><Relationship Id="rId51" Type="http://schemas.openxmlformats.org/officeDocument/2006/relationships/slideLayout" Target="../slideLayouts/slideLayout83.xml"/><Relationship Id="rId3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slideLayout" Target="../slideLayouts/slideLayout65.xml"/><Relationship Id="rId38" Type="http://schemas.openxmlformats.org/officeDocument/2006/relationships/slideLayout" Target="../slideLayouts/slideLayout70.xml"/><Relationship Id="rId46" Type="http://schemas.openxmlformats.org/officeDocument/2006/relationships/slideLayout" Target="../slideLayouts/slideLayout78.xml"/><Relationship Id="rId59" Type="http://schemas.openxmlformats.org/officeDocument/2006/relationships/slideLayout" Target="../slideLayouts/slideLayout91.xml"/><Relationship Id="rId20" Type="http://schemas.openxmlformats.org/officeDocument/2006/relationships/slideLayout" Target="../slideLayouts/slideLayout52.xml"/><Relationship Id="rId41" Type="http://schemas.openxmlformats.org/officeDocument/2006/relationships/slideLayout" Target="../slideLayouts/slideLayout73.xml"/><Relationship Id="rId54" Type="http://schemas.openxmlformats.org/officeDocument/2006/relationships/slideLayout" Target="../slideLayouts/slideLayout86.xml"/><Relationship Id="rId6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slideLayout" Target="../slideLayouts/slideLayout60.xml"/><Relationship Id="rId36" Type="http://schemas.openxmlformats.org/officeDocument/2006/relationships/slideLayout" Target="../slideLayouts/slideLayout68.xml"/><Relationship Id="rId49" Type="http://schemas.openxmlformats.org/officeDocument/2006/relationships/slideLayout" Target="../slideLayouts/slideLayout81.xml"/><Relationship Id="rId57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42.xml"/><Relationship Id="rId31" Type="http://schemas.openxmlformats.org/officeDocument/2006/relationships/slideLayout" Target="../slideLayouts/slideLayout63.xml"/><Relationship Id="rId44" Type="http://schemas.openxmlformats.org/officeDocument/2006/relationships/slideLayout" Target="../slideLayouts/slideLayout76.xml"/><Relationship Id="rId52" Type="http://schemas.openxmlformats.org/officeDocument/2006/relationships/slideLayout" Target="../slideLayouts/slideLayout84.xml"/><Relationship Id="rId60" Type="http://schemas.openxmlformats.org/officeDocument/2006/relationships/slideLayout" Target="../slideLayouts/slideLayout92.xml"/><Relationship Id="rId65" Type="http://schemas.openxmlformats.org/officeDocument/2006/relationships/slideLayout" Target="../slideLayouts/slideLayout97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9" Type="http://schemas.openxmlformats.org/officeDocument/2006/relationships/slideLayout" Target="../slideLayouts/slideLayout7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8.x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slideLayout" Target="../slideLayouts/slideLayout112.xml"/><Relationship Id="rId18" Type="http://schemas.openxmlformats.org/officeDocument/2006/relationships/slideLayout" Target="../slideLayouts/slideLayout117.xml"/><Relationship Id="rId26" Type="http://schemas.openxmlformats.org/officeDocument/2006/relationships/slideLayout" Target="../slideLayouts/slideLayout125.xml"/><Relationship Id="rId3" Type="http://schemas.openxmlformats.org/officeDocument/2006/relationships/slideLayout" Target="../slideLayouts/slideLayout102.xml"/><Relationship Id="rId21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17" Type="http://schemas.openxmlformats.org/officeDocument/2006/relationships/slideLayout" Target="../slideLayouts/slideLayout116.xml"/><Relationship Id="rId25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101.xml"/><Relationship Id="rId16" Type="http://schemas.openxmlformats.org/officeDocument/2006/relationships/slideLayout" Target="../slideLayouts/slideLayout115.xml"/><Relationship Id="rId20" Type="http://schemas.openxmlformats.org/officeDocument/2006/relationships/slideLayout" Target="../slideLayouts/slideLayout119.xml"/><Relationship Id="rId29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24" Type="http://schemas.openxmlformats.org/officeDocument/2006/relationships/slideLayout" Target="../slideLayouts/slideLayout123.xml"/><Relationship Id="rId32" Type="http://schemas.openxmlformats.org/officeDocument/2006/relationships/theme" Target="../theme/theme5.xml"/><Relationship Id="rId5" Type="http://schemas.openxmlformats.org/officeDocument/2006/relationships/slideLayout" Target="../slideLayouts/slideLayout104.xml"/><Relationship Id="rId15" Type="http://schemas.openxmlformats.org/officeDocument/2006/relationships/slideLayout" Target="../slideLayouts/slideLayout114.xml"/><Relationship Id="rId23" Type="http://schemas.openxmlformats.org/officeDocument/2006/relationships/slideLayout" Target="../slideLayouts/slideLayout122.xml"/><Relationship Id="rId28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9.xml"/><Relationship Id="rId19" Type="http://schemas.openxmlformats.org/officeDocument/2006/relationships/slideLayout" Target="../slideLayouts/slideLayout118.xml"/><Relationship Id="rId31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slideLayout" Target="../slideLayouts/slideLayout113.xml"/><Relationship Id="rId22" Type="http://schemas.openxmlformats.org/officeDocument/2006/relationships/slideLayout" Target="../slideLayouts/slideLayout121.xml"/><Relationship Id="rId27" Type="http://schemas.openxmlformats.org/officeDocument/2006/relationships/slideLayout" Target="../slideLayouts/slideLayout126.xml"/><Relationship Id="rId30" Type="http://schemas.openxmlformats.org/officeDocument/2006/relationships/slideLayout" Target="../slideLayouts/slideLayout129.xml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56.xml"/><Relationship Id="rId21" Type="http://schemas.openxmlformats.org/officeDocument/2006/relationships/slideLayout" Target="../slideLayouts/slideLayout151.xml"/><Relationship Id="rId34" Type="http://schemas.openxmlformats.org/officeDocument/2006/relationships/slideLayout" Target="../slideLayouts/slideLayout164.xml"/><Relationship Id="rId42" Type="http://schemas.openxmlformats.org/officeDocument/2006/relationships/slideLayout" Target="../slideLayouts/slideLayout172.xml"/><Relationship Id="rId47" Type="http://schemas.openxmlformats.org/officeDocument/2006/relationships/slideLayout" Target="../slideLayouts/slideLayout177.xml"/><Relationship Id="rId50" Type="http://schemas.openxmlformats.org/officeDocument/2006/relationships/slideLayout" Target="../slideLayouts/slideLayout180.xml"/><Relationship Id="rId55" Type="http://schemas.openxmlformats.org/officeDocument/2006/relationships/slideLayout" Target="../slideLayouts/slideLayout185.xml"/><Relationship Id="rId63" Type="http://schemas.openxmlformats.org/officeDocument/2006/relationships/slideLayout" Target="../slideLayouts/slideLayout193.xml"/><Relationship Id="rId7" Type="http://schemas.openxmlformats.org/officeDocument/2006/relationships/slideLayout" Target="../slideLayouts/slideLayout137.xml"/><Relationship Id="rId2" Type="http://schemas.openxmlformats.org/officeDocument/2006/relationships/slideLayout" Target="../slideLayouts/slideLayout132.xml"/><Relationship Id="rId16" Type="http://schemas.openxmlformats.org/officeDocument/2006/relationships/slideLayout" Target="../slideLayouts/slideLayout146.xml"/><Relationship Id="rId29" Type="http://schemas.openxmlformats.org/officeDocument/2006/relationships/slideLayout" Target="../slideLayouts/slideLayout159.xml"/><Relationship Id="rId11" Type="http://schemas.openxmlformats.org/officeDocument/2006/relationships/slideLayout" Target="../slideLayouts/slideLayout141.xml"/><Relationship Id="rId24" Type="http://schemas.openxmlformats.org/officeDocument/2006/relationships/slideLayout" Target="../slideLayouts/slideLayout154.xml"/><Relationship Id="rId32" Type="http://schemas.openxmlformats.org/officeDocument/2006/relationships/slideLayout" Target="../slideLayouts/slideLayout162.xml"/><Relationship Id="rId37" Type="http://schemas.openxmlformats.org/officeDocument/2006/relationships/slideLayout" Target="../slideLayouts/slideLayout167.xml"/><Relationship Id="rId40" Type="http://schemas.openxmlformats.org/officeDocument/2006/relationships/slideLayout" Target="../slideLayouts/slideLayout170.xml"/><Relationship Id="rId45" Type="http://schemas.openxmlformats.org/officeDocument/2006/relationships/slideLayout" Target="../slideLayouts/slideLayout175.xml"/><Relationship Id="rId53" Type="http://schemas.openxmlformats.org/officeDocument/2006/relationships/slideLayout" Target="../slideLayouts/slideLayout183.xml"/><Relationship Id="rId58" Type="http://schemas.openxmlformats.org/officeDocument/2006/relationships/slideLayout" Target="../slideLayouts/slideLayout188.xml"/><Relationship Id="rId66" Type="http://schemas.openxmlformats.org/officeDocument/2006/relationships/slideLayout" Target="../slideLayouts/slideLayout196.xml"/><Relationship Id="rId5" Type="http://schemas.openxmlformats.org/officeDocument/2006/relationships/slideLayout" Target="../slideLayouts/slideLayout135.xml"/><Relationship Id="rId61" Type="http://schemas.openxmlformats.org/officeDocument/2006/relationships/slideLayout" Target="../slideLayouts/slideLayout191.xml"/><Relationship Id="rId19" Type="http://schemas.openxmlformats.org/officeDocument/2006/relationships/slideLayout" Target="../slideLayouts/slideLayout149.xml"/><Relationship Id="rId14" Type="http://schemas.openxmlformats.org/officeDocument/2006/relationships/slideLayout" Target="../slideLayouts/slideLayout144.xml"/><Relationship Id="rId22" Type="http://schemas.openxmlformats.org/officeDocument/2006/relationships/slideLayout" Target="../slideLayouts/slideLayout152.xml"/><Relationship Id="rId27" Type="http://schemas.openxmlformats.org/officeDocument/2006/relationships/slideLayout" Target="../slideLayouts/slideLayout157.xml"/><Relationship Id="rId30" Type="http://schemas.openxmlformats.org/officeDocument/2006/relationships/slideLayout" Target="../slideLayouts/slideLayout160.xml"/><Relationship Id="rId35" Type="http://schemas.openxmlformats.org/officeDocument/2006/relationships/slideLayout" Target="../slideLayouts/slideLayout165.xml"/><Relationship Id="rId43" Type="http://schemas.openxmlformats.org/officeDocument/2006/relationships/slideLayout" Target="../slideLayouts/slideLayout173.xml"/><Relationship Id="rId48" Type="http://schemas.openxmlformats.org/officeDocument/2006/relationships/slideLayout" Target="../slideLayouts/slideLayout178.xml"/><Relationship Id="rId56" Type="http://schemas.openxmlformats.org/officeDocument/2006/relationships/slideLayout" Target="../slideLayouts/slideLayout186.xml"/><Relationship Id="rId64" Type="http://schemas.openxmlformats.org/officeDocument/2006/relationships/slideLayout" Target="../slideLayouts/slideLayout194.xml"/><Relationship Id="rId8" Type="http://schemas.openxmlformats.org/officeDocument/2006/relationships/slideLayout" Target="../slideLayouts/slideLayout138.xml"/><Relationship Id="rId51" Type="http://schemas.openxmlformats.org/officeDocument/2006/relationships/slideLayout" Target="../slideLayouts/slideLayout181.xml"/><Relationship Id="rId3" Type="http://schemas.openxmlformats.org/officeDocument/2006/relationships/slideLayout" Target="../slideLayouts/slideLayout133.xml"/><Relationship Id="rId12" Type="http://schemas.openxmlformats.org/officeDocument/2006/relationships/slideLayout" Target="../slideLayouts/slideLayout142.xml"/><Relationship Id="rId17" Type="http://schemas.openxmlformats.org/officeDocument/2006/relationships/slideLayout" Target="../slideLayouts/slideLayout147.xml"/><Relationship Id="rId25" Type="http://schemas.openxmlformats.org/officeDocument/2006/relationships/slideLayout" Target="../slideLayouts/slideLayout155.xml"/><Relationship Id="rId33" Type="http://schemas.openxmlformats.org/officeDocument/2006/relationships/slideLayout" Target="../slideLayouts/slideLayout163.xml"/><Relationship Id="rId38" Type="http://schemas.openxmlformats.org/officeDocument/2006/relationships/slideLayout" Target="../slideLayouts/slideLayout168.xml"/><Relationship Id="rId46" Type="http://schemas.openxmlformats.org/officeDocument/2006/relationships/slideLayout" Target="../slideLayouts/slideLayout176.xml"/><Relationship Id="rId59" Type="http://schemas.openxmlformats.org/officeDocument/2006/relationships/slideLayout" Target="../slideLayouts/slideLayout189.xml"/><Relationship Id="rId67" Type="http://schemas.openxmlformats.org/officeDocument/2006/relationships/theme" Target="../theme/theme6.xml"/><Relationship Id="rId20" Type="http://schemas.openxmlformats.org/officeDocument/2006/relationships/slideLayout" Target="../slideLayouts/slideLayout150.xml"/><Relationship Id="rId41" Type="http://schemas.openxmlformats.org/officeDocument/2006/relationships/slideLayout" Target="../slideLayouts/slideLayout171.xml"/><Relationship Id="rId54" Type="http://schemas.openxmlformats.org/officeDocument/2006/relationships/slideLayout" Target="../slideLayouts/slideLayout184.xml"/><Relationship Id="rId62" Type="http://schemas.openxmlformats.org/officeDocument/2006/relationships/slideLayout" Target="../slideLayouts/slideLayout192.xml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5.xml"/><Relationship Id="rId23" Type="http://schemas.openxmlformats.org/officeDocument/2006/relationships/slideLayout" Target="../slideLayouts/slideLayout153.xml"/><Relationship Id="rId28" Type="http://schemas.openxmlformats.org/officeDocument/2006/relationships/slideLayout" Target="../slideLayouts/slideLayout158.xml"/><Relationship Id="rId36" Type="http://schemas.openxmlformats.org/officeDocument/2006/relationships/slideLayout" Target="../slideLayouts/slideLayout166.xml"/><Relationship Id="rId49" Type="http://schemas.openxmlformats.org/officeDocument/2006/relationships/slideLayout" Target="../slideLayouts/slideLayout179.xml"/><Relationship Id="rId57" Type="http://schemas.openxmlformats.org/officeDocument/2006/relationships/slideLayout" Target="../slideLayouts/slideLayout187.xml"/><Relationship Id="rId10" Type="http://schemas.openxmlformats.org/officeDocument/2006/relationships/slideLayout" Target="../slideLayouts/slideLayout140.xml"/><Relationship Id="rId31" Type="http://schemas.openxmlformats.org/officeDocument/2006/relationships/slideLayout" Target="../slideLayouts/slideLayout161.xml"/><Relationship Id="rId44" Type="http://schemas.openxmlformats.org/officeDocument/2006/relationships/slideLayout" Target="../slideLayouts/slideLayout174.xml"/><Relationship Id="rId52" Type="http://schemas.openxmlformats.org/officeDocument/2006/relationships/slideLayout" Target="../slideLayouts/slideLayout182.xml"/><Relationship Id="rId60" Type="http://schemas.openxmlformats.org/officeDocument/2006/relationships/slideLayout" Target="../slideLayouts/slideLayout190.xml"/><Relationship Id="rId65" Type="http://schemas.openxmlformats.org/officeDocument/2006/relationships/slideLayout" Target="../slideLayouts/slideLayout195.xml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3.xml"/><Relationship Id="rId18" Type="http://schemas.openxmlformats.org/officeDocument/2006/relationships/slideLayout" Target="../slideLayouts/slideLayout148.xml"/><Relationship Id="rId39" Type="http://schemas.openxmlformats.org/officeDocument/2006/relationships/slideLayout" Target="../slideLayouts/slideLayout16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A76E530-A305-4D33-B294-BAC2F0DEEE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7671" y="1316977"/>
            <a:ext cx="21644092" cy="124373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19C6A7CB-4918-496C-8A16-5CB004F58D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rot="16200000">
            <a:off x="22625732" y="11172825"/>
            <a:ext cx="2159000" cy="730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2000">
                <a:solidFill>
                  <a:srgbClr val="BBBBBB"/>
                </a:solidFill>
              </a:defRPr>
            </a:lvl1pPr>
          </a:lstStyle>
          <a:p>
            <a:fld id="{283B1AB1-319D-4B24-A7E6-2CF2EF1A436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8594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  <p:sldLayoutId id="2147483780" r:id="rId16"/>
  </p:sldLayoutIdLst>
  <p:hf hdr="0"/>
  <p:txStyles>
    <p:titleStyle>
      <a:lvl1pPr marL="0" algn="l" defTabSz="1828619" rtl="0" eaLnBrk="1" latinLnBrk="0" hangingPunct="1">
        <a:lnSpc>
          <a:spcPct val="80000"/>
        </a:lnSpc>
        <a:spcBef>
          <a:spcPct val="0"/>
        </a:spcBef>
        <a:buNone/>
        <a:defRPr sz="10000" b="0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0" indent="0" algn="l" defTabSz="182861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3200" kern="1200">
          <a:solidFill>
            <a:srgbClr val="000000"/>
          </a:solidFill>
          <a:latin typeface="+mn-lt"/>
          <a:ea typeface="+mn-ea"/>
          <a:cs typeface="+mn-cs"/>
        </a:defRPr>
      </a:lvl1pPr>
      <a:lvl2pPr marL="382588" indent="-382588" algn="l" defTabSz="1907905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0000"/>
        <a:buFont typeface="Arial Unicode MS" panose="020B0604020202020204" pitchFamily="34" charset="-128"/>
        <a:buChar char="▎"/>
        <a:tabLst/>
        <a:defRPr sz="3200" b="0" kern="1200" baseline="0">
          <a:solidFill>
            <a:srgbClr val="000000"/>
          </a:solidFill>
          <a:latin typeface="YS Text Bold" pitchFamily="2" charset="-52"/>
          <a:ea typeface="+mn-ea"/>
          <a:cs typeface="+mn-cs"/>
        </a:defRPr>
      </a:lvl2pPr>
      <a:lvl3pPr marL="382588" indent="-382588" algn="l" defTabSz="182861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50000"/>
        <a:buFont typeface="Yandex Sans Text Light" panose="02000000000000000000" pitchFamily="2" charset="-52"/>
        <a:buChar char="›"/>
        <a:tabLst/>
        <a:defRPr sz="3200" kern="1200">
          <a:solidFill>
            <a:srgbClr val="000000"/>
          </a:solidFill>
          <a:latin typeface="+mn-lt"/>
          <a:ea typeface="+mn-ea"/>
          <a:cs typeface="+mn-cs"/>
        </a:defRPr>
      </a:lvl3pPr>
      <a:lvl4pPr marL="382588" indent="-382588" algn="l" defTabSz="182861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AutoNum type="arabicPeriod"/>
        <a:tabLst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182861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3200" kern="1200" baseline="0">
          <a:solidFill>
            <a:srgbClr val="000000"/>
          </a:solidFill>
          <a:latin typeface="+mn-lt"/>
          <a:ea typeface="+mn-ea"/>
          <a:cs typeface="+mn-cs"/>
        </a:defRPr>
      </a:lvl5pPr>
      <a:lvl6pPr marL="5028699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007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315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1623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08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619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927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235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543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852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160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467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5865">
          <p15:clr>
            <a:srgbClr val="F26B43"/>
          </p15:clr>
        </p15:guide>
        <p15:guide id="8" pos="5185">
          <p15:clr>
            <a:srgbClr val="F26B43"/>
          </p15:clr>
        </p15:guide>
        <p15:guide id="17" pos="2690">
          <p15:clr>
            <a:srgbClr val="F26B43"/>
          </p15:clr>
        </p15:guide>
        <p15:guide id="93" orient="horz" pos="918">
          <p15:clr>
            <a:srgbClr val="F26B43"/>
          </p15:clr>
        </p15:guide>
        <p15:guide id="124" orient="horz" pos="7948">
          <p15:clr>
            <a:srgbClr val="F26B43"/>
          </p15:clr>
        </p15:guide>
        <p15:guide id="125" pos="7906">
          <p15:clr>
            <a:srgbClr val="F26B43"/>
          </p15:clr>
        </p15:guide>
        <p15:guide id="126" pos="6546">
          <p15:clr>
            <a:srgbClr val="F26B43"/>
          </p15:clr>
        </p15:guide>
        <p15:guide id="127" pos="8133">
          <p15:clr>
            <a:srgbClr val="F26B43"/>
          </p15:clr>
        </p15:guide>
        <p15:guide id="128" pos="876">
          <p15:clr>
            <a:srgbClr val="F26B43"/>
          </p15:clr>
        </p15:guide>
        <p15:guide id="130" orient="horz" pos="4320">
          <p15:clr>
            <a:srgbClr val="F26B43"/>
          </p15:clr>
        </p15:guide>
        <p15:guide id="131" pos="6772">
          <p15:clr>
            <a:srgbClr val="F26B43"/>
          </p15:clr>
        </p15:guide>
        <p15:guide id="132" pos="6999">
          <p15:clr>
            <a:srgbClr val="F26B43"/>
          </p15:clr>
        </p15:guide>
        <p15:guide id="133" pos="7226">
          <p15:clr>
            <a:srgbClr val="F26B43"/>
          </p15:clr>
        </p15:guide>
        <p15:guide id="134" pos="6319">
          <p15:clr>
            <a:srgbClr val="F26B43"/>
          </p15:clr>
        </p15:guide>
        <p15:guide id="135" pos="6092">
          <p15:clr>
            <a:srgbClr val="F26B43"/>
          </p15:clr>
        </p15:guide>
        <p15:guide id="136" pos="4505">
          <p15:clr>
            <a:srgbClr val="F26B43"/>
          </p15:clr>
        </p15:guide>
        <p15:guide id="138" pos="4278">
          <p15:clr>
            <a:srgbClr val="F26B43"/>
          </p15:clr>
        </p15:guide>
        <p15:guide id="139" pos="8360">
          <p15:clr>
            <a:srgbClr val="F26B43"/>
          </p15:clr>
        </p15:guide>
        <p15:guide id="140" pos="5637">
          <p15:clr>
            <a:srgbClr val="F26B43"/>
          </p15:clr>
        </p15:guide>
        <p15:guide id="141" pos="3824">
          <p15:clr>
            <a:srgbClr val="F26B43"/>
          </p15:clr>
        </p15:guide>
        <p15:guide id="142" pos="4051">
          <p15:clr>
            <a:srgbClr val="F26B43"/>
          </p15:clr>
        </p15:guide>
        <p15:guide id="143" pos="2917">
          <p15:clr>
            <a:srgbClr val="F26B43"/>
          </p15:clr>
        </p15:guide>
        <p15:guide id="144" pos="3598">
          <p15:clr>
            <a:srgbClr val="F26B43"/>
          </p15:clr>
        </p15:guide>
        <p15:guide id="145" pos="3371">
          <p15:clr>
            <a:srgbClr val="F26B43"/>
          </p15:clr>
        </p15:guide>
        <p15:guide id="146" pos="2464">
          <p15:clr>
            <a:srgbClr val="F26B43"/>
          </p15:clr>
        </p15:guide>
        <p15:guide id="147" pos="2237">
          <p15:clr>
            <a:srgbClr val="F26B43"/>
          </p15:clr>
        </p15:guide>
        <p15:guide id="148" pos="8587">
          <p15:clr>
            <a:srgbClr val="F26B43"/>
          </p15:clr>
        </p15:guide>
        <p15:guide id="149" pos="8813">
          <p15:clr>
            <a:srgbClr val="F26B43"/>
          </p15:clr>
        </p15:guide>
        <p15:guide id="150" pos="9040">
          <p15:clr>
            <a:srgbClr val="F26B43"/>
          </p15:clr>
        </p15:guide>
        <p15:guide id="151" pos="9267">
          <p15:clr>
            <a:srgbClr val="F26B43"/>
          </p15:clr>
        </p15:guide>
        <p15:guide id="152" pos="9494">
          <p15:clr>
            <a:srgbClr val="F26B43"/>
          </p15:clr>
        </p15:guide>
        <p15:guide id="153" pos="9720">
          <p15:clr>
            <a:srgbClr val="F26B43"/>
          </p15:clr>
        </p15:guide>
        <p15:guide id="155" pos="10174">
          <p15:clr>
            <a:srgbClr val="F26B43"/>
          </p15:clr>
        </p15:guide>
        <p15:guide id="156" pos="10378">
          <p15:clr>
            <a:srgbClr val="F26B43"/>
          </p15:clr>
        </p15:guide>
        <p15:guide id="157" pos="10628">
          <p15:clr>
            <a:srgbClr val="F26B43"/>
          </p15:clr>
        </p15:guide>
        <p15:guide id="158" pos="10854">
          <p15:clr>
            <a:srgbClr val="F26B43"/>
          </p15:clr>
        </p15:guide>
        <p15:guide id="159" pos="11081">
          <p15:clr>
            <a:srgbClr val="F26B43"/>
          </p15:clr>
        </p15:guide>
        <p15:guide id="160" pos="11308">
          <p15:clr>
            <a:srgbClr val="F26B43"/>
          </p15:clr>
        </p15:guide>
        <p15:guide id="161" pos="11535">
          <p15:clr>
            <a:srgbClr val="F26B43"/>
          </p15:clr>
        </p15:guide>
        <p15:guide id="162" pos="11761">
          <p15:clr>
            <a:srgbClr val="F26B43"/>
          </p15:clr>
        </p15:guide>
        <p15:guide id="163" pos="11988">
          <p15:clr>
            <a:srgbClr val="F26B43"/>
          </p15:clr>
        </p15:guide>
        <p15:guide id="165" pos="12442">
          <p15:clr>
            <a:srgbClr val="F26B43"/>
          </p15:clr>
        </p15:guide>
        <p15:guide id="166" pos="12668">
          <p15:clr>
            <a:srgbClr val="F26B43"/>
          </p15:clr>
        </p15:guide>
        <p15:guide id="167" pos="12895">
          <p15:clr>
            <a:srgbClr val="F26B43"/>
          </p15:clr>
        </p15:guide>
        <p15:guide id="168" pos="13122">
          <p15:clr>
            <a:srgbClr val="F26B43"/>
          </p15:clr>
        </p15:guide>
        <p15:guide id="169" pos="13349">
          <p15:clr>
            <a:srgbClr val="F26B43"/>
          </p15:clr>
        </p15:guide>
        <p15:guide id="170" pos="13576">
          <p15:clr>
            <a:srgbClr val="F26B43"/>
          </p15:clr>
        </p15:guide>
        <p15:guide id="172" pos="14029">
          <p15:clr>
            <a:srgbClr val="F26B43"/>
          </p15:clr>
        </p15:guide>
        <p15:guide id="173" pos="14256">
          <p15:clr>
            <a:srgbClr val="F26B43"/>
          </p15:clr>
        </p15:guide>
        <p15:guide id="175" pos="2010">
          <p15:clr>
            <a:srgbClr val="F26B43"/>
          </p15:clr>
        </p15:guide>
        <p15:guide id="176" pos="1783">
          <p15:clr>
            <a:srgbClr val="F26B43"/>
          </p15:clr>
        </p15:guide>
        <p15:guide id="177" pos="1557">
          <p15:clr>
            <a:srgbClr val="F26B43"/>
          </p15:clr>
        </p15:guide>
        <p15:guide id="178" pos="1329">
          <p15:clr>
            <a:srgbClr val="F26B43"/>
          </p15:clr>
        </p15:guide>
        <p15:guide id="179" pos="1102">
          <p15:clr>
            <a:srgbClr val="F26B43"/>
          </p15:clr>
        </p15:guide>
        <p15:guide id="180" orient="horz" pos="7722">
          <p15:clr>
            <a:srgbClr val="F26B43"/>
          </p15:clr>
        </p15:guide>
        <p15:guide id="181" orient="horz" pos="7495">
          <p15:clr>
            <a:srgbClr val="F26B43"/>
          </p15:clr>
        </p15:guide>
        <p15:guide id="182" orient="horz" pos="7268">
          <p15:clr>
            <a:srgbClr val="F26B43"/>
          </p15:clr>
        </p15:guide>
        <p15:guide id="183" orient="horz" pos="7041">
          <p15:clr>
            <a:srgbClr val="F26B43"/>
          </p15:clr>
        </p15:guide>
        <p15:guide id="184" orient="horz" pos="6814">
          <p15:clr>
            <a:srgbClr val="F26B43"/>
          </p15:clr>
        </p15:guide>
        <p15:guide id="185" orient="horz" pos="6588">
          <p15:clr>
            <a:srgbClr val="F26B43"/>
          </p15:clr>
        </p15:guide>
        <p15:guide id="186" orient="horz" pos="6361">
          <p15:clr>
            <a:srgbClr val="F26B43"/>
          </p15:clr>
        </p15:guide>
        <p15:guide id="187" orient="horz" pos="6134">
          <p15:clr>
            <a:srgbClr val="F26B43"/>
          </p15:clr>
        </p15:guide>
        <p15:guide id="188" orient="horz" pos="5681">
          <p15:clr>
            <a:srgbClr val="F26B43"/>
          </p15:clr>
        </p15:guide>
        <p15:guide id="189" orient="horz" pos="5454">
          <p15:clr>
            <a:srgbClr val="F26B43"/>
          </p15:clr>
        </p15:guide>
        <p15:guide id="190" orient="horz" pos="5907">
          <p15:clr>
            <a:srgbClr val="F26B43"/>
          </p15:clr>
        </p15:guide>
        <p15:guide id="191" orient="horz" pos="5227">
          <p15:clr>
            <a:srgbClr val="F26B43"/>
          </p15:clr>
        </p15:guide>
        <p15:guide id="192" orient="horz" pos="4774">
          <p15:clr>
            <a:srgbClr val="F26B43"/>
          </p15:clr>
        </p15:guide>
        <p15:guide id="193" orient="horz" pos="5000">
          <p15:clr>
            <a:srgbClr val="F26B43"/>
          </p15:clr>
        </p15:guide>
        <p15:guide id="194" orient="horz" pos="4547">
          <p15:clr>
            <a:srgbClr val="F26B43"/>
          </p15:clr>
        </p15:guide>
        <p15:guide id="195" orient="horz" pos="4093">
          <p15:clr>
            <a:srgbClr val="F26B43"/>
          </p15:clr>
        </p15:guide>
        <p15:guide id="196" orient="horz" pos="3866">
          <p15:clr>
            <a:srgbClr val="F26B43"/>
          </p15:clr>
        </p15:guide>
        <p15:guide id="197" orient="horz" pos="3640">
          <p15:clr>
            <a:srgbClr val="F26B43"/>
          </p15:clr>
        </p15:guide>
        <p15:guide id="198" orient="horz" pos="3413">
          <p15:clr>
            <a:srgbClr val="F26B43"/>
          </p15:clr>
        </p15:guide>
        <p15:guide id="199" orient="horz" pos="3186">
          <p15:clr>
            <a:srgbClr val="F26B43"/>
          </p15:clr>
        </p15:guide>
        <p15:guide id="200" orient="horz" pos="2959">
          <p15:clr>
            <a:srgbClr val="F26B43"/>
          </p15:clr>
        </p15:guide>
        <p15:guide id="201" orient="horz" pos="2733">
          <p15:clr>
            <a:srgbClr val="F26B43"/>
          </p15:clr>
        </p15:guide>
        <p15:guide id="202" orient="horz" pos="2506">
          <p15:clr>
            <a:srgbClr val="F26B43"/>
          </p15:clr>
        </p15:guide>
        <p15:guide id="203" orient="horz" pos="2279">
          <p15:clr>
            <a:srgbClr val="F26B43"/>
          </p15:clr>
        </p15:guide>
        <p15:guide id="204" orient="horz" pos="2052">
          <p15:clr>
            <a:srgbClr val="F26B43"/>
          </p15:clr>
        </p15:guide>
        <p15:guide id="205" orient="horz" pos="1803">
          <p15:clr>
            <a:srgbClr val="F26B43"/>
          </p15:clr>
        </p15:guide>
        <p15:guide id="206" orient="horz" pos="1599">
          <p15:clr>
            <a:srgbClr val="F26B43"/>
          </p15:clr>
        </p15:guide>
        <p15:guide id="207" orient="horz" pos="1372">
          <p15:clr>
            <a:srgbClr val="F26B43"/>
          </p15:clr>
        </p15:guide>
        <p15:guide id="208" orient="horz" pos="1145">
          <p15:clr>
            <a:srgbClr val="F26B43"/>
          </p15:clr>
        </p15:guide>
        <p15:guide id="209" orient="horz" pos="692">
          <p15:clr>
            <a:srgbClr val="F26B43"/>
          </p15:clr>
        </p15:guide>
        <p15:guide id="210" pos="4731">
          <p15:clr>
            <a:srgbClr val="F26B43"/>
          </p15:clr>
        </p15:guide>
        <p15:guide id="211" pos="4958">
          <p15:clr>
            <a:srgbClr val="F26B43"/>
          </p15:clr>
        </p15:guide>
        <p15:guide id="212" pos="13802">
          <p15:clr>
            <a:srgbClr val="F26B43"/>
          </p15:clr>
        </p15:guide>
        <p15:guide id="213" pos="7430">
          <p15:clr>
            <a:srgbClr val="F26B43"/>
          </p15:clr>
        </p15:guide>
        <p15:guide id="214" pos="1448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A76E530-A305-4D33-B294-BAC2F0DEEE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7671" y="1316977"/>
            <a:ext cx="21644092" cy="124373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19C6A7CB-4918-496C-8A16-5CB004F58D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rot="16200000">
            <a:off x="22625732" y="11172825"/>
            <a:ext cx="2159000" cy="730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2000">
                <a:solidFill>
                  <a:srgbClr val="BBBBBB"/>
                </a:solidFill>
              </a:defRPr>
            </a:lvl1pPr>
          </a:lstStyle>
          <a:p>
            <a:fld id="{283B1AB1-319D-4B24-A7E6-2CF2EF1A436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2365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  <p:sldLayoutId id="2147483795" r:id="rId13"/>
    <p:sldLayoutId id="2147483796" r:id="rId14"/>
    <p:sldLayoutId id="2147483797" r:id="rId15"/>
    <p:sldLayoutId id="2147483798" r:id="rId16"/>
  </p:sldLayoutIdLst>
  <p:hf hdr="0"/>
  <p:txStyles>
    <p:titleStyle>
      <a:lvl1pPr marL="0" algn="l" defTabSz="1828619" rtl="0" eaLnBrk="1" latinLnBrk="0" hangingPunct="1">
        <a:lnSpc>
          <a:spcPct val="80000"/>
        </a:lnSpc>
        <a:spcBef>
          <a:spcPct val="0"/>
        </a:spcBef>
        <a:buNone/>
        <a:defRPr sz="10000" b="0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0" indent="0" algn="l" defTabSz="182861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3200" kern="1200">
          <a:solidFill>
            <a:srgbClr val="000000"/>
          </a:solidFill>
          <a:latin typeface="+mn-lt"/>
          <a:ea typeface="+mn-ea"/>
          <a:cs typeface="+mn-cs"/>
        </a:defRPr>
      </a:lvl1pPr>
      <a:lvl2pPr marL="382588" indent="-382588" algn="l" defTabSz="1907905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0000"/>
        <a:buFont typeface="Arial Unicode MS" panose="020B0604020202020204" pitchFamily="34" charset="-128"/>
        <a:buChar char="▎"/>
        <a:tabLst/>
        <a:defRPr sz="3200" b="0" kern="1200" baseline="0">
          <a:solidFill>
            <a:srgbClr val="000000"/>
          </a:solidFill>
          <a:latin typeface="YS Text Bold" pitchFamily="2" charset="-52"/>
          <a:ea typeface="+mn-ea"/>
          <a:cs typeface="+mn-cs"/>
        </a:defRPr>
      </a:lvl2pPr>
      <a:lvl3pPr marL="382588" indent="-382588" algn="l" defTabSz="182861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50000"/>
        <a:buFont typeface="Yandex Sans Text Light" panose="02000000000000000000" pitchFamily="2" charset="-52"/>
        <a:buChar char="›"/>
        <a:tabLst/>
        <a:defRPr sz="3200" kern="1200">
          <a:solidFill>
            <a:srgbClr val="000000"/>
          </a:solidFill>
          <a:latin typeface="+mn-lt"/>
          <a:ea typeface="+mn-ea"/>
          <a:cs typeface="+mn-cs"/>
        </a:defRPr>
      </a:lvl3pPr>
      <a:lvl4pPr marL="382588" indent="-382588" algn="l" defTabSz="182861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AutoNum type="arabicPeriod"/>
        <a:tabLst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182861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3200" kern="1200" baseline="0">
          <a:solidFill>
            <a:srgbClr val="000000"/>
          </a:solidFill>
          <a:latin typeface="+mn-lt"/>
          <a:ea typeface="+mn-ea"/>
          <a:cs typeface="+mn-cs"/>
        </a:defRPr>
      </a:lvl5pPr>
      <a:lvl6pPr marL="5028699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007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315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1623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08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619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927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235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543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852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160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467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5865">
          <p15:clr>
            <a:srgbClr val="F26B43"/>
          </p15:clr>
        </p15:guide>
        <p15:guide id="8" pos="5185">
          <p15:clr>
            <a:srgbClr val="F26B43"/>
          </p15:clr>
        </p15:guide>
        <p15:guide id="17" pos="2690">
          <p15:clr>
            <a:srgbClr val="F26B43"/>
          </p15:clr>
        </p15:guide>
        <p15:guide id="93" orient="horz" pos="918">
          <p15:clr>
            <a:srgbClr val="F26B43"/>
          </p15:clr>
        </p15:guide>
        <p15:guide id="124" orient="horz" pos="7948">
          <p15:clr>
            <a:srgbClr val="F26B43"/>
          </p15:clr>
        </p15:guide>
        <p15:guide id="125" pos="7906">
          <p15:clr>
            <a:srgbClr val="F26B43"/>
          </p15:clr>
        </p15:guide>
        <p15:guide id="126" pos="6546">
          <p15:clr>
            <a:srgbClr val="F26B43"/>
          </p15:clr>
        </p15:guide>
        <p15:guide id="127" pos="8133">
          <p15:clr>
            <a:srgbClr val="F26B43"/>
          </p15:clr>
        </p15:guide>
        <p15:guide id="128" pos="876">
          <p15:clr>
            <a:srgbClr val="F26B43"/>
          </p15:clr>
        </p15:guide>
        <p15:guide id="130" orient="horz" pos="4320">
          <p15:clr>
            <a:srgbClr val="F26B43"/>
          </p15:clr>
        </p15:guide>
        <p15:guide id="131" pos="6772">
          <p15:clr>
            <a:srgbClr val="F26B43"/>
          </p15:clr>
        </p15:guide>
        <p15:guide id="132" pos="6999">
          <p15:clr>
            <a:srgbClr val="F26B43"/>
          </p15:clr>
        </p15:guide>
        <p15:guide id="133" pos="7226">
          <p15:clr>
            <a:srgbClr val="F26B43"/>
          </p15:clr>
        </p15:guide>
        <p15:guide id="134" pos="6319">
          <p15:clr>
            <a:srgbClr val="F26B43"/>
          </p15:clr>
        </p15:guide>
        <p15:guide id="135" pos="6092">
          <p15:clr>
            <a:srgbClr val="F26B43"/>
          </p15:clr>
        </p15:guide>
        <p15:guide id="136" pos="4505">
          <p15:clr>
            <a:srgbClr val="F26B43"/>
          </p15:clr>
        </p15:guide>
        <p15:guide id="138" pos="4278">
          <p15:clr>
            <a:srgbClr val="F26B43"/>
          </p15:clr>
        </p15:guide>
        <p15:guide id="139" pos="8360">
          <p15:clr>
            <a:srgbClr val="F26B43"/>
          </p15:clr>
        </p15:guide>
        <p15:guide id="140" pos="5637">
          <p15:clr>
            <a:srgbClr val="F26B43"/>
          </p15:clr>
        </p15:guide>
        <p15:guide id="141" pos="3824">
          <p15:clr>
            <a:srgbClr val="F26B43"/>
          </p15:clr>
        </p15:guide>
        <p15:guide id="142" pos="4051">
          <p15:clr>
            <a:srgbClr val="F26B43"/>
          </p15:clr>
        </p15:guide>
        <p15:guide id="143" pos="2917">
          <p15:clr>
            <a:srgbClr val="F26B43"/>
          </p15:clr>
        </p15:guide>
        <p15:guide id="144" pos="3598">
          <p15:clr>
            <a:srgbClr val="F26B43"/>
          </p15:clr>
        </p15:guide>
        <p15:guide id="145" pos="3371">
          <p15:clr>
            <a:srgbClr val="F26B43"/>
          </p15:clr>
        </p15:guide>
        <p15:guide id="146" pos="2464">
          <p15:clr>
            <a:srgbClr val="F26B43"/>
          </p15:clr>
        </p15:guide>
        <p15:guide id="147" pos="2237">
          <p15:clr>
            <a:srgbClr val="F26B43"/>
          </p15:clr>
        </p15:guide>
        <p15:guide id="148" pos="8587">
          <p15:clr>
            <a:srgbClr val="F26B43"/>
          </p15:clr>
        </p15:guide>
        <p15:guide id="149" pos="8813">
          <p15:clr>
            <a:srgbClr val="F26B43"/>
          </p15:clr>
        </p15:guide>
        <p15:guide id="150" pos="9040">
          <p15:clr>
            <a:srgbClr val="F26B43"/>
          </p15:clr>
        </p15:guide>
        <p15:guide id="151" pos="9267">
          <p15:clr>
            <a:srgbClr val="F26B43"/>
          </p15:clr>
        </p15:guide>
        <p15:guide id="152" pos="9494">
          <p15:clr>
            <a:srgbClr val="F26B43"/>
          </p15:clr>
        </p15:guide>
        <p15:guide id="153" pos="9720">
          <p15:clr>
            <a:srgbClr val="F26B43"/>
          </p15:clr>
        </p15:guide>
        <p15:guide id="155" pos="10174">
          <p15:clr>
            <a:srgbClr val="F26B43"/>
          </p15:clr>
        </p15:guide>
        <p15:guide id="156" pos="10378">
          <p15:clr>
            <a:srgbClr val="F26B43"/>
          </p15:clr>
        </p15:guide>
        <p15:guide id="157" pos="10628">
          <p15:clr>
            <a:srgbClr val="F26B43"/>
          </p15:clr>
        </p15:guide>
        <p15:guide id="158" pos="10854">
          <p15:clr>
            <a:srgbClr val="F26B43"/>
          </p15:clr>
        </p15:guide>
        <p15:guide id="159" pos="11081">
          <p15:clr>
            <a:srgbClr val="F26B43"/>
          </p15:clr>
        </p15:guide>
        <p15:guide id="160" pos="11308">
          <p15:clr>
            <a:srgbClr val="F26B43"/>
          </p15:clr>
        </p15:guide>
        <p15:guide id="161" pos="11535">
          <p15:clr>
            <a:srgbClr val="F26B43"/>
          </p15:clr>
        </p15:guide>
        <p15:guide id="162" pos="11761">
          <p15:clr>
            <a:srgbClr val="F26B43"/>
          </p15:clr>
        </p15:guide>
        <p15:guide id="163" pos="11988">
          <p15:clr>
            <a:srgbClr val="F26B43"/>
          </p15:clr>
        </p15:guide>
        <p15:guide id="165" pos="12442">
          <p15:clr>
            <a:srgbClr val="F26B43"/>
          </p15:clr>
        </p15:guide>
        <p15:guide id="166" pos="12668">
          <p15:clr>
            <a:srgbClr val="F26B43"/>
          </p15:clr>
        </p15:guide>
        <p15:guide id="167" pos="12895">
          <p15:clr>
            <a:srgbClr val="F26B43"/>
          </p15:clr>
        </p15:guide>
        <p15:guide id="168" pos="13122">
          <p15:clr>
            <a:srgbClr val="F26B43"/>
          </p15:clr>
        </p15:guide>
        <p15:guide id="169" pos="13349">
          <p15:clr>
            <a:srgbClr val="F26B43"/>
          </p15:clr>
        </p15:guide>
        <p15:guide id="170" pos="13576">
          <p15:clr>
            <a:srgbClr val="F26B43"/>
          </p15:clr>
        </p15:guide>
        <p15:guide id="172" pos="14029">
          <p15:clr>
            <a:srgbClr val="F26B43"/>
          </p15:clr>
        </p15:guide>
        <p15:guide id="173" pos="14256">
          <p15:clr>
            <a:srgbClr val="F26B43"/>
          </p15:clr>
        </p15:guide>
        <p15:guide id="175" pos="2010">
          <p15:clr>
            <a:srgbClr val="F26B43"/>
          </p15:clr>
        </p15:guide>
        <p15:guide id="176" pos="1783">
          <p15:clr>
            <a:srgbClr val="F26B43"/>
          </p15:clr>
        </p15:guide>
        <p15:guide id="177" pos="1557">
          <p15:clr>
            <a:srgbClr val="F26B43"/>
          </p15:clr>
        </p15:guide>
        <p15:guide id="178" pos="1329">
          <p15:clr>
            <a:srgbClr val="F26B43"/>
          </p15:clr>
        </p15:guide>
        <p15:guide id="179" pos="1102">
          <p15:clr>
            <a:srgbClr val="F26B43"/>
          </p15:clr>
        </p15:guide>
        <p15:guide id="180" orient="horz" pos="7722">
          <p15:clr>
            <a:srgbClr val="F26B43"/>
          </p15:clr>
        </p15:guide>
        <p15:guide id="181" orient="horz" pos="7495">
          <p15:clr>
            <a:srgbClr val="F26B43"/>
          </p15:clr>
        </p15:guide>
        <p15:guide id="182" orient="horz" pos="7268">
          <p15:clr>
            <a:srgbClr val="F26B43"/>
          </p15:clr>
        </p15:guide>
        <p15:guide id="183" orient="horz" pos="7041">
          <p15:clr>
            <a:srgbClr val="F26B43"/>
          </p15:clr>
        </p15:guide>
        <p15:guide id="184" orient="horz" pos="6814">
          <p15:clr>
            <a:srgbClr val="F26B43"/>
          </p15:clr>
        </p15:guide>
        <p15:guide id="185" orient="horz" pos="6588">
          <p15:clr>
            <a:srgbClr val="F26B43"/>
          </p15:clr>
        </p15:guide>
        <p15:guide id="186" orient="horz" pos="6361">
          <p15:clr>
            <a:srgbClr val="F26B43"/>
          </p15:clr>
        </p15:guide>
        <p15:guide id="187" orient="horz" pos="6134">
          <p15:clr>
            <a:srgbClr val="F26B43"/>
          </p15:clr>
        </p15:guide>
        <p15:guide id="188" orient="horz" pos="5681">
          <p15:clr>
            <a:srgbClr val="F26B43"/>
          </p15:clr>
        </p15:guide>
        <p15:guide id="189" orient="horz" pos="5454">
          <p15:clr>
            <a:srgbClr val="F26B43"/>
          </p15:clr>
        </p15:guide>
        <p15:guide id="190" orient="horz" pos="5907">
          <p15:clr>
            <a:srgbClr val="F26B43"/>
          </p15:clr>
        </p15:guide>
        <p15:guide id="191" orient="horz" pos="5227">
          <p15:clr>
            <a:srgbClr val="F26B43"/>
          </p15:clr>
        </p15:guide>
        <p15:guide id="192" orient="horz" pos="4774">
          <p15:clr>
            <a:srgbClr val="F26B43"/>
          </p15:clr>
        </p15:guide>
        <p15:guide id="193" orient="horz" pos="5000">
          <p15:clr>
            <a:srgbClr val="F26B43"/>
          </p15:clr>
        </p15:guide>
        <p15:guide id="194" orient="horz" pos="4547">
          <p15:clr>
            <a:srgbClr val="F26B43"/>
          </p15:clr>
        </p15:guide>
        <p15:guide id="195" orient="horz" pos="4093">
          <p15:clr>
            <a:srgbClr val="F26B43"/>
          </p15:clr>
        </p15:guide>
        <p15:guide id="196" orient="horz" pos="3866">
          <p15:clr>
            <a:srgbClr val="F26B43"/>
          </p15:clr>
        </p15:guide>
        <p15:guide id="197" orient="horz" pos="3640">
          <p15:clr>
            <a:srgbClr val="F26B43"/>
          </p15:clr>
        </p15:guide>
        <p15:guide id="198" orient="horz" pos="3413">
          <p15:clr>
            <a:srgbClr val="F26B43"/>
          </p15:clr>
        </p15:guide>
        <p15:guide id="199" orient="horz" pos="3186">
          <p15:clr>
            <a:srgbClr val="F26B43"/>
          </p15:clr>
        </p15:guide>
        <p15:guide id="200" orient="horz" pos="2959">
          <p15:clr>
            <a:srgbClr val="F26B43"/>
          </p15:clr>
        </p15:guide>
        <p15:guide id="201" orient="horz" pos="2733">
          <p15:clr>
            <a:srgbClr val="F26B43"/>
          </p15:clr>
        </p15:guide>
        <p15:guide id="202" orient="horz" pos="2506">
          <p15:clr>
            <a:srgbClr val="F26B43"/>
          </p15:clr>
        </p15:guide>
        <p15:guide id="203" orient="horz" pos="2279">
          <p15:clr>
            <a:srgbClr val="F26B43"/>
          </p15:clr>
        </p15:guide>
        <p15:guide id="204" orient="horz" pos="2052">
          <p15:clr>
            <a:srgbClr val="F26B43"/>
          </p15:clr>
        </p15:guide>
        <p15:guide id="205" orient="horz" pos="1803">
          <p15:clr>
            <a:srgbClr val="F26B43"/>
          </p15:clr>
        </p15:guide>
        <p15:guide id="206" orient="horz" pos="1599">
          <p15:clr>
            <a:srgbClr val="F26B43"/>
          </p15:clr>
        </p15:guide>
        <p15:guide id="207" orient="horz" pos="1372">
          <p15:clr>
            <a:srgbClr val="F26B43"/>
          </p15:clr>
        </p15:guide>
        <p15:guide id="208" orient="horz" pos="1145">
          <p15:clr>
            <a:srgbClr val="F26B43"/>
          </p15:clr>
        </p15:guide>
        <p15:guide id="209" orient="horz" pos="692">
          <p15:clr>
            <a:srgbClr val="F26B43"/>
          </p15:clr>
        </p15:guide>
        <p15:guide id="210" pos="4731">
          <p15:clr>
            <a:srgbClr val="F26B43"/>
          </p15:clr>
        </p15:guide>
        <p15:guide id="211" pos="4958">
          <p15:clr>
            <a:srgbClr val="F26B43"/>
          </p15:clr>
        </p15:guide>
        <p15:guide id="212" pos="13802">
          <p15:clr>
            <a:srgbClr val="F26B43"/>
          </p15:clr>
        </p15:guide>
        <p15:guide id="213" pos="7430">
          <p15:clr>
            <a:srgbClr val="F26B43"/>
          </p15:clr>
        </p15:guide>
        <p15:guide id="214" pos="1448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21C68CCE-33A3-5444-47E8-E7FA0C36EEBD}"/>
              </a:ext>
            </a:extLst>
          </p:cNvPr>
          <p:cNvGrpSpPr/>
          <p:nvPr userDrawn="1"/>
        </p:nvGrpSpPr>
        <p:grpSpPr>
          <a:xfrm>
            <a:off x="24859460" y="5102092"/>
            <a:ext cx="636063" cy="8613908"/>
            <a:chOff x="12430539" y="0"/>
            <a:chExt cx="318052" cy="4306954"/>
          </a:xfrm>
        </p:grpSpPr>
        <p:sp>
          <p:nvSpPr>
            <p:cNvPr id="2" name="Прямоугольник 1">
              <a:extLst>
                <a:ext uri="{FF2B5EF4-FFF2-40B4-BE49-F238E27FC236}">
                  <a16:creationId xmlns:a16="http://schemas.microsoft.com/office/drawing/2014/main" id="{5E1F9A2A-8B6B-712E-008C-ABD7F92B291B}"/>
                </a:ext>
              </a:extLst>
            </p:cNvPr>
            <p:cNvSpPr/>
            <p:nvPr userDrawn="1"/>
          </p:nvSpPr>
          <p:spPr>
            <a:xfrm>
              <a:off x="12430539" y="0"/>
              <a:ext cx="318052" cy="318052"/>
            </a:xfrm>
            <a:prstGeom prst="rect">
              <a:avLst/>
            </a:prstGeom>
            <a:solidFill>
              <a:srgbClr val="799D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/>
            </a:p>
          </p:txBody>
        </p:sp>
        <p:sp>
          <p:nvSpPr>
            <p:cNvPr id="3" name="Прямоугольник 2">
              <a:extLst>
                <a:ext uri="{FF2B5EF4-FFF2-40B4-BE49-F238E27FC236}">
                  <a16:creationId xmlns:a16="http://schemas.microsoft.com/office/drawing/2014/main" id="{E7ACFCBD-3576-BBAF-FBE3-1B28F10D6FFA}"/>
                </a:ext>
              </a:extLst>
            </p:cNvPr>
            <p:cNvSpPr/>
            <p:nvPr userDrawn="1"/>
          </p:nvSpPr>
          <p:spPr>
            <a:xfrm>
              <a:off x="12430539" y="443211"/>
              <a:ext cx="318052" cy="318052"/>
            </a:xfrm>
            <a:prstGeom prst="rect">
              <a:avLst/>
            </a:prstGeom>
            <a:solidFill>
              <a:srgbClr val="FDABB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/>
            </a:p>
          </p:txBody>
        </p:sp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C48B34DC-51F7-2724-702F-FE179234B954}"/>
                </a:ext>
              </a:extLst>
            </p:cNvPr>
            <p:cNvSpPr/>
            <p:nvPr userDrawn="1"/>
          </p:nvSpPr>
          <p:spPr>
            <a:xfrm>
              <a:off x="12430539" y="886422"/>
              <a:ext cx="318052" cy="318052"/>
            </a:xfrm>
            <a:prstGeom prst="rect">
              <a:avLst/>
            </a:prstGeom>
            <a:solidFill>
              <a:srgbClr val="873DF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/>
            </a:p>
          </p:txBody>
        </p:sp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71986F88-5198-C26C-AF2F-38F0085C2655}"/>
                </a:ext>
              </a:extLst>
            </p:cNvPr>
            <p:cNvSpPr/>
            <p:nvPr userDrawn="1"/>
          </p:nvSpPr>
          <p:spPr>
            <a:xfrm>
              <a:off x="12430539" y="1329633"/>
              <a:ext cx="318052" cy="318052"/>
            </a:xfrm>
            <a:prstGeom prst="rect">
              <a:avLst/>
            </a:prstGeom>
            <a:solidFill>
              <a:srgbClr val="FC6D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/>
            </a:p>
          </p:txBody>
        </p:sp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5F1371E0-6FF5-EF0A-C7BD-AA8AB4EFA699}"/>
                </a:ext>
              </a:extLst>
            </p:cNvPr>
            <p:cNvSpPr/>
            <p:nvPr userDrawn="1"/>
          </p:nvSpPr>
          <p:spPr>
            <a:xfrm>
              <a:off x="12430539" y="1772844"/>
              <a:ext cx="318052" cy="318052"/>
            </a:xfrm>
            <a:prstGeom prst="rect">
              <a:avLst/>
            </a:prstGeom>
            <a:solidFill>
              <a:srgbClr val="406E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/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D882792F-46FB-8FC4-725B-179440568B44}"/>
                </a:ext>
              </a:extLst>
            </p:cNvPr>
            <p:cNvSpPr/>
            <p:nvPr userDrawn="1"/>
          </p:nvSpPr>
          <p:spPr>
            <a:xfrm>
              <a:off x="12430539" y="2216055"/>
              <a:ext cx="318052" cy="318052"/>
            </a:xfrm>
            <a:prstGeom prst="rect">
              <a:avLst/>
            </a:prstGeom>
            <a:solidFill>
              <a:srgbClr val="FB38B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/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04A72179-7DFD-5198-2100-7C77C7340BE3}"/>
                </a:ext>
              </a:extLst>
            </p:cNvPr>
            <p:cNvSpPr/>
            <p:nvPr userDrawn="1"/>
          </p:nvSpPr>
          <p:spPr>
            <a:xfrm>
              <a:off x="12430539" y="2659266"/>
              <a:ext cx="318052" cy="318052"/>
            </a:xfrm>
            <a:prstGeom prst="rect">
              <a:avLst/>
            </a:prstGeom>
            <a:solidFill>
              <a:srgbClr val="C1BB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/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9A9FB066-D415-739A-06C2-C4FFCA61A3B0}"/>
                </a:ext>
              </a:extLst>
            </p:cNvPr>
            <p:cNvSpPr/>
            <p:nvPr userDrawn="1"/>
          </p:nvSpPr>
          <p:spPr>
            <a:xfrm>
              <a:off x="12430539" y="3102477"/>
              <a:ext cx="318052" cy="318052"/>
            </a:xfrm>
            <a:prstGeom prst="rect">
              <a:avLst/>
            </a:prstGeom>
            <a:solidFill>
              <a:srgbClr val="F6EB7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/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F714F75C-7E68-CA22-F434-2D518C867711}"/>
                </a:ext>
              </a:extLst>
            </p:cNvPr>
            <p:cNvSpPr/>
            <p:nvPr userDrawn="1"/>
          </p:nvSpPr>
          <p:spPr>
            <a:xfrm>
              <a:off x="12430539" y="3545688"/>
              <a:ext cx="318052" cy="318052"/>
            </a:xfrm>
            <a:prstGeom prst="rect">
              <a:avLst/>
            </a:prstGeom>
            <a:solidFill>
              <a:srgbClr val="83E6F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/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03D245D6-7133-19E8-A9BE-FACA5A74EFE7}"/>
                </a:ext>
              </a:extLst>
            </p:cNvPr>
            <p:cNvSpPr/>
            <p:nvPr userDrawn="1"/>
          </p:nvSpPr>
          <p:spPr>
            <a:xfrm>
              <a:off x="12430539" y="3988902"/>
              <a:ext cx="318052" cy="318052"/>
            </a:xfrm>
            <a:prstGeom prst="rect">
              <a:avLst/>
            </a:prstGeom>
            <a:solidFill>
              <a:srgbClr val="FEB59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/>
            </a:p>
          </p:txBody>
        </p:sp>
      </p:grpSp>
    </p:spTree>
    <p:extLst>
      <p:ext uri="{BB962C8B-B14F-4D97-AF65-F5344CB8AC3E}">
        <p14:creationId xmlns:p14="http://schemas.microsoft.com/office/powerpoint/2010/main" val="3306637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919" r:id="rId12"/>
    <p:sldLayoutId id="2147483920" r:id="rId13"/>
    <p:sldLayoutId id="2147483921" r:id="rId14"/>
    <p:sldLayoutId id="2147483922" r:id="rId15"/>
    <p:sldLayoutId id="2147483923" r:id="rId16"/>
    <p:sldLayoutId id="2147483924" r:id="rId17"/>
    <p:sldLayoutId id="2147483925" r:id="rId18"/>
    <p:sldLayoutId id="2147483926" r:id="rId19"/>
    <p:sldLayoutId id="2147483927" r:id="rId20"/>
    <p:sldLayoutId id="2147483928" r:id="rId21"/>
    <p:sldLayoutId id="2147483929" r:id="rId22"/>
    <p:sldLayoutId id="2147483930" r:id="rId23"/>
    <p:sldLayoutId id="2147483931" r:id="rId24"/>
    <p:sldLayoutId id="2147483932" r:id="rId25"/>
    <p:sldLayoutId id="2147483933" r:id="rId26"/>
    <p:sldLayoutId id="2147483934" r:id="rId27"/>
    <p:sldLayoutId id="2147483935" r:id="rId28"/>
    <p:sldLayoutId id="2147483936" r:id="rId29"/>
    <p:sldLayoutId id="2147483937" r:id="rId30"/>
    <p:sldLayoutId id="2147483938" r:id="rId31"/>
    <p:sldLayoutId id="2147483939" r:id="rId32"/>
    <p:sldLayoutId id="2147483940" r:id="rId33"/>
    <p:sldLayoutId id="2147483941" r:id="rId34"/>
    <p:sldLayoutId id="2147483942" r:id="rId35"/>
    <p:sldLayoutId id="2147483943" r:id="rId36"/>
    <p:sldLayoutId id="2147483944" r:id="rId37"/>
    <p:sldLayoutId id="2147483945" r:id="rId38"/>
    <p:sldLayoutId id="2147483946" r:id="rId39"/>
    <p:sldLayoutId id="2147483947" r:id="rId40"/>
    <p:sldLayoutId id="2147483948" r:id="rId41"/>
    <p:sldLayoutId id="2147483949" r:id="rId42"/>
    <p:sldLayoutId id="2147483950" r:id="rId43"/>
    <p:sldLayoutId id="2147483951" r:id="rId44"/>
    <p:sldLayoutId id="2147483952" r:id="rId45"/>
    <p:sldLayoutId id="2147483953" r:id="rId46"/>
    <p:sldLayoutId id="2147483954" r:id="rId47"/>
    <p:sldLayoutId id="2147483955" r:id="rId48"/>
    <p:sldLayoutId id="2147483956" r:id="rId49"/>
    <p:sldLayoutId id="2147483957" r:id="rId50"/>
    <p:sldLayoutId id="2147483958" r:id="rId51"/>
    <p:sldLayoutId id="2147483959" r:id="rId52"/>
    <p:sldLayoutId id="2147483960" r:id="rId53"/>
    <p:sldLayoutId id="2147483961" r:id="rId54"/>
    <p:sldLayoutId id="2147483962" r:id="rId55"/>
    <p:sldLayoutId id="2147483963" r:id="rId56"/>
    <p:sldLayoutId id="2147483964" r:id="rId57"/>
    <p:sldLayoutId id="2147483965" r:id="rId58"/>
    <p:sldLayoutId id="2147483966" r:id="rId59"/>
    <p:sldLayoutId id="2147483967" r:id="rId60"/>
    <p:sldLayoutId id="2147483968" r:id="rId61"/>
    <p:sldLayoutId id="2147483969" r:id="rId62"/>
    <p:sldLayoutId id="2147483970" r:id="rId63"/>
    <p:sldLayoutId id="2147483971" r:id="rId64"/>
    <p:sldLayoutId id="2147483972" r:id="rId65"/>
  </p:sldLayoutIdLst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77" indent="-457177" algn="l" defTabSz="1828709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53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5886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240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594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33">
          <p15:clr>
            <a:srgbClr val="F26B43"/>
          </p15:clr>
        </p15:guide>
        <p15:guide id="2" pos="189">
          <p15:clr>
            <a:srgbClr val="F26B43"/>
          </p15:clr>
        </p15:guide>
        <p15:guide id="3" pos="7491">
          <p15:clr>
            <a:srgbClr val="F26B43"/>
          </p15:clr>
        </p15:guide>
        <p15:guide id="4" orient="horz" pos="18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C0E1020-5692-B545-AA21-2B3AE4D6F2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29531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C0E1020-5692-B545-AA21-2B3AE4D6F2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587600" y="547141"/>
            <a:ext cx="21232812" cy="2554323"/>
          </a:xfrm>
          <a:prstGeom prst="rect">
            <a:avLst/>
          </a:prstGeom>
        </p:spPr>
        <p:txBody>
          <a:bodyPr vert="horz" lIns="0" tIns="198000" rIns="0" bIns="0" rtlCol="0" anchor="t">
            <a:noAutofit/>
          </a:bodyPr>
          <a:lstStyle/>
          <a:p>
            <a:r>
              <a:rPr lang="ru-RU"/>
              <a:t>Образец </a:t>
            </a:r>
            <a:br>
              <a:rPr lang="ru-RU"/>
            </a:br>
            <a:r>
              <a:rPr lang="ru-RU"/>
              <a:t>заголовка</a:t>
            </a:r>
          </a:p>
        </p:txBody>
      </p:sp>
      <p:sp>
        <p:nvSpPr>
          <p:cNvPr id="7" name="Текст 2"/>
          <p:cNvSpPr>
            <a:spLocks noGrp="1"/>
          </p:cNvSpPr>
          <p:nvPr>
            <p:ph type="body" idx="1"/>
          </p:nvPr>
        </p:nvSpPr>
        <p:spPr>
          <a:xfrm>
            <a:off x="1587600" y="3431440"/>
            <a:ext cx="21224775" cy="88177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2"/>
            <a:r>
              <a:rPr lang="ru-RU"/>
              <a:t>Маркированный список</a:t>
            </a:r>
          </a:p>
          <a:p>
            <a:pPr lvl="3"/>
            <a:r>
              <a:rPr lang="ru-RU"/>
              <a:t>Нумерованный список</a:t>
            </a:r>
          </a:p>
          <a:p>
            <a:pPr lvl="4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275574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</p:sldLayoutIdLst>
  <p:hf sldNum="0" hdr="0" dt="0"/>
  <p:txStyles>
    <p:titleStyle>
      <a:lvl1pPr marL="0" algn="l" defTabSz="1828619" rtl="0" eaLnBrk="1" latinLnBrk="0" hangingPunct="1">
        <a:lnSpc>
          <a:spcPct val="100000"/>
        </a:lnSpc>
        <a:spcBef>
          <a:spcPct val="0"/>
        </a:spcBef>
        <a:buNone/>
        <a:defRPr sz="6600" b="0" i="0" kern="1200">
          <a:solidFill>
            <a:schemeClr val="tx2"/>
          </a:solidFill>
          <a:latin typeface="YS Text Medium" pitchFamily="2" charset="77"/>
          <a:ea typeface="+mj-ea"/>
          <a:cs typeface="+mj-cs"/>
        </a:defRPr>
      </a:lvl1pPr>
    </p:titleStyle>
    <p:bodyStyle>
      <a:lvl1pPr marL="0" indent="0" algn="l" defTabSz="182861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Tx/>
        <a:buNone/>
        <a:defRPr sz="3200" b="0" i="0" kern="1200">
          <a:solidFill>
            <a:schemeClr val="tx2"/>
          </a:solidFill>
          <a:latin typeface="YS Text Light" pitchFamily="2" charset="77"/>
          <a:ea typeface="+mn-ea"/>
          <a:cs typeface="+mn-cs"/>
        </a:defRPr>
      </a:lvl1pPr>
      <a:lvl2pPr marL="36" indent="0" algn="l" defTabSz="1907905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20000"/>
        <a:buFont typeface="Arial Unicode MS" panose="020B0604020202020204" pitchFamily="34" charset="-128"/>
        <a:buNone/>
        <a:defRPr sz="3200" b="0" i="0" kern="1200" baseline="0">
          <a:solidFill>
            <a:schemeClr val="tx1"/>
          </a:solidFill>
          <a:latin typeface="YS Text Light" pitchFamily="2" charset="77"/>
          <a:ea typeface="+mn-ea"/>
          <a:cs typeface="+mn-cs"/>
        </a:defRPr>
      </a:lvl2pPr>
      <a:lvl3pPr marL="461237" indent="-457200" algn="l" defTabSz="182861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sz="3200" b="0" i="0" kern="1200">
          <a:solidFill>
            <a:schemeClr val="tx2"/>
          </a:solidFill>
          <a:latin typeface="YS Text Light" pitchFamily="2" charset="77"/>
          <a:ea typeface="+mn-ea"/>
          <a:cs typeface="+mn-cs"/>
        </a:defRPr>
      </a:lvl3pPr>
      <a:lvl4pPr marL="720000" indent="-715963" algn="l" defTabSz="182861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+mj-lt"/>
        <a:buAutoNum type="arabicPeriod"/>
        <a:tabLst/>
        <a:defRPr sz="3200" b="0" i="0" kern="1200">
          <a:solidFill>
            <a:schemeClr val="tx2"/>
          </a:solidFill>
          <a:latin typeface="YS Text Light" pitchFamily="2" charset="77"/>
          <a:ea typeface="+mn-ea"/>
          <a:cs typeface="+mn-cs"/>
        </a:defRPr>
      </a:lvl4pPr>
      <a:lvl5pPr marL="0" indent="0" algn="l" defTabSz="182861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Tx/>
        <a:buNone/>
        <a:defRPr sz="3200" b="0" i="0" kern="1200" baseline="0">
          <a:solidFill>
            <a:schemeClr val="tx2"/>
          </a:solidFill>
          <a:latin typeface="YS Text Light" pitchFamily="2" charset="77"/>
          <a:ea typeface="+mn-ea"/>
          <a:cs typeface="+mn-cs"/>
        </a:defRPr>
      </a:lvl5pPr>
      <a:lvl6pPr marL="5028699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007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315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1623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08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619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927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235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543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852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160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467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762">
          <p15:clr>
            <a:srgbClr val="F26B43"/>
          </p15:clr>
        </p15:guide>
        <p15:guide id="2" pos="6531">
          <p15:clr>
            <a:srgbClr val="F26B43"/>
          </p15:clr>
        </p15:guide>
        <p15:guide id="3" pos="6298">
          <p15:clr>
            <a:srgbClr val="F26B43"/>
          </p15:clr>
        </p15:guide>
        <p15:guide id="4" pos="6067">
          <p15:clr>
            <a:srgbClr val="F26B43"/>
          </p15:clr>
        </p15:guide>
        <p15:guide id="5" pos="5834">
          <p15:clr>
            <a:srgbClr val="F26B43"/>
          </p15:clr>
        </p15:guide>
        <p15:guide id="6" pos="5603">
          <p15:clr>
            <a:srgbClr val="F26B43"/>
          </p15:clr>
        </p15:guide>
        <p15:guide id="8" pos="5148">
          <p15:clr>
            <a:srgbClr val="F26B43"/>
          </p15:clr>
        </p15:guide>
        <p15:guide id="9" pos="4915">
          <p15:clr>
            <a:srgbClr val="F26B43"/>
          </p15:clr>
        </p15:guide>
        <p15:guide id="10" pos="4682">
          <p15:clr>
            <a:srgbClr val="F26B43"/>
          </p15:clr>
        </p15:guide>
        <p15:guide id="11" pos="4451">
          <p15:clr>
            <a:srgbClr val="F26B43"/>
          </p15:clr>
        </p15:guide>
        <p15:guide id="12" pos="4218">
          <p15:clr>
            <a:srgbClr val="F26B43"/>
          </p15:clr>
        </p15:guide>
        <p15:guide id="13" pos="3763">
          <p15:clr>
            <a:srgbClr val="F26B43"/>
          </p15:clr>
        </p15:guide>
        <p15:guide id="14" pos="3994">
          <p15:clr>
            <a:srgbClr val="F26B43"/>
          </p15:clr>
        </p15:guide>
        <p15:guide id="15" pos="3530">
          <p15:clr>
            <a:srgbClr val="F26B43"/>
          </p15:clr>
        </p15:guide>
        <p15:guide id="16" pos="3299">
          <p15:clr>
            <a:srgbClr val="F26B43"/>
          </p15:clr>
        </p15:guide>
        <p15:guide id="17" pos="2835">
          <p15:clr>
            <a:srgbClr val="F26B43"/>
          </p15:clr>
        </p15:guide>
        <p15:guide id="19" pos="2611">
          <p15:clr>
            <a:srgbClr val="F26B43"/>
          </p15:clr>
        </p15:guide>
        <p15:guide id="20" pos="2378">
          <p15:clr>
            <a:srgbClr val="F26B43"/>
          </p15:clr>
        </p15:guide>
        <p15:guide id="21" pos="2147">
          <p15:clr>
            <a:srgbClr val="F26B43"/>
          </p15:clr>
        </p15:guide>
        <p15:guide id="25" pos="6986">
          <p15:clr>
            <a:srgbClr val="F26B43"/>
          </p15:clr>
        </p15:guide>
        <p15:guide id="27" pos="7219">
          <p15:clr>
            <a:srgbClr val="F26B43"/>
          </p15:clr>
        </p15:guide>
        <p15:guide id="29" pos="7913">
          <p15:clr>
            <a:srgbClr val="F26B43"/>
          </p15:clr>
        </p15:guide>
        <p15:guide id="30" pos="8146">
          <p15:clr>
            <a:srgbClr val="F26B43"/>
          </p15:clr>
        </p15:guide>
        <p15:guide id="31" pos="8372">
          <p15:clr>
            <a:srgbClr val="F26B43"/>
          </p15:clr>
        </p15:guide>
        <p15:guide id="32" pos="8602">
          <p15:clr>
            <a:srgbClr val="F26B43"/>
          </p15:clr>
        </p15:guide>
        <p15:guide id="33" pos="9529">
          <p15:clr>
            <a:srgbClr val="F26B43"/>
          </p15:clr>
        </p15:guide>
        <p15:guide id="34" pos="8834">
          <p15:clr>
            <a:srgbClr val="F26B43"/>
          </p15:clr>
        </p15:guide>
        <p15:guide id="35" pos="9754">
          <p15:clr>
            <a:srgbClr val="F26B43"/>
          </p15:clr>
        </p15:guide>
        <p15:guide id="36" pos="10681">
          <p15:clr>
            <a:srgbClr val="F26B43"/>
          </p15:clr>
        </p15:guide>
        <p15:guide id="38" pos="10218">
          <p15:clr>
            <a:srgbClr val="F26B43"/>
          </p15:clr>
        </p15:guide>
        <p15:guide id="39" pos="12522">
          <p15:clr>
            <a:srgbClr val="F26B43"/>
          </p15:clr>
        </p15:guide>
        <p15:guide id="40" pos="10450">
          <p15:clr>
            <a:srgbClr val="F26B43"/>
          </p15:clr>
        </p15:guide>
        <p15:guide id="41" pos="10909">
          <p15:clr>
            <a:srgbClr val="F26B43"/>
          </p15:clr>
        </p15:guide>
        <p15:guide id="42" pos="11138">
          <p15:clr>
            <a:srgbClr val="F26B43"/>
          </p15:clr>
        </p15:guide>
        <p15:guide id="44" pos="11370">
          <p15:clr>
            <a:srgbClr val="F26B43"/>
          </p15:clr>
        </p15:guide>
        <p15:guide id="45" pos="11602">
          <p15:clr>
            <a:srgbClr val="F26B43"/>
          </p15:clr>
        </p15:guide>
        <p15:guide id="47" pos="11833">
          <p15:clr>
            <a:srgbClr val="F26B43"/>
          </p15:clr>
        </p15:guide>
        <p15:guide id="48" orient="horz" pos="4260">
          <p15:clr>
            <a:srgbClr val="F26B43"/>
          </p15:clr>
        </p15:guide>
        <p15:guide id="49" orient="horz" pos="4027">
          <p15:clr>
            <a:srgbClr val="F26B43"/>
          </p15:clr>
        </p15:guide>
        <p15:guide id="50" orient="horz" pos="3796">
          <p15:clr>
            <a:srgbClr val="F26B43"/>
          </p15:clr>
        </p15:guide>
        <p15:guide id="51" orient="horz" pos="3107">
          <p15:clr>
            <a:srgbClr val="F26B43"/>
          </p15:clr>
        </p15:guide>
        <p15:guide id="52" orient="horz" pos="2875">
          <p15:clr>
            <a:srgbClr val="F26B43"/>
          </p15:clr>
        </p15:guide>
        <p15:guide id="53" orient="horz" pos="2641">
          <p15:clr>
            <a:srgbClr val="F26B43"/>
          </p15:clr>
        </p15:guide>
        <p15:guide id="54" orient="horz" pos="2408">
          <p15:clr>
            <a:srgbClr val="F26B43"/>
          </p15:clr>
        </p15:guide>
        <p15:guide id="57" orient="horz" pos="1723">
          <p15:clr>
            <a:srgbClr val="F26B43"/>
          </p15:clr>
        </p15:guide>
        <p15:guide id="62" orient="horz" pos="4494">
          <p15:clr>
            <a:srgbClr val="F26B43"/>
          </p15:clr>
        </p15:guide>
        <p15:guide id="63" orient="horz" pos="4722">
          <p15:clr>
            <a:srgbClr val="F26B43"/>
          </p15:clr>
        </p15:guide>
        <p15:guide id="64" orient="horz" pos="5179">
          <p15:clr>
            <a:srgbClr val="F26B43"/>
          </p15:clr>
        </p15:guide>
        <p15:guide id="65" orient="horz" pos="5412">
          <p15:clr>
            <a:srgbClr val="F26B43"/>
          </p15:clr>
        </p15:guide>
        <p15:guide id="66" orient="horz" pos="5635">
          <p15:clr>
            <a:srgbClr val="F26B43"/>
          </p15:clr>
        </p15:guide>
        <p15:guide id="67" orient="horz" pos="5874">
          <p15:clr>
            <a:srgbClr val="F26B43"/>
          </p15:clr>
        </p15:guide>
        <p15:guide id="68" orient="horz" pos="6097">
          <p15:clr>
            <a:srgbClr val="F26B43"/>
          </p15:clr>
        </p15:guide>
        <p15:guide id="69" orient="horz" pos="6331">
          <p15:clr>
            <a:srgbClr val="F26B43"/>
          </p15:clr>
        </p15:guide>
        <p15:guide id="70" orient="horz" pos="6564">
          <p15:clr>
            <a:srgbClr val="F26B43"/>
          </p15:clr>
        </p15:guide>
        <p15:guide id="71" orient="horz" pos="6792">
          <p15:clr>
            <a:srgbClr val="F26B43"/>
          </p15:clr>
        </p15:guide>
        <p15:guide id="72" orient="horz" pos="7483">
          <p15:clr>
            <a:srgbClr val="F26B43"/>
          </p15:clr>
        </p15:guide>
        <p15:guide id="73" orient="horz" pos="7254">
          <p15:clr>
            <a:srgbClr val="F26B43"/>
          </p15:clr>
        </p15:guide>
        <p15:guide id="74" orient="horz" pos="7026">
          <p15:clr>
            <a:srgbClr val="F26B43"/>
          </p15:clr>
        </p15:guide>
        <p15:guide id="75" pos="7450">
          <p15:clr>
            <a:srgbClr val="F26B43"/>
          </p15:clr>
        </p15:guide>
        <p15:guide id="76" orient="horz" pos="3559">
          <p15:clr>
            <a:srgbClr val="F26B43"/>
          </p15:clr>
        </p15:guide>
        <p15:guide id="77" orient="horz" pos="3338">
          <p15:clr>
            <a:srgbClr val="F26B43"/>
          </p15:clr>
        </p15:guide>
        <p15:guide id="78" orient="horz" pos="4945">
          <p15:clr>
            <a:srgbClr val="F26B43"/>
          </p15:clr>
        </p15:guide>
        <p15:guide id="79" pos="1912">
          <p15:clr>
            <a:srgbClr val="F26B43"/>
          </p15:clr>
        </p15:guide>
        <p15:guide id="80" pos="1681">
          <p15:clr>
            <a:srgbClr val="F26B43"/>
          </p15:clr>
        </p15:guide>
        <p15:guide id="81" pos="1450">
          <p15:clr>
            <a:srgbClr val="F26B43"/>
          </p15:clr>
        </p15:guide>
        <p15:guide id="87" pos="12065">
          <p15:clr>
            <a:srgbClr val="F26B43"/>
          </p15:clr>
        </p15:guide>
        <p15:guide id="89" pos="12754">
          <p15:clr>
            <a:srgbClr val="F26B43"/>
          </p15:clr>
        </p15:guide>
        <p15:guide id="90" pos="12985">
          <p15:clr>
            <a:srgbClr val="F26B43"/>
          </p15:clr>
        </p15:guide>
        <p15:guide id="92" pos="13217">
          <p15:clr>
            <a:srgbClr val="F26B43"/>
          </p15:clr>
        </p15:guide>
        <p15:guide id="93" orient="horz" pos="793">
          <p15:clr>
            <a:srgbClr val="F26B43"/>
          </p15:clr>
        </p15:guide>
        <p15:guide id="94" pos="13449">
          <p15:clr>
            <a:srgbClr val="F26B43"/>
          </p15:clr>
        </p15:guide>
        <p15:guide id="95" pos="13681">
          <p15:clr>
            <a:srgbClr val="F26B43"/>
          </p15:clr>
        </p15:guide>
        <p15:guide id="96" pos="13906">
          <p15:clr>
            <a:srgbClr val="F26B43"/>
          </p15:clr>
        </p15:guide>
        <p15:guide id="97" pos="14141">
          <p15:clr>
            <a:srgbClr val="F26B43"/>
          </p15:clr>
        </p15:guide>
        <p15:guide id="101" pos="9066">
          <p15:clr>
            <a:srgbClr val="F26B43"/>
          </p15:clr>
        </p15:guide>
        <p15:guide id="102" pos="9298">
          <p15:clr>
            <a:srgbClr val="F26B43"/>
          </p15:clr>
        </p15:guide>
        <p15:guide id="104" orient="horz" pos="1261">
          <p15:clr>
            <a:srgbClr val="F26B43"/>
          </p15:clr>
        </p15:guide>
        <p15:guide id="108" orient="horz" pos="7716">
          <p15:clr>
            <a:srgbClr val="F26B43"/>
          </p15:clr>
        </p15:guide>
        <p15:guide id="109" orient="horz" pos="1027">
          <p15:clr>
            <a:srgbClr val="F26B43"/>
          </p15:clr>
        </p15:guide>
        <p15:guide id="111" orient="horz" pos="1494">
          <p15:clr>
            <a:srgbClr val="F26B43"/>
          </p15:clr>
        </p15:guide>
        <p15:guide id="112" pos="1226">
          <p15:clr>
            <a:srgbClr val="F26B43"/>
          </p15:clr>
        </p15:guide>
        <p15:guide id="113" pos="995">
          <p15:clr>
            <a:srgbClr val="F26B43"/>
          </p15:clr>
        </p15:guide>
        <p15:guide id="118" orient="horz" pos="2177">
          <p15:clr>
            <a:srgbClr val="F26B43"/>
          </p15:clr>
        </p15:guide>
        <p15:guide id="122" pos="14370">
          <p15:clr>
            <a:srgbClr val="F26B43"/>
          </p15:clr>
        </p15:guide>
        <p15:guide id="123" orient="horz" pos="571">
          <p15:clr>
            <a:srgbClr val="F26B43"/>
          </p15:clr>
        </p15:guide>
        <p15:guide id="124" orient="horz" pos="8178">
          <p15:clr>
            <a:srgbClr val="F26B43"/>
          </p15:clr>
        </p15:guide>
        <p15:guide id="125" orient="horz" pos="7946">
          <p15:clr>
            <a:srgbClr val="F26B43"/>
          </p15:clr>
        </p15:guide>
        <p15:guide id="126" orient="horz" pos="195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9759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7" r:id="rId1"/>
    <p:sldLayoutId id="2147484068" r:id="rId2"/>
    <p:sldLayoutId id="2147484069" r:id="rId3"/>
    <p:sldLayoutId id="2147484070" r:id="rId4"/>
    <p:sldLayoutId id="2147484071" r:id="rId5"/>
    <p:sldLayoutId id="2147484072" r:id="rId6"/>
    <p:sldLayoutId id="2147484073" r:id="rId7"/>
    <p:sldLayoutId id="2147484074" r:id="rId8"/>
    <p:sldLayoutId id="2147484075" r:id="rId9"/>
    <p:sldLayoutId id="2147484076" r:id="rId10"/>
    <p:sldLayoutId id="2147484077" r:id="rId11"/>
    <p:sldLayoutId id="2147484078" r:id="rId12"/>
    <p:sldLayoutId id="2147484079" r:id="rId13"/>
    <p:sldLayoutId id="2147484080" r:id="rId14"/>
    <p:sldLayoutId id="2147484081" r:id="rId15"/>
    <p:sldLayoutId id="2147484082" r:id="rId16"/>
    <p:sldLayoutId id="2147484083" r:id="rId17"/>
    <p:sldLayoutId id="2147484084" r:id="rId18"/>
    <p:sldLayoutId id="2147484085" r:id="rId19"/>
    <p:sldLayoutId id="2147484086" r:id="rId20"/>
    <p:sldLayoutId id="2147484087" r:id="rId21"/>
    <p:sldLayoutId id="2147484088" r:id="rId22"/>
    <p:sldLayoutId id="2147484089" r:id="rId23"/>
    <p:sldLayoutId id="2147484090" r:id="rId24"/>
    <p:sldLayoutId id="2147484091" r:id="rId25"/>
    <p:sldLayoutId id="2147484092" r:id="rId26"/>
    <p:sldLayoutId id="2147484093" r:id="rId27"/>
    <p:sldLayoutId id="2147484094" r:id="rId28"/>
    <p:sldLayoutId id="2147484095" r:id="rId29"/>
    <p:sldLayoutId id="2147484096" r:id="rId30"/>
    <p:sldLayoutId id="2147484097" r:id="rId31"/>
  </p:sldLayoutIdLst>
  <p:hf hdr="0" dt="0"/>
  <p:txStyles>
    <p:titleStyle>
      <a:lvl1pPr marL="0" algn="l" defTabSz="1828619" rtl="0" eaLnBrk="1" latinLnBrk="0" hangingPunct="1">
        <a:lnSpc>
          <a:spcPct val="100000"/>
        </a:lnSpc>
        <a:spcBef>
          <a:spcPct val="0"/>
        </a:spcBef>
        <a:buNone/>
        <a:defRPr lang="ru-RU" sz="8000" b="0" kern="1200" dirty="0">
          <a:solidFill>
            <a:schemeClr val="tx1"/>
          </a:solidFill>
          <a:effectLst/>
          <a:latin typeface="+mj-lt"/>
          <a:ea typeface="+mj-ea"/>
          <a:cs typeface="YS TextDisplay Wide Heavy Wide " pitchFamily="2" charset="-52"/>
        </a:defRPr>
      </a:lvl1pPr>
    </p:titleStyle>
    <p:bodyStyle>
      <a:lvl1pPr marL="0" indent="0" algn="l" defTabSz="182861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Tx/>
        <a:buNone/>
        <a:defRPr sz="3200" kern="1200">
          <a:solidFill>
            <a:schemeClr val="tx1"/>
          </a:solidFill>
          <a:latin typeface="YS Text Regular" pitchFamily="2" charset="-52"/>
          <a:ea typeface="+mn-ea"/>
          <a:cs typeface="+mn-cs"/>
        </a:defRPr>
      </a:lvl1pPr>
      <a:lvl2pPr marL="720000" indent="-719964" algn="l" defTabSz="1907905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20000"/>
        <a:buFont typeface="Arial Unicode MS" panose="020B0604020202020204" pitchFamily="34" charset="-128"/>
        <a:buChar char="▎"/>
        <a:defRPr sz="3200" b="1" kern="1200" baseline="0">
          <a:solidFill>
            <a:schemeClr val="tx1"/>
          </a:solidFill>
          <a:latin typeface="YS Text Regular" pitchFamily="2" charset="-52"/>
          <a:ea typeface="+mn-ea"/>
          <a:cs typeface="+mn-cs"/>
        </a:defRPr>
      </a:lvl2pPr>
      <a:lvl3pPr marL="720000" indent="-715963" algn="l" defTabSz="182861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50000"/>
        <a:buFont typeface="YS Text Light" pitchFamily="2" charset="-52"/>
        <a:buChar char="›"/>
        <a:tabLst/>
        <a:defRPr sz="3200" kern="1200">
          <a:solidFill>
            <a:schemeClr val="tx1"/>
          </a:solidFill>
          <a:latin typeface="YS Text Regular" pitchFamily="2" charset="-52"/>
          <a:ea typeface="+mn-ea"/>
          <a:cs typeface="+mn-cs"/>
        </a:defRPr>
      </a:lvl3pPr>
      <a:lvl4pPr marL="720000" indent="-715963" algn="l" defTabSz="182861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+mj-lt"/>
        <a:buAutoNum type="arabicPeriod"/>
        <a:tabLst/>
        <a:defRPr sz="3200" kern="1200">
          <a:solidFill>
            <a:schemeClr val="tx1"/>
          </a:solidFill>
          <a:latin typeface="YS Text Regular" pitchFamily="2" charset="-52"/>
          <a:ea typeface="+mn-ea"/>
          <a:cs typeface="+mn-cs"/>
        </a:defRPr>
      </a:lvl4pPr>
      <a:lvl5pPr marL="0" indent="0" algn="l" defTabSz="182861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Tx/>
        <a:buNone/>
        <a:defRPr sz="3200" kern="1200" baseline="0">
          <a:solidFill>
            <a:schemeClr val="tx1"/>
          </a:solidFill>
          <a:latin typeface="YS Text Regular" pitchFamily="2" charset="-52"/>
          <a:ea typeface="+mn-ea"/>
          <a:cs typeface="+mn-cs"/>
        </a:defRPr>
      </a:lvl5pPr>
      <a:lvl6pPr marL="5028699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007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315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1623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08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619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927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235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543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852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160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467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4187">
          <p15:clr>
            <a:srgbClr val="F26B43"/>
          </p15:clr>
        </p15:guide>
        <p15:guide id="38" pos="11172">
          <p15:clr>
            <a:srgbClr val="F26B43"/>
          </p15:clr>
        </p15:guide>
        <p15:guide id="40" pos="11422">
          <p15:clr>
            <a:srgbClr val="F26B43"/>
          </p15:clr>
        </p15:guide>
        <p15:guide id="122" pos="14778">
          <p15:clr>
            <a:srgbClr val="F26B43"/>
          </p15:clr>
        </p15:guide>
        <p15:guide id="123" orient="horz" pos="532">
          <p15:clr>
            <a:srgbClr val="F26B43"/>
          </p15:clr>
        </p15:guide>
        <p15:guide id="124" orient="horz" pos="8108">
          <p15:clr>
            <a:srgbClr val="F26B43"/>
          </p15:clr>
        </p15:guide>
        <p15:guide id="127" pos="581">
          <p15:clr>
            <a:srgbClr val="F26B43"/>
          </p15:clr>
        </p15:guide>
        <p15:guide id="128" pos="3915">
          <p15:clr>
            <a:srgbClr val="F26B43"/>
          </p15:clr>
        </p15:guide>
        <p15:guide id="129" pos="7521">
          <p15:clr>
            <a:srgbClr val="F26B43"/>
          </p15:clr>
        </p15:guide>
        <p15:guide id="130" pos="783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21C68CCE-33A3-5444-47E8-E7FA0C36EEBD}"/>
              </a:ext>
            </a:extLst>
          </p:cNvPr>
          <p:cNvGrpSpPr/>
          <p:nvPr userDrawn="1"/>
        </p:nvGrpSpPr>
        <p:grpSpPr>
          <a:xfrm>
            <a:off x="24859460" y="5102092"/>
            <a:ext cx="636063" cy="8613908"/>
            <a:chOff x="12430539" y="0"/>
            <a:chExt cx="318052" cy="4306954"/>
          </a:xfrm>
        </p:grpSpPr>
        <p:sp>
          <p:nvSpPr>
            <p:cNvPr id="2" name="Прямоугольник 1">
              <a:extLst>
                <a:ext uri="{FF2B5EF4-FFF2-40B4-BE49-F238E27FC236}">
                  <a16:creationId xmlns:a16="http://schemas.microsoft.com/office/drawing/2014/main" id="{5E1F9A2A-8B6B-712E-008C-ABD7F92B291B}"/>
                </a:ext>
              </a:extLst>
            </p:cNvPr>
            <p:cNvSpPr/>
            <p:nvPr userDrawn="1"/>
          </p:nvSpPr>
          <p:spPr>
            <a:xfrm>
              <a:off x="12430539" y="0"/>
              <a:ext cx="318052" cy="318052"/>
            </a:xfrm>
            <a:prstGeom prst="rect">
              <a:avLst/>
            </a:prstGeom>
            <a:solidFill>
              <a:srgbClr val="799D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/>
            </a:p>
          </p:txBody>
        </p:sp>
        <p:sp>
          <p:nvSpPr>
            <p:cNvPr id="3" name="Прямоугольник 2">
              <a:extLst>
                <a:ext uri="{FF2B5EF4-FFF2-40B4-BE49-F238E27FC236}">
                  <a16:creationId xmlns:a16="http://schemas.microsoft.com/office/drawing/2014/main" id="{E7ACFCBD-3576-BBAF-FBE3-1B28F10D6FFA}"/>
                </a:ext>
              </a:extLst>
            </p:cNvPr>
            <p:cNvSpPr/>
            <p:nvPr userDrawn="1"/>
          </p:nvSpPr>
          <p:spPr>
            <a:xfrm>
              <a:off x="12430539" y="443211"/>
              <a:ext cx="318052" cy="318052"/>
            </a:xfrm>
            <a:prstGeom prst="rect">
              <a:avLst/>
            </a:prstGeom>
            <a:solidFill>
              <a:srgbClr val="FDABB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/>
            </a:p>
          </p:txBody>
        </p:sp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C48B34DC-51F7-2724-702F-FE179234B954}"/>
                </a:ext>
              </a:extLst>
            </p:cNvPr>
            <p:cNvSpPr/>
            <p:nvPr userDrawn="1"/>
          </p:nvSpPr>
          <p:spPr>
            <a:xfrm>
              <a:off x="12430539" y="886422"/>
              <a:ext cx="318052" cy="318052"/>
            </a:xfrm>
            <a:prstGeom prst="rect">
              <a:avLst/>
            </a:prstGeom>
            <a:solidFill>
              <a:srgbClr val="873DF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/>
            </a:p>
          </p:txBody>
        </p:sp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71986F88-5198-C26C-AF2F-38F0085C2655}"/>
                </a:ext>
              </a:extLst>
            </p:cNvPr>
            <p:cNvSpPr/>
            <p:nvPr userDrawn="1"/>
          </p:nvSpPr>
          <p:spPr>
            <a:xfrm>
              <a:off x="12430539" y="1329633"/>
              <a:ext cx="318052" cy="318052"/>
            </a:xfrm>
            <a:prstGeom prst="rect">
              <a:avLst/>
            </a:prstGeom>
            <a:solidFill>
              <a:srgbClr val="FC6D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/>
            </a:p>
          </p:txBody>
        </p:sp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5F1371E0-6FF5-EF0A-C7BD-AA8AB4EFA699}"/>
                </a:ext>
              </a:extLst>
            </p:cNvPr>
            <p:cNvSpPr/>
            <p:nvPr userDrawn="1"/>
          </p:nvSpPr>
          <p:spPr>
            <a:xfrm>
              <a:off x="12430539" y="1772844"/>
              <a:ext cx="318052" cy="318052"/>
            </a:xfrm>
            <a:prstGeom prst="rect">
              <a:avLst/>
            </a:prstGeom>
            <a:solidFill>
              <a:srgbClr val="406E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/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D882792F-46FB-8FC4-725B-179440568B44}"/>
                </a:ext>
              </a:extLst>
            </p:cNvPr>
            <p:cNvSpPr/>
            <p:nvPr userDrawn="1"/>
          </p:nvSpPr>
          <p:spPr>
            <a:xfrm>
              <a:off x="12430539" y="2216055"/>
              <a:ext cx="318052" cy="318052"/>
            </a:xfrm>
            <a:prstGeom prst="rect">
              <a:avLst/>
            </a:prstGeom>
            <a:solidFill>
              <a:srgbClr val="FB38B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/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04A72179-7DFD-5198-2100-7C77C7340BE3}"/>
                </a:ext>
              </a:extLst>
            </p:cNvPr>
            <p:cNvSpPr/>
            <p:nvPr userDrawn="1"/>
          </p:nvSpPr>
          <p:spPr>
            <a:xfrm>
              <a:off x="12430539" y="2659266"/>
              <a:ext cx="318052" cy="318052"/>
            </a:xfrm>
            <a:prstGeom prst="rect">
              <a:avLst/>
            </a:prstGeom>
            <a:solidFill>
              <a:srgbClr val="C1BB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/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9A9FB066-D415-739A-06C2-C4FFCA61A3B0}"/>
                </a:ext>
              </a:extLst>
            </p:cNvPr>
            <p:cNvSpPr/>
            <p:nvPr userDrawn="1"/>
          </p:nvSpPr>
          <p:spPr>
            <a:xfrm>
              <a:off x="12430539" y="3102477"/>
              <a:ext cx="318052" cy="318052"/>
            </a:xfrm>
            <a:prstGeom prst="rect">
              <a:avLst/>
            </a:prstGeom>
            <a:solidFill>
              <a:srgbClr val="F6EB7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/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F714F75C-7E68-CA22-F434-2D518C867711}"/>
                </a:ext>
              </a:extLst>
            </p:cNvPr>
            <p:cNvSpPr/>
            <p:nvPr userDrawn="1"/>
          </p:nvSpPr>
          <p:spPr>
            <a:xfrm>
              <a:off x="12430539" y="3545688"/>
              <a:ext cx="318052" cy="318052"/>
            </a:xfrm>
            <a:prstGeom prst="rect">
              <a:avLst/>
            </a:prstGeom>
            <a:solidFill>
              <a:srgbClr val="83E6F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/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03D245D6-7133-19E8-A9BE-FACA5A74EFE7}"/>
                </a:ext>
              </a:extLst>
            </p:cNvPr>
            <p:cNvSpPr/>
            <p:nvPr userDrawn="1"/>
          </p:nvSpPr>
          <p:spPr>
            <a:xfrm>
              <a:off x="12430539" y="3988902"/>
              <a:ext cx="318052" cy="318052"/>
            </a:xfrm>
            <a:prstGeom prst="rect">
              <a:avLst/>
            </a:prstGeom>
            <a:solidFill>
              <a:srgbClr val="FEB59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/>
            </a:p>
          </p:txBody>
        </p:sp>
      </p:grpSp>
    </p:spTree>
    <p:extLst>
      <p:ext uri="{BB962C8B-B14F-4D97-AF65-F5344CB8AC3E}">
        <p14:creationId xmlns:p14="http://schemas.microsoft.com/office/powerpoint/2010/main" val="1500310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9" r:id="rId1"/>
    <p:sldLayoutId id="2147484100" r:id="rId2"/>
    <p:sldLayoutId id="2147484101" r:id="rId3"/>
    <p:sldLayoutId id="2147484102" r:id="rId4"/>
    <p:sldLayoutId id="2147484103" r:id="rId5"/>
    <p:sldLayoutId id="2147484104" r:id="rId6"/>
    <p:sldLayoutId id="2147484105" r:id="rId7"/>
    <p:sldLayoutId id="2147484106" r:id="rId8"/>
    <p:sldLayoutId id="2147484107" r:id="rId9"/>
    <p:sldLayoutId id="2147484108" r:id="rId10"/>
    <p:sldLayoutId id="2147484109" r:id="rId11"/>
    <p:sldLayoutId id="2147484110" r:id="rId12"/>
    <p:sldLayoutId id="2147484111" r:id="rId13"/>
    <p:sldLayoutId id="2147484112" r:id="rId14"/>
    <p:sldLayoutId id="2147484113" r:id="rId15"/>
    <p:sldLayoutId id="2147484114" r:id="rId16"/>
    <p:sldLayoutId id="2147484115" r:id="rId17"/>
    <p:sldLayoutId id="2147484116" r:id="rId18"/>
    <p:sldLayoutId id="2147484117" r:id="rId19"/>
    <p:sldLayoutId id="2147484118" r:id="rId20"/>
    <p:sldLayoutId id="2147484119" r:id="rId21"/>
    <p:sldLayoutId id="2147484120" r:id="rId22"/>
    <p:sldLayoutId id="2147484121" r:id="rId23"/>
    <p:sldLayoutId id="2147484122" r:id="rId24"/>
    <p:sldLayoutId id="2147484123" r:id="rId25"/>
    <p:sldLayoutId id="2147484124" r:id="rId26"/>
    <p:sldLayoutId id="2147484125" r:id="rId27"/>
    <p:sldLayoutId id="2147484126" r:id="rId28"/>
    <p:sldLayoutId id="2147484127" r:id="rId29"/>
    <p:sldLayoutId id="2147484128" r:id="rId30"/>
    <p:sldLayoutId id="2147484129" r:id="rId31"/>
    <p:sldLayoutId id="2147484130" r:id="rId32"/>
    <p:sldLayoutId id="2147484131" r:id="rId33"/>
    <p:sldLayoutId id="2147484132" r:id="rId34"/>
    <p:sldLayoutId id="2147484133" r:id="rId35"/>
    <p:sldLayoutId id="2147484134" r:id="rId36"/>
    <p:sldLayoutId id="2147484135" r:id="rId37"/>
    <p:sldLayoutId id="2147484136" r:id="rId38"/>
    <p:sldLayoutId id="2147484137" r:id="rId39"/>
    <p:sldLayoutId id="2147484138" r:id="rId40"/>
    <p:sldLayoutId id="2147484139" r:id="rId41"/>
    <p:sldLayoutId id="2147484140" r:id="rId42"/>
    <p:sldLayoutId id="2147484141" r:id="rId43"/>
    <p:sldLayoutId id="2147484142" r:id="rId44"/>
    <p:sldLayoutId id="2147484143" r:id="rId45"/>
    <p:sldLayoutId id="2147484144" r:id="rId46"/>
    <p:sldLayoutId id="2147484145" r:id="rId47"/>
    <p:sldLayoutId id="2147484146" r:id="rId48"/>
    <p:sldLayoutId id="2147484147" r:id="rId49"/>
    <p:sldLayoutId id="2147484148" r:id="rId50"/>
    <p:sldLayoutId id="2147484149" r:id="rId51"/>
    <p:sldLayoutId id="2147484150" r:id="rId52"/>
    <p:sldLayoutId id="2147484151" r:id="rId53"/>
    <p:sldLayoutId id="2147484152" r:id="rId54"/>
    <p:sldLayoutId id="2147484153" r:id="rId55"/>
    <p:sldLayoutId id="2147484154" r:id="rId56"/>
    <p:sldLayoutId id="2147484155" r:id="rId57"/>
    <p:sldLayoutId id="2147484156" r:id="rId58"/>
    <p:sldLayoutId id="2147484157" r:id="rId59"/>
    <p:sldLayoutId id="2147484158" r:id="rId60"/>
    <p:sldLayoutId id="2147484159" r:id="rId61"/>
    <p:sldLayoutId id="2147484160" r:id="rId62"/>
    <p:sldLayoutId id="2147484161" r:id="rId63"/>
    <p:sldLayoutId id="2147484162" r:id="rId64"/>
    <p:sldLayoutId id="2147484163" r:id="rId65"/>
    <p:sldLayoutId id="2147484164" r:id="rId66"/>
  </p:sldLayoutIdLst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77" indent="-457177" algn="l" defTabSz="1828709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53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5886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240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594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33">
          <p15:clr>
            <a:srgbClr val="F26B43"/>
          </p15:clr>
        </p15:guide>
        <p15:guide id="2" pos="189">
          <p15:clr>
            <a:srgbClr val="F26B43"/>
          </p15:clr>
        </p15:guide>
        <p15:guide id="3" pos="7491">
          <p15:clr>
            <a:srgbClr val="F26B43"/>
          </p15:clr>
        </p15:guide>
        <p15:guide id="4" orient="horz" pos="18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4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3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3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3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13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1.xml"/><Relationship Id="rId7" Type="http://schemas.openxmlformats.org/officeDocument/2006/relationships/image" Target="../media/image70.jpeg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6" Type="http://schemas.openxmlformats.org/officeDocument/2006/relationships/image" Target="../media/image69.png"/><Relationship Id="rId5" Type="http://schemas.openxmlformats.org/officeDocument/2006/relationships/hyperlink" Target="https://www.youtube.com/watch?v=MowergwQR5Y" TargetMode="External"/><Relationship Id="rId4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13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1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hyperlink" Target="https://www.therobotreport.com/china-plans-to-mass-produce-humanoids-by-2025/" TargetMode="External"/><Relationship Id="rId4" Type="http://schemas.openxmlformats.org/officeDocument/2006/relationships/image" Target="../media/image7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5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7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50.xml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13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3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44.xml"/><Relationship Id="rId4" Type="http://schemas.openxmlformats.org/officeDocument/2006/relationships/image" Target="../media/image81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31.xml"/><Relationship Id="rId6" Type="http://schemas.openxmlformats.org/officeDocument/2006/relationships/image" Target="../media/image57.sv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5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04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eg"/><Relationship Id="rId3" Type="http://schemas.microsoft.com/office/2007/relationships/hdphoto" Target="../media/hdphoto1.wdp"/><Relationship Id="rId7" Type="http://schemas.openxmlformats.org/officeDocument/2006/relationships/image" Target="../media/image59.jp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1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10" Type="http://schemas.openxmlformats.org/officeDocument/2006/relationships/image" Target="../media/image62.png"/><Relationship Id="rId4" Type="http://schemas.openxmlformats.org/officeDocument/2006/relationships/image" Target="../media/image25.png"/><Relationship Id="rId9" Type="http://schemas.openxmlformats.org/officeDocument/2006/relationships/image" Target="../media/image6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13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3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1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7249DC9-1D32-9467-E60E-97717523653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-783771" y="0"/>
            <a:ext cx="13944600" cy="13944600"/>
          </a:xfrm>
          <a:prstGeom prst="rect">
            <a:avLst/>
          </a:prstGeom>
          <a:effectLst>
            <a:softEdge rad="760744"/>
          </a:effec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E7022739-4DCB-4D28-86B7-82A8DF0C9E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12364" y="1217080"/>
            <a:ext cx="10169884" cy="1629357"/>
          </a:xfrm>
        </p:spPr>
        <p:txBody>
          <a:bodyPr/>
          <a:lstStyle/>
          <a:p>
            <a:br>
              <a:rPr lang="ru-RU" sz="90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6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E73FE0A-3064-854F-9849-2783D95F3218}"/>
              </a:ext>
            </a:extLst>
          </p:cNvPr>
          <p:cNvSpPr txBox="1">
            <a:spLocks/>
          </p:cNvSpPr>
          <p:nvPr/>
        </p:nvSpPr>
        <p:spPr>
          <a:xfrm>
            <a:off x="14412364" y="10198237"/>
            <a:ext cx="7649348" cy="984885"/>
          </a:xfrm>
          <a:prstGeom prst="rect">
            <a:avLst/>
          </a:prstGeom>
        </p:spPr>
        <p:txBody>
          <a:bodyPr/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44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3200" b="0" i="0" kern="1200">
                <a:solidFill>
                  <a:schemeClr val="tx1"/>
                </a:solidFill>
                <a:latin typeface="YS Text Bold" pitchFamily="2" charset="-52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3200" b="0" i="0" kern="1200">
                <a:solidFill>
                  <a:schemeClr val="tx1"/>
                </a:solidFill>
                <a:latin typeface="YS Text Regular" pitchFamily="2" charset="-52"/>
                <a:ea typeface="+mn-ea"/>
                <a:cs typeface="+mn-cs"/>
              </a:defRPr>
            </a:lvl3pPr>
            <a:lvl4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YS Text Regular" pitchFamily="2" charset="-52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YS Text Regular" pitchFamily="2" charset="-52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Андрей </a:t>
            </a:r>
            <a:r>
              <a:rPr kumimoji="0" lang="ru-RU" sz="4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ебрант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3564067-D066-5440-98E2-9C12701B3F54}"/>
              </a:ext>
            </a:extLst>
          </p:cNvPr>
          <p:cNvSpPr txBox="1">
            <a:spLocks/>
          </p:cNvSpPr>
          <p:nvPr/>
        </p:nvSpPr>
        <p:spPr>
          <a:xfrm>
            <a:off x="14412364" y="11183122"/>
            <a:ext cx="7649348" cy="1313509"/>
          </a:xfrm>
          <a:prstGeom prst="rect">
            <a:avLst/>
          </a:prstGeom>
        </p:spPr>
        <p:txBody>
          <a:bodyPr/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44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3200" b="0" i="0" kern="1200">
                <a:solidFill>
                  <a:schemeClr val="tx1"/>
                </a:solidFill>
                <a:latin typeface="YS Text Bold" pitchFamily="2" charset="-52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3200" b="0" i="0" kern="1200">
                <a:solidFill>
                  <a:schemeClr val="tx1"/>
                </a:solidFill>
                <a:latin typeface="YS Text Regular" pitchFamily="2" charset="-52"/>
                <a:ea typeface="+mn-ea"/>
                <a:cs typeface="+mn-cs"/>
              </a:defRPr>
            </a:lvl3pPr>
            <a:lvl4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YS Text Regular" pitchFamily="2" charset="-52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YS Text Regular" pitchFamily="2" charset="-52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Москва -- Троицк,</a:t>
            </a:r>
            <a:b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5 июня 2025 года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2A9DCFA-1E90-FA91-85E7-276959B969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124" y="510331"/>
            <a:ext cx="3345985" cy="233610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0B2E4F6-6484-555B-C99F-1A752993CB27}"/>
              </a:ext>
            </a:extLst>
          </p:cNvPr>
          <p:cNvSpPr txBox="1"/>
          <p:nvPr/>
        </p:nvSpPr>
        <p:spPr>
          <a:xfrm>
            <a:off x="14412364" y="1498513"/>
            <a:ext cx="821513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200" b="1" dirty="0">
                <a:latin typeface="Arial" panose="020B0604020202020204" pitchFamily="34" charset="0"/>
                <a:cs typeface="Arial" panose="020B0604020202020204" pitchFamily="34" charset="0"/>
              </a:rPr>
              <a:t>Вызовы ИИ-мира</a:t>
            </a:r>
            <a:endParaRPr lang="en-RU" sz="7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45237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868C62-618F-9431-CCC3-95A1BE7BAA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93E357A4-F14D-D31B-CC36-96D496E711A5}"/>
              </a:ext>
            </a:extLst>
          </p:cNvPr>
          <p:cNvSpPr txBox="1">
            <a:spLocks/>
          </p:cNvSpPr>
          <p:nvPr/>
        </p:nvSpPr>
        <p:spPr>
          <a:xfrm>
            <a:off x="600094" y="6153571"/>
            <a:ext cx="11201005" cy="193899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828709">
              <a:lnSpc>
                <a:spcPct val="100000"/>
              </a:lnSpc>
              <a:spcBef>
                <a:spcPts val="2000"/>
              </a:spcBef>
              <a:buNone/>
            </a:pP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фриланса реагирует быстрее, на нём нет компенсирующих факторов, типичных для корпоративных команд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8DD793BE-EB0E-5CD6-F5CC-83D15DA9E340}"/>
              </a:ext>
            </a:extLst>
          </p:cNvPr>
          <p:cNvSpPr txBox="1">
            <a:spLocks/>
          </p:cNvSpPr>
          <p:nvPr/>
        </p:nvSpPr>
        <p:spPr>
          <a:xfrm>
            <a:off x="616244" y="8348739"/>
            <a:ext cx="12362707" cy="193899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828709">
              <a:lnSpc>
                <a:spcPct val="100000"/>
              </a:lnSpc>
              <a:spcBef>
                <a:spcPts val="2000"/>
              </a:spcBef>
              <a:buNone/>
            </a:pP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только профессия, но </a:t>
            </a:r>
            <a:r>
              <a:rPr lang="ru-RU" sz="4000" dirty="0">
                <a:solidFill>
                  <a:srgbClr val="FFFFFF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и тип занятости конкретного человека и тип компании</a:t>
            </a: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где он работает, определяет его риски</a:t>
            </a:r>
          </a:p>
        </p:txBody>
      </p:sp>
      <p:sp>
        <p:nvSpPr>
          <p:cNvPr id="4" name="Заголовок 5">
            <a:extLst>
              <a:ext uri="{FF2B5EF4-FFF2-40B4-BE49-F238E27FC236}">
                <a16:creationId xmlns:a16="http://schemas.microsoft.com/office/drawing/2014/main" id="{CCC5C032-6E0F-4789-B677-9B21F227B5A2}"/>
              </a:ext>
            </a:extLst>
          </p:cNvPr>
          <p:cNvSpPr txBox="1">
            <a:spLocks/>
          </p:cNvSpPr>
          <p:nvPr/>
        </p:nvSpPr>
        <p:spPr>
          <a:xfrm>
            <a:off x="600094" y="663257"/>
            <a:ext cx="13159449" cy="44319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9600" b="0" i="0" kern="1200">
                <a:solidFill>
                  <a:schemeClr val="bg1"/>
                </a:solidFill>
                <a:latin typeface="YS Text Regular" pitchFamily="2" charset="0"/>
                <a:ea typeface="+mj-ea"/>
                <a:cs typeface="+mj-cs"/>
              </a:defRPr>
            </a:lvl1pPr>
          </a:lstStyle>
          <a:p>
            <a:pPr defTabSz="1828709">
              <a:lnSpc>
                <a:spcPct val="80000"/>
              </a:lnSpc>
            </a:pPr>
            <a:r>
              <a:rPr lang="ru-RU" sz="9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инки, как их </a:t>
            </a:r>
            <a:br>
              <a:rPr lang="ru-RU" sz="9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 назови, быстро </a:t>
            </a:r>
            <a:br>
              <a:rPr lang="ru-RU" sz="9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ощутимо повлияли </a:t>
            </a:r>
            <a:br>
              <a:rPr lang="ru-RU" sz="9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рынок труда</a:t>
            </a:r>
          </a:p>
        </p:txBody>
      </p:sp>
      <p:sp>
        <p:nvSpPr>
          <p:cNvPr id="5" name="Скругленный прямоугольник 12">
            <a:extLst>
              <a:ext uri="{FF2B5EF4-FFF2-40B4-BE49-F238E27FC236}">
                <a16:creationId xmlns:a16="http://schemas.microsoft.com/office/drawing/2014/main" id="{36133AE4-35C2-8157-D15C-E223CC79D734}"/>
              </a:ext>
            </a:extLst>
          </p:cNvPr>
          <p:cNvSpPr/>
          <p:nvPr/>
        </p:nvSpPr>
        <p:spPr>
          <a:xfrm>
            <a:off x="15295994" y="594135"/>
            <a:ext cx="8475532" cy="12527730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09"/>
            <a:endParaRPr lang="ru-RU" sz="3600">
              <a:solidFill>
                <a:srgbClr val="313131"/>
              </a:solidFill>
              <a:latin typeface="YS Text Light"/>
            </a:endParaRPr>
          </a:p>
        </p:txBody>
      </p:sp>
      <p:sp>
        <p:nvSpPr>
          <p:cNvPr id="6" name="Footer Placeholder 39">
            <a:extLst>
              <a:ext uri="{FF2B5EF4-FFF2-40B4-BE49-F238E27FC236}">
                <a16:creationId xmlns:a16="http://schemas.microsoft.com/office/drawing/2014/main" id="{B09C29D7-B444-5B35-541D-5535A762F21E}"/>
              </a:ext>
            </a:extLst>
          </p:cNvPr>
          <p:cNvSpPr txBox="1">
            <a:spLocks/>
          </p:cNvSpPr>
          <p:nvPr/>
        </p:nvSpPr>
        <p:spPr>
          <a:xfrm>
            <a:off x="610887" y="12740648"/>
            <a:ext cx="15756320" cy="43970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505">
              <a:defRPr/>
            </a:pPr>
            <a:r>
              <a:rPr lang="en-US" dirty="0">
                <a:solidFill>
                  <a:srgbClr val="FFFFFF"/>
                </a:solidFill>
                <a:latin typeface="YS Text Light"/>
              </a:rPr>
              <a:t>https://hbr.org/2024/11/research-how-gen-ai-is-already-impacting-the-labor-market</a:t>
            </a:r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D2206CCD-D685-5A6D-09F6-8187911C695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1113" r="-2353"/>
          <a:stretch/>
        </p:blipFill>
        <p:spPr>
          <a:xfrm>
            <a:off x="16183599" y="1132034"/>
            <a:ext cx="6781584" cy="11451932"/>
          </a:xfrm>
          <a:prstGeom prst="rect">
            <a:avLst/>
          </a:prstGeom>
        </p:spPr>
      </p:pic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69D334E5-0393-2BFD-532C-C5EDEE2BE459}"/>
              </a:ext>
            </a:extLst>
          </p:cNvPr>
          <p:cNvSpPr txBox="1">
            <a:spLocks/>
          </p:cNvSpPr>
          <p:nvPr/>
        </p:nvSpPr>
        <p:spPr>
          <a:xfrm>
            <a:off x="616244" y="10852470"/>
            <a:ext cx="12362707" cy="132343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828709">
              <a:lnSpc>
                <a:spcPct val="100000"/>
              </a:lnSpc>
              <a:spcBef>
                <a:spcPts val="2000"/>
              </a:spcBef>
              <a:buNone/>
            </a:pP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орошая компания – гораздо больше,</a:t>
            </a:r>
            <a:br>
              <a:rPr lang="en-US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м просто набор функциональных единиц!</a:t>
            </a:r>
            <a:r>
              <a:rPr lang="en-US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</a:t>
            </a:r>
            <a:endParaRPr lang="ru-RU" sz="4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58169FFD-03BE-DC5E-8B5B-A861DCEF7750}"/>
              </a:ext>
            </a:extLst>
          </p:cNvPr>
          <p:cNvCxnSpPr>
            <a:cxnSpLocks/>
          </p:cNvCxnSpPr>
          <p:nvPr/>
        </p:nvCxnSpPr>
        <p:spPr>
          <a:xfrm>
            <a:off x="616244" y="5895821"/>
            <a:ext cx="1408264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5307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C13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ACDB9F7-E53C-3E67-7B59-A7B885B9F8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60362" y="447"/>
            <a:ext cx="13715107" cy="13715107"/>
          </a:xfrm>
          <a:prstGeom prst="rect">
            <a:avLst/>
          </a:prstGeom>
          <a:effectLst>
            <a:softEdge rad="317500"/>
          </a:effec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10A61DE-65A4-680C-DF0B-4724D46582E7}"/>
              </a:ext>
            </a:extLst>
          </p:cNvPr>
          <p:cNvSpPr txBox="1"/>
          <p:nvPr/>
        </p:nvSpPr>
        <p:spPr>
          <a:xfrm>
            <a:off x="616245" y="4287556"/>
            <a:ext cx="12080936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709">
              <a:defRPr/>
            </a:pPr>
            <a:r>
              <a:rPr lang="ru-RU" sz="6400" i="1" dirty="0">
                <a:solidFill>
                  <a:srgbClr val="FFFFFF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«Можно, я об тебя подумаю?»</a:t>
            </a:r>
            <a:endParaRPr lang="en-RU" sz="6400" i="1" dirty="0">
              <a:solidFill>
                <a:srgbClr val="FFFFFF"/>
              </a:solidFill>
              <a:highlight>
                <a:srgbClr val="FF00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120E0A-243A-ABCD-DE04-F0132FC939E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16247" y="380742"/>
            <a:ext cx="12442748" cy="2336892"/>
          </a:xfrm>
          <a:prstGeom prst="rect">
            <a:avLst/>
          </a:prstGeom>
        </p:spPr>
        <p:txBody>
          <a:bodyPr/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У нас в Яндексе есть </a:t>
            </a:r>
            <a:b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опулярная фраза:</a:t>
            </a:r>
            <a:endParaRPr lang="en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A4D74F-43A4-5457-8CBC-44BE6EF12B6F}"/>
              </a:ext>
            </a:extLst>
          </p:cNvPr>
          <p:cNvSpPr txBox="1"/>
          <p:nvPr/>
        </p:nvSpPr>
        <p:spPr>
          <a:xfrm>
            <a:off x="616245" y="8011915"/>
            <a:ext cx="10901752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828709">
              <a:defRPr/>
            </a:pPr>
            <a:r>
              <a:rPr lang="ru-RU" sz="5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енно такой способ общения с ИИ я все чаще встречаю у сильных школьников </a:t>
            </a:r>
            <a:br>
              <a:rPr lang="ru-RU" sz="5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студентов</a:t>
            </a:r>
            <a:endParaRPr lang="en-RU" sz="56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50206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D29424C2-05B4-E4A0-6A5F-72E154C4B2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299828" y="893"/>
            <a:ext cx="27351861" cy="13715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CC5CBBA-E4B8-3C47-F0E3-BF7B3DC9DFFD}"/>
              </a:ext>
            </a:extLst>
          </p:cNvPr>
          <p:cNvSpPr txBox="1"/>
          <p:nvPr/>
        </p:nvSpPr>
        <p:spPr>
          <a:xfrm>
            <a:off x="8423186" y="844455"/>
            <a:ext cx="15946160" cy="2554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709"/>
            <a:r>
              <a:rPr lang="ru-RU" sz="8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дрей Карпаты придумал</a:t>
            </a:r>
            <a:r>
              <a:rPr lang="ru-RU" sz="8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ru-RU" sz="8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8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роское название: </a:t>
            </a:r>
            <a:r>
              <a:rPr lang="en-US" sz="8000" b="1" dirty="0">
                <a:solidFill>
                  <a:srgbClr val="FFFFFF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vibe coding </a:t>
            </a:r>
            <a:endParaRPr lang="en-RU" sz="8000" b="1" dirty="0">
              <a:solidFill>
                <a:srgbClr val="FFFFFF"/>
              </a:solidFill>
              <a:highlight>
                <a:srgbClr val="FF00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13E192D-8E20-73E6-B06A-1510DE9D1ABF}"/>
              </a:ext>
            </a:extLst>
          </p:cNvPr>
          <p:cNvSpPr txBox="1"/>
          <p:nvPr/>
        </p:nvSpPr>
        <p:spPr>
          <a:xfrm>
            <a:off x="8423186" y="4712816"/>
            <a:ext cx="1595922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828709"/>
            <a:r>
              <a:rPr lang="en-GB" sz="4800" dirty="0">
                <a:solidFill>
                  <a:srgbClr val="FFFFFF"/>
                </a:solidFill>
                <a:latin typeface="Arial" panose="020B0604020202020204" pitchFamily="34" charset="0"/>
              </a:rPr>
              <a:t>"It's not really coding - I just see things, say things, run things, and copy-paste things, and it mostly works.” </a:t>
            </a:r>
            <a:br>
              <a:rPr lang="en-GB" sz="4800" dirty="0">
                <a:solidFill>
                  <a:srgbClr val="FFFFFF"/>
                </a:solidFill>
                <a:latin typeface="Arial" panose="020B0604020202020204" pitchFamily="34" charset="0"/>
              </a:rPr>
            </a:br>
            <a:r>
              <a:rPr lang="en-GB" sz="4800" dirty="0">
                <a:solidFill>
                  <a:srgbClr val="FFFFFF"/>
                </a:solidFill>
                <a:latin typeface="Arial" panose="020B0604020202020204" pitchFamily="34" charset="0"/>
              </a:rPr>
              <a:t>(</a:t>
            </a:r>
            <a:r>
              <a:rPr lang="ru-RU" sz="4800" dirty="0">
                <a:solidFill>
                  <a:srgbClr val="FFFFFF"/>
                </a:solidFill>
                <a:latin typeface="Arial" panose="020B0604020202020204" pitchFamily="34" charset="0"/>
              </a:rPr>
              <a:t>февраль 2025)</a:t>
            </a:r>
            <a:endParaRPr lang="en-RU" sz="4800" dirty="0">
              <a:solidFill>
                <a:srgbClr val="FFFFFF"/>
              </a:solidFill>
              <a:latin typeface="YS Text Ligh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3B44AE-B32C-BBAC-3880-99D7E3D3AD7F}"/>
              </a:ext>
            </a:extLst>
          </p:cNvPr>
          <p:cNvSpPr txBox="1"/>
          <p:nvPr/>
        </p:nvSpPr>
        <p:spPr>
          <a:xfrm>
            <a:off x="8423185" y="7596506"/>
            <a:ext cx="14300710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709"/>
            <a:r>
              <a:rPr lang="ru-RU" sz="4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ктическое развитие его тезиса от 2023:</a:t>
            </a:r>
            <a:br>
              <a:rPr lang="ru-RU" sz="4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The hottest new programming language is English”</a:t>
            </a:r>
            <a:endParaRPr lang="en-RU" sz="48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E773D7-96C2-1D7A-9195-708BBDB63CFC}"/>
              </a:ext>
            </a:extLst>
          </p:cNvPr>
          <p:cNvSpPr txBox="1"/>
          <p:nvPr/>
        </p:nvSpPr>
        <p:spPr>
          <a:xfrm>
            <a:off x="8423186" y="10128525"/>
            <a:ext cx="6710107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709"/>
            <a:r>
              <a:rPr lang="en-RU" sz="6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sor, Codex, …</a:t>
            </a:r>
          </a:p>
        </p:txBody>
      </p:sp>
    </p:spTree>
    <p:extLst>
      <p:ext uri="{BB962C8B-B14F-4D97-AF65-F5344CB8AC3E}">
        <p14:creationId xmlns:p14="http://schemas.microsoft.com/office/powerpoint/2010/main" val="36550073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90945F-E44D-BAE1-36D4-699B84A9AE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99C53C84-406C-93BE-ECC0-E7AD203C70CF}"/>
              </a:ext>
            </a:extLst>
          </p:cNvPr>
          <p:cNvGrpSpPr/>
          <p:nvPr/>
        </p:nvGrpSpPr>
        <p:grpSpPr>
          <a:xfrm>
            <a:off x="1" y="446"/>
            <a:ext cx="24382411" cy="13715109"/>
            <a:chOff x="-625033" y="-1"/>
            <a:chExt cx="12191999" cy="6858001"/>
          </a:xfrm>
        </p:grpSpPr>
        <p:pic>
          <p:nvPicPr>
            <p:cNvPr id="3" name="Рисунок 2" descr="Изображение выглядит как текст, снимок экрана&#10;&#10;Контент, сгенерированный ИИ, может содержать ошибки.">
              <a:extLst>
                <a:ext uri="{FF2B5EF4-FFF2-40B4-BE49-F238E27FC236}">
                  <a16:creationId xmlns:a16="http://schemas.microsoft.com/office/drawing/2014/main" id="{96593EAF-2EBB-65FC-1F63-30A7DF132D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196" r="8076" b="3327"/>
            <a:stretch/>
          </p:blipFill>
          <p:spPr>
            <a:xfrm>
              <a:off x="0" y="-1"/>
              <a:ext cx="11566966" cy="6858001"/>
            </a:xfrm>
            <a:prstGeom prst="rect">
              <a:avLst/>
            </a:prstGeom>
          </p:spPr>
        </p:pic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A34FA463-B1B6-EA54-16B7-FFC20902CD2A}"/>
                </a:ext>
              </a:extLst>
            </p:cNvPr>
            <p:cNvSpPr/>
            <p:nvPr/>
          </p:nvSpPr>
          <p:spPr>
            <a:xfrm>
              <a:off x="-625033" y="1111170"/>
              <a:ext cx="2349661" cy="5746830"/>
            </a:xfrm>
            <a:prstGeom prst="rect">
              <a:avLst/>
            </a:prstGeom>
            <a:solidFill>
              <a:srgbClr val="05050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709">
                <a:defRPr/>
              </a:pPr>
              <a:endParaRPr lang="ru-RU" sz="3600">
                <a:solidFill>
                  <a:srgbClr val="313131"/>
                </a:solidFill>
                <a:latin typeface="YS Text Light"/>
              </a:endParaRPr>
            </a:p>
          </p:txBody>
        </p:sp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100C226D-DB7D-55F6-35A7-C94F2214826B}"/>
                </a:ext>
              </a:extLst>
            </p:cNvPr>
            <p:cNvSpPr/>
            <p:nvPr/>
          </p:nvSpPr>
          <p:spPr>
            <a:xfrm>
              <a:off x="-625032" y="0"/>
              <a:ext cx="7315200" cy="1388962"/>
            </a:xfrm>
            <a:prstGeom prst="rect">
              <a:avLst/>
            </a:prstGeom>
            <a:solidFill>
              <a:srgbClr val="05050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709">
                <a:defRPr/>
              </a:pPr>
              <a:endParaRPr lang="ru-RU" sz="3600">
                <a:solidFill>
                  <a:srgbClr val="313131"/>
                </a:solidFill>
                <a:latin typeface="YS Text Light"/>
              </a:endParaRPr>
            </a:p>
          </p:txBody>
        </p:sp>
      </p:grp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5FED3EF-39D6-65D5-6B1E-0AD31DA6DD65}"/>
              </a:ext>
            </a:extLst>
          </p:cNvPr>
          <p:cNvSpPr txBox="1">
            <a:spLocks/>
          </p:cNvSpPr>
          <p:nvPr/>
        </p:nvSpPr>
        <p:spPr>
          <a:xfrm>
            <a:off x="600092" y="663258"/>
            <a:ext cx="17131169" cy="22273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9600" b="0" i="0" kern="1200">
                <a:solidFill>
                  <a:schemeClr val="bg1"/>
                </a:solidFill>
                <a:latin typeface="YS Text Regular" pitchFamily="2" charset="0"/>
                <a:ea typeface="+mj-ea"/>
                <a:cs typeface="+mj-cs"/>
              </a:defRPr>
            </a:lvl1pPr>
          </a:lstStyle>
          <a:p>
            <a:pPr defTabSz="1828709">
              <a:lnSpc>
                <a:spcPct val="80000"/>
              </a:lnSpc>
              <a:defRPr/>
            </a:pPr>
            <a:r>
              <a:rPr lang="ru-RU" sz="9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цифровых агентов – </a:t>
            </a:r>
            <a:br>
              <a:rPr lang="ru-RU" sz="9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физическому воплощению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CCF3E137-6F49-546A-E626-ABE487DE8D37}"/>
              </a:ext>
            </a:extLst>
          </p:cNvPr>
          <p:cNvSpPr/>
          <p:nvPr/>
        </p:nvSpPr>
        <p:spPr>
          <a:xfrm>
            <a:off x="461210" y="3483244"/>
            <a:ext cx="9816445" cy="381839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09"/>
            <a:endParaRPr lang="en-RU" sz="3600">
              <a:solidFill>
                <a:srgbClr val="313131"/>
              </a:solidFill>
              <a:latin typeface="YS Text Light"/>
            </a:endParaRPr>
          </a:p>
        </p:txBody>
      </p:sp>
      <p:sp>
        <p:nvSpPr>
          <p:cNvPr id="8" name="Footer Placeholder 39">
            <a:extLst>
              <a:ext uri="{FF2B5EF4-FFF2-40B4-BE49-F238E27FC236}">
                <a16:creationId xmlns:a16="http://schemas.microsoft.com/office/drawing/2014/main" id="{E452FF0A-A97C-F1C0-3B53-38414612679B}"/>
              </a:ext>
            </a:extLst>
          </p:cNvPr>
          <p:cNvSpPr txBox="1">
            <a:spLocks/>
          </p:cNvSpPr>
          <p:nvPr/>
        </p:nvSpPr>
        <p:spPr>
          <a:xfrm>
            <a:off x="427279" y="12888914"/>
            <a:ext cx="15756320" cy="43970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505">
              <a:defRPr/>
            </a:pPr>
            <a:r>
              <a:rPr lang="en-US" sz="1200" dirty="0">
                <a:solidFill>
                  <a:srgbClr val="FFFFFF"/>
                </a:solidFill>
                <a:latin typeface="YS Text Light"/>
              </a:rPr>
              <a:t>https://blogs.nvidia.com/blog/world-foundation-models-advance-physical-ai/</a:t>
            </a:r>
          </a:p>
          <a:p>
            <a:pPr defTabSz="1828505">
              <a:defRPr/>
            </a:pPr>
            <a:r>
              <a:rPr lang="en-US" sz="1200" dirty="0">
                <a:solidFill>
                  <a:srgbClr val="FFFFFF"/>
                </a:solidFill>
                <a:latin typeface="YS Text Light"/>
              </a:rPr>
              <a:t>https://techcrunch.com/2025/03/18/nvidia-debuts-groot-n1-a-foundation-model-for-humanoid-robotics/</a:t>
            </a:r>
          </a:p>
        </p:txBody>
      </p:sp>
      <p:sp>
        <p:nvSpPr>
          <p:cNvPr id="9" name="Lightning Bolt 8">
            <a:extLst>
              <a:ext uri="{FF2B5EF4-FFF2-40B4-BE49-F238E27FC236}">
                <a16:creationId xmlns:a16="http://schemas.microsoft.com/office/drawing/2014/main" id="{CF4FA5D0-2D8E-EE74-A97A-1DEF559E14B6}"/>
              </a:ext>
            </a:extLst>
          </p:cNvPr>
          <p:cNvSpPr/>
          <p:nvPr/>
        </p:nvSpPr>
        <p:spPr>
          <a:xfrm flipV="1">
            <a:off x="10036629" y="1828800"/>
            <a:ext cx="10196353" cy="5029200"/>
          </a:xfrm>
          <a:prstGeom prst="lightningBol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09"/>
            <a:endParaRPr lang="en-RU" sz="3600">
              <a:solidFill>
                <a:srgbClr val="313131"/>
              </a:solidFill>
              <a:latin typeface="YS Text Light"/>
            </a:endParaRP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E1E3885-7729-02AF-4D6F-DA1FBE53D778}"/>
              </a:ext>
            </a:extLst>
          </p:cNvPr>
          <p:cNvSpPr txBox="1">
            <a:spLocks/>
          </p:cNvSpPr>
          <p:nvPr/>
        </p:nvSpPr>
        <p:spPr>
          <a:xfrm>
            <a:off x="461210" y="3589343"/>
            <a:ext cx="9955328" cy="352917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177" indent="-457177" defTabSz="1828709">
              <a:lnSpc>
                <a:spcPct val="100000"/>
              </a:lnSpc>
              <a:spcBef>
                <a:spcPts val="0"/>
              </a:spcBef>
              <a:spcAft>
                <a:spcPts val="2800"/>
              </a:spcAft>
              <a:defRPr/>
            </a:pP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языковые модели, а </a:t>
            </a:r>
            <a:r>
              <a:rPr lang="ru-RU" sz="4000" dirty="0">
                <a:solidFill>
                  <a:srgbClr val="FFFFFF"/>
                </a:solidFill>
                <a:highlight>
                  <a:srgbClr val="799D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модели мира </a:t>
            </a: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ат следующий прорыв ИИ</a:t>
            </a:r>
          </a:p>
          <a:p>
            <a:pPr marL="457177" indent="-457177" defTabSz="1828709">
              <a:lnSpc>
                <a:spcPct val="100000"/>
              </a:lnSpc>
              <a:spcBef>
                <a:spcPts val="0"/>
              </a:spcBef>
              <a:spcAft>
                <a:spcPts val="2800"/>
              </a:spcAft>
              <a:defRPr/>
            </a:pP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ступает эра не общего ИИ, </a:t>
            </a:r>
            <a:b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 </a:t>
            </a:r>
            <a:r>
              <a:rPr lang="ru-RU" sz="4000" dirty="0">
                <a:solidFill>
                  <a:srgbClr val="FFFFFF"/>
                </a:solidFill>
                <a:highlight>
                  <a:srgbClr val="799D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эра робототехники общего назначения</a:t>
            </a:r>
          </a:p>
        </p:txBody>
      </p:sp>
    </p:spTree>
    <p:extLst>
      <p:ext uri="{BB962C8B-B14F-4D97-AF65-F5344CB8AC3E}">
        <p14:creationId xmlns:p14="http://schemas.microsoft.com/office/powerpoint/2010/main" val="13632709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9A75BF-6284-6ABD-EE09-202EABAA81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80B5CA0-9258-AEA2-A44D-405B4E7EB21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50" t="63891" r="44189" b="6348"/>
          <a:stretch/>
        </p:blipFill>
        <p:spPr>
          <a:xfrm flipH="1">
            <a:off x="-1" y="20323"/>
            <a:ext cx="24382413" cy="13715107"/>
          </a:xfrm>
          <a:prstGeom prst="rect">
            <a:avLst/>
          </a:prstGeom>
        </p:spPr>
      </p:pic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99B452B9-A894-D285-D2DD-9CAEB6F2815E}"/>
              </a:ext>
            </a:extLst>
          </p:cNvPr>
          <p:cNvSpPr txBox="1">
            <a:spLocks/>
          </p:cNvSpPr>
          <p:nvPr/>
        </p:nvSpPr>
        <p:spPr>
          <a:xfrm>
            <a:off x="600096" y="3797846"/>
            <a:ext cx="7918318" cy="83612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9600" b="0" i="0" kern="1200">
                <a:solidFill>
                  <a:schemeClr val="bg1"/>
                </a:solidFill>
                <a:latin typeface="YS Text Regular" pitchFamily="2" charset="0"/>
                <a:ea typeface="+mj-ea"/>
                <a:cs typeface="+mj-cs"/>
              </a:defRPr>
            </a:lvl1pPr>
          </a:lstStyle>
          <a:p>
            <a:pPr defTabSz="1828709">
              <a:lnSpc>
                <a:spcPct val="100000"/>
              </a:lnSpc>
              <a:spcAft>
                <a:spcPts val="2800"/>
              </a:spcAft>
            </a:pP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Создание </a:t>
            </a:r>
            <a:r>
              <a:rPr lang="ru-RU" sz="4000" dirty="0">
                <a:solidFill>
                  <a:srgbClr val="FFFFFF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фундаментальных моделей для человекообразных роботов общего назначения </a:t>
            </a: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 это сейчас одна из самых главных проблем ИИ, подлежащих решению.</a:t>
            </a:r>
            <a:endParaRPr lang="en-US" sz="4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1828709">
              <a:lnSpc>
                <a:spcPct val="100000"/>
              </a:lnSpc>
              <a:spcAft>
                <a:spcPts val="2800"/>
              </a:spcAft>
            </a:pP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всему миру необходимые</a:t>
            </a:r>
            <a:br>
              <a:rPr lang="en-US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этого технологии</a:t>
            </a:r>
            <a:br>
              <a:rPr lang="en-US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ходятся</a:t>
            </a:r>
            <a:r>
              <a:rPr lang="en-US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ведущих центрах робототехники, создавая условия для </a:t>
            </a:r>
            <a:r>
              <a:rPr lang="ru-RU" sz="4000" dirty="0">
                <a:solidFill>
                  <a:srgbClr val="FFFFFF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большого скачка</a:t>
            </a:r>
            <a:br>
              <a:rPr lang="en-US" sz="4000" dirty="0">
                <a:solidFill>
                  <a:srgbClr val="FFFFFF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solidFill>
                  <a:srgbClr val="FFFFFF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в робототехнике общего назначения</a:t>
            </a: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</p:txBody>
      </p:sp>
      <p:sp>
        <p:nvSpPr>
          <p:cNvPr id="4" name="Footer Placeholder 39">
            <a:hlinkClick r:id="rId5"/>
            <a:extLst>
              <a:ext uri="{FF2B5EF4-FFF2-40B4-BE49-F238E27FC236}">
                <a16:creationId xmlns:a16="http://schemas.microsoft.com/office/drawing/2014/main" id="{A66D5A46-D66F-17A4-E57A-A66DB365B0C0}"/>
              </a:ext>
            </a:extLst>
          </p:cNvPr>
          <p:cNvSpPr txBox="1">
            <a:spLocks/>
          </p:cNvSpPr>
          <p:nvPr/>
        </p:nvSpPr>
        <p:spPr>
          <a:xfrm>
            <a:off x="427279" y="12888914"/>
            <a:ext cx="15756320" cy="43970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505">
              <a:defRPr/>
            </a:pPr>
            <a:r>
              <a:rPr lang="en-US" sz="1200" dirty="0">
                <a:solidFill>
                  <a:srgbClr val="FFFFFF"/>
                </a:solidFill>
                <a:latin typeface="YS Text Light"/>
              </a:rPr>
              <a:t>What is an AI anyway? — TED</a:t>
            </a:r>
          </a:p>
        </p:txBody>
      </p:sp>
      <p:sp>
        <p:nvSpPr>
          <p:cNvPr id="5" name="Скругленный прямоугольник 8">
            <a:extLst>
              <a:ext uri="{FF2B5EF4-FFF2-40B4-BE49-F238E27FC236}">
                <a16:creationId xmlns:a16="http://schemas.microsoft.com/office/drawing/2014/main" id="{3CCB1F3F-9744-409C-01F5-D1863F8FA786}"/>
              </a:ext>
            </a:extLst>
          </p:cNvPr>
          <p:cNvSpPr/>
          <p:nvPr/>
        </p:nvSpPr>
        <p:spPr>
          <a:xfrm>
            <a:off x="10092466" y="3414200"/>
            <a:ext cx="13679059" cy="9071409"/>
          </a:xfrm>
          <a:prstGeom prst="roundRect">
            <a:avLst>
              <a:gd name="adj" fmla="val 0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09"/>
            <a:endParaRPr lang="ru-RU" sz="3600">
              <a:solidFill>
                <a:srgbClr val="313131"/>
              </a:solidFill>
              <a:latin typeface="YS Text Light"/>
            </a:endParaRPr>
          </a:p>
        </p:txBody>
      </p:sp>
      <p:pic>
        <p:nvPicPr>
          <p:cNvPr id="6" name="jensen.mov">
            <a:hlinkClick r:id="" action="ppaction://media"/>
            <a:extLst>
              <a:ext uri="{FF2B5EF4-FFF2-40B4-BE49-F238E27FC236}">
                <a16:creationId xmlns:a16="http://schemas.microsoft.com/office/drawing/2014/main" id="{AED1175B-14EB-F219-0580-54E7FDFC6AD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rcRect l="2388" t="3418" r="2633" b="5824"/>
          <a:stretch/>
        </p:blipFill>
        <p:spPr>
          <a:xfrm>
            <a:off x="10825791" y="4530846"/>
            <a:ext cx="12227780" cy="6877872"/>
          </a:xfrm>
          <a:prstGeom prst="rect">
            <a:avLst/>
          </a:prstGeom>
        </p:spPr>
      </p:pic>
      <p:sp>
        <p:nvSpPr>
          <p:cNvPr id="7" name="Заголовок 5">
            <a:extLst>
              <a:ext uri="{FF2B5EF4-FFF2-40B4-BE49-F238E27FC236}">
                <a16:creationId xmlns:a16="http://schemas.microsoft.com/office/drawing/2014/main" id="{4E7ED48F-0EE4-E233-CDA8-2DDABCFAED5F}"/>
              </a:ext>
            </a:extLst>
          </p:cNvPr>
          <p:cNvSpPr txBox="1">
            <a:spLocks/>
          </p:cNvSpPr>
          <p:nvPr/>
        </p:nvSpPr>
        <p:spPr>
          <a:xfrm>
            <a:off x="600094" y="663258"/>
            <a:ext cx="15348783" cy="22273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9600" b="0" i="0" kern="1200">
                <a:solidFill>
                  <a:schemeClr val="bg1"/>
                </a:solidFill>
                <a:latin typeface="YS Text Regular" pitchFamily="2" charset="0"/>
                <a:ea typeface="+mj-ea"/>
                <a:cs typeface="+mj-cs"/>
              </a:defRPr>
            </a:lvl1pPr>
          </a:lstStyle>
          <a:p>
            <a:pPr defTabSz="1828709">
              <a:lnSpc>
                <a:spcPct val="80000"/>
              </a:lnSpc>
            </a:pPr>
            <a:r>
              <a:rPr lang="en-US" sz="9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nsen Huang,</a:t>
            </a:r>
            <a:br>
              <a:rPr lang="en-US" sz="9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9000" b="1" dirty="0">
                <a:solidFill>
                  <a:srgbClr val="93939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O NVIDIA</a:t>
            </a:r>
          </a:p>
        </p:txBody>
      </p:sp>
      <p:pic>
        <p:nvPicPr>
          <p:cNvPr id="8" name="Picture 2" descr="Jensen Huang: conheça a vida e carreira do CEO da Nvidia">
            <a:extLst>
              <a:ext uri="{FF2B5EF4-FFF2-40B4-BE49-F238E27FC236}">
                <a16:creationId xmlns:a16="http://schemas.microsoft.com/office/drawing/2014/main" id="{F2C780CF-44CE-ECCD-E422-448C95015A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23" r="34757" b="21300"/>
          <a:stretch/>
        </p:blipFill>
        <p:spPr bwMode="auto">
          <a:xfrm>
            <a:off x="10533356" y="3797783"/>
            <a:ext cx="1155341" cy="115534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04765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158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0" mute="1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1D6E76-24F3-22C3-4D32-562CD05BE1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8B1FC73C-1A2D-32FD-F0A4-4BB5DCA5C7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6922" y="0"/>
            <a:ext cx="18287999" cy="1371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8ACD11AD-3044-50CB-DDF7-DE62B21BA36C}"/>
              </a:ext>
            </a:extLst>
          </p:cNvPr>
          <p:cNvSpPr/>
          <p:nvPr/>
        </p:nvSpPr>
        <p:spPr>
          <a:xfrm>
            <a:off x="12786789" y="10627657"/>
            <a:ext cx="10995530" cy="2578908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09"/>
            <a:endParaRPr lang="en-RU" sz="3600">
              <a:solidFill>
                <a:srgbClr val="313131"/>
              </a:solidFill>
              <a:latin typeface="YS Text Light"/>
            </a:endParaRPr>
          </a:p>
        </p:txBody>
      </p:sp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FC0CA837-0858-F5BF-B616-36E8ABDE1A62}"/>
              </a:ext>
            </a:extLst>
          </p:cNvPr>
          <p:cNvSpPr txBox="1">
            <a:spLocks/>
          </p:cNvSpPr>
          <p:nvPr/>
        </p:nvSpPr>
        <p:spPr>
          <a:xfrm>
            <a:off x="600094" y="1381694"/>
            <a:ext cx="10395141" cy="11193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9600" b="0" i="0" kern="1200">
                <a:solidFill>
                  <a:schemeClr val="bg1"/>
                </a:solidFill>
                <a:latin typeface="YS Text Regular" pitchFamily="2" charset="0"/>
                <a:ea typeface="+mj-ea"/>
                <a:cs typeface="+mj-cs"/>
              </a:defRPr>
            </a:lvl1pPr>
          </a:lstStyle>
          <a:p>
            <a:pPr defTabSz="1828709">
              <a:lnSpc>
                <a:spcPct val="80000"/>
              </a:lnSpc>
            </a:pPr>
            <a:r>
              <a:rPr lang="ru-RU" sz="9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площенный ИИ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BD6ECEA-EA54-5E09-7F56-170F8D2ECDA2}"/>
              </a:ext>
            </a:extLst>
          </p:cNvPr>
          <p:cNvSpPr txBox="1">
            <a:spLocks/>
          </p:cNvSpPr>
          <p:nvPr/>
        </p:nvSpPr>
        <p:spPr>
          <a:xfrm>
            <a:off x="600094" y="4427780"/>
            <a:ext cx="9244674" cy="891526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177" indent="-457177" defTabSz="1828709">
              <a:lnSpc>
                <a:spcPct val="100000"/>
              </a:lnSpc>
              <a:spcBef>
                <a:spcPts val="0"/>
              </a:spcBef>
              <a:spcAft>
                <a:spcPts val="2800"/>
              </a:spcAft>
            </a:pPr>
            <a:r>
              <a:rPr lang="ru-RU" sz="4000" dirty="0">
                <a:solidFill>
                  <a:srgbClr val="FFFFFF"/>
                </a:solidFill>
                <a:latin typeface="YS Text Light"/>
              </a:rPr>
              <a:t>В реальном мире одного интеллекта мало, здравый смысл рождается из набитых шишек</a:t>
            </a:r>
            <a:endParaRPr lang="en-US" sz="4000" dirty="0">
              <a:solidFill>
                <a:srgbClr val="FFFFFF"/>
              </a:solidFill>
              <a:latin typeface="YS Text Light"/>
            </a:endParaRPr>
          </a:p>
          <a:p>
            <a:pPr marL="457177" indent="-457177" defTabSz="1828709">
              <a:lnSpc>
                <a:spcPct val="100000"/>
              </a:lnSpc>
              <a:spcBef>
                <a:spcPts val="0"/>
              </a:spcBef>
              <a:spcAft>
                <a:spcPts val="2800"/>
              </a:spcAft>
            </a:pPr>
            <a:r>
              <a:rPr lang="ru-RU" sz="4000" dirty="0">
                <a:solidFill>
                  <a:srgbClr val="FFFFFF"/>
                </a:solidFill>
                <a:latin typeface="YS Text Light"/>
              </a:rPr>
              <a:t>Рядом с языковыми моделями </a:t>
            </a:r>
            <a:r>
              <a:rPr lang="ru-RU" sz="4000" dirty="0">
                <a:solidFill>
                  <a:srgbClr val="FFFFFF"/>
                </a:solidFill>
                <a:highlight>
                  <a:srgbClr val="FF00FF"/>
                </a:highlight>
                <a:latin typeface="YS Text Light"/>
              </a:rPr>
              <a:t>появляются модели мира</a:t>
            </a:r>
            <a:r>
              <a:rPr lang="ru-RU" sz="4000" dirty="0">
                <a:solidFill>
                  <a:srgbClr val="FFFFFF"/>
                </a:solidFill>
                <a:latin typeface="YS Text Light"/>
              </a:rPr>
              <a:t>, над их архитектурой активно работают</a:t>
            </a:r>
          </a:p>
          <a:p>
            <a:pPr marL="457177" indent="-457177" defTabSz="1828709">
              <a:lnSpc>
                <a:spcPct val="100000"/>
              </a:lnSpc>
              <a:spcBef>
                <a:spcPts val="0"/>
              </a:spcBef>
              <a:spcAft>
                <a:spcPts val="2800"/>
              </a:spcAft>
            </a:pPr>
            <a:r>
              <a:rPr lang="ru-RU" sz="4000" dirty="0">
                <a:solidFill>
                  <a:srgbClr val="FFFFFF"/>
                </a:solidFill>
                <a:latin typeface="YS Text Light"/>
              </a:rPr>
              <a:t>ИИ начинает познавать мир </a:t>
            </a:r>
            <a:br>
              <a:rPr lang="ru-RU" sz="4000" dirty="0">
                <a:solidFill>
                  <a:srgbClr val="FFFFFF"/>
                </a:solidFill>
                <a:latin typeface="YS Text Light"/>
              </a:rPr>
            </a:br>
            <a:r>
              <a:rPr lang="ru-RU" sz="4000" dirty="0">
                <a:solidFill>
                  <a:srgbClr val="FFFFFF"/>
                </a:solidFill>
                <a:highlight>
                  <a:srgbClr val="FF00FF"/>
                </a:highlight>
                <a:latin typeface="YS Text Light"/>
              </a:rPr>
              <a:t>в собственных ощущениях, </a:t>
            </a:r>
            <a:br>
              <a:rPr lang="ru-RU" sz="4000" dirty="0">
                <a:solidFill>
                  <a:srgbClr val="FFFFFF"/>
                </a:solidFill>
                <a:highlight>
                  <a:srgbClr val="FF00FF"/>
                </a:highlight>
                <a:latin typeface="YS Text Light"/>
              </a:rPr>
            </a:br>
            <a:r>
              <a:rPr lang="ru-RU" sz="4000" dirty="0">
                <a:solidFill>
                  <a:srgbClr val="FFFFFF"/>
                </a:solidFill>
                <a:highlight>
                  <a:srgbClr val="FF00FF"/>
                </a:highlight>
                <a:latin typeface="YS Text Light"/>
              </a:rPr>
              <a:t>а не с чужих слов</a:t>
            </a:r>
            <a:r>
              <a:rPr lang="en-US" sz="4000" dirty="0">
                <a:solidFill>
                  <a:srgbClr val="FFFFFF"/>
                </a:solidFill>
                <a:highlight>
                  <a:srgbClr val="FF00FF"/>
                </a:highlight>
                <a:latin typeface="YS Text Light"/>
              </a:rPr>
              <a:t> </a:t>
            </a:r>
            <a:endParaRPr lang="ru-RU" sz="4000" dirty="0">
              <a:solidFill>
                <a:srgbClr val="FFFFFF"/>
              </a:solidFill>
              <a:latin typeface="YS Text Light"/>
              <a:sym typeface="Wingdings" pitchFamily="2" charset="2"/>
            </a:endParaRPr>
          </a:p>
          <a:p>
            <a:pPr marL="457177" indent="-457177" defTabSz="1828709">
              <a:lnSpc>
                <a:spcPct val="100000"/>
              </a:lnSpc>
              <a:spcBef>
                <a:spcPts val="0"/>
              </a:spcBef>
              <a:spcAft>
                <a:spcPts val="2800"/>
              </a:spcAft>
            </a:pPr>
            <a:r>
              <a:rPr lang="ru-RU" sz="4000" dirty="0">
                <a:solidFill>
                  <a:srgbClr val="FFFFFF"/>
                </a:solidFill>
                <a:latin typeface="YS Text Light"/>
                <a:sym typeface="Wingdings" pitchFamily="2" charset="2"/>
              </a:rPr>
              <a:t>Как когда-то интернет, так сейчас </a:t>
            </a:r>
            <a:r>
              <a:rPr lang="ru-RU" sz="4000" dirty="0">
                <a:solidFill>
                  <a:srgbClr val="FFFFFF"/>
                </a:solidFill>
                <a:highlight>
                  <a:srgbClr val="FF00FF"/>
                </a:highlight>
                <a:latin typeface="YS Text Light"/>
                <a:sym typeface="Wingdings" pitchFamily="2" charset="2"/>
              </a:rPr>
              <a:t>ИИ начал прорастать в офлайн</a:t>
            </a:r>
            <a:endParaRPr lang="en-US" sz="4000" dirty="0">
              <a:solidFill>
                <a:srgbClr val="FFFFFF"/>
              </a:solidFill>
              <a:highlight>
                <a:srgbClr val="FF00FF"/>
              </a:highlight>
              <a:latin typeface="YS Text Light"/>
            </a:endParaRPr>
          </a:p>
          <a:p>
            <a:pPr marL="457177" indent="-457177" defTabSz="1828709">
              <a:lnSpc>
                <a:spcPct val="100000"/>
              </a:lnSpc>
              <a:spcBef>
                <a:spcPts val="0"/>
              </a:spcBef>
              <a:spcAft>
                <a:spcPts val="2800"/>
              </a:spcAft>
            </a:pPr>
            <a:endParaRPr lang="ru-RU" sz="4000" dirty="0">
              <a:solidFill>
                <a:srgbClr val="FFFFFF"/>
              </a:solidFill>
              <a:latin typeface="YS Text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187A56D-E48F-CBB0-614C-7F21918468B6}"/>
              </a:ext>
            </a:extLst>
          </p:cNvPr>
          <p:cNvSpPr txBox="1"/>
          <p:nvPr/>
        </p:nvSpPr>
        <p:spPr>
          <a:xfrm>
            <a:off x="13145291" y="10762949"/>
            <a:ext cx="1027852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828709"/>
            <a:r>
              <a:rPr lang="ru-RU" sz="3600" i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Мы не дойдём до человеческого интеллекта, если будем кормить модели одними словами»</a:t>
            </a:r>
            <a:endParaRPr lang="ru-RU" sz="36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defTabSz="1828709"/>
            <a:r>
              <a:rPr lang="ru-RU" sz="3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н </a:t>
            </a:r>
            <a:r>
              <a:rPr lang="ru-RU" sz="3600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Кун</a:t>
            </a:r>
            <a:endParaRPr lang="en-RU" sz="36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99630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9B84E2-795E-B503-F8F9-48F4CAD8DB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5">
            <a:extLst>
              <a:ext uri="{FF2B5EF4-FFF2-40B4-BE49-F238E27FC236}">
                <a16:creationId xmlns:a16="http://schemas.microsoft.com/office/drawing/2014/main" id="{A19DFAB3-2068-51B4-4264-8DED2EF39203}"/>
              </a:ext>
            </a:extLst>
          </p:cNvPr>
          <p:cNvSpPr txBox="1">
            <a:spLocks/>
          </p:cNvSpPr>
          <p:nvPr/>
        </p:nvSpPr>
        <p:spPr>
          <a:xfrm>
            <a:off x="600094" y="663258"/>
            <a:ext cx="12578335" cy="11193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9600" b="0" i="0" kern="1200">
                <a:solidFill>
                  <a:schemeClr val="bg1"/>
                </a:solidFill>
                <a:latin typeface="YS Text Regular" pitchFamily="2" charset="0"/>
                <a:ea typeface="+mj-ea"/>
                <a:cs typeface="+mj-cs"/>
              </a:defRPr>
            </a:lvl1pPr>
          </a:lstStyle>
          <a:p>
            <a:pPr defTabSz="1828709">
              <a:lnSpc>
                <a:spcPct val="80000"/>
              </a:lnSpc>
            </a:pPr>
            <a:r>
              <a:rPr lang="ru-RU" sz="9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имание</a:t>
            </a:r>
            <a:r>
              <a:rPr lang="en-US" sz="9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Китай</a:t>
            </a:r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5B7707D5-4F22-D277-D232-1B4AA2AC3569}"/>
              </a:ext>
            </a:extLst>
          </p:cNvPr>
          <p:cNvSpPr/>
          <p:nvPr/>
        </p:nvSpPr>
        <p:spPr>
          <a:xfrm>
            <a:off x="12110506" y="3414200"/>
            <a:ext cx="11661019" cy="9071409"/>
          </a:xfrm>
          <a:prstGeom prst="roundRect">
            <a:avLst>
              <a:gd name="adj" fmla="val 285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09"/>
            <a:endParaRPr lang="ru-RU" sz="3600">
              <a:solidFill>
                <a:srgbClr val="313131"/>
              </a:solidFill>
              <a:latin typeface="YS Text Light"/>
            </a:endParaRPr>
          </a:p>
        </p:txBody>
      </p:sp>
      <p:pic>
        <p:nvPicPr>
          <p:cNvPr id="4" name="-5682082029236480033.mp4">
            <a:hlinkClick r:id="" action="ppaction://media"/>
            <a:extLst>
              <a:ext uri="{FF2B5EF4-FFF2-40B4-BE49-F238E27FC236}">
                <a16:creationId xmlns:a16="http://schemas.microsoft.com/office/drawing/2014/main" id="{D4D79E0C-C36A-5AB8-4B93-83E2B09F8FB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2110506" y="3414201"/>
            <a:ext cx="11661019" cy="6559323"/>
          </a:xfrm>
          <a:prstGeom prst="roundRect">
            <a:avLst>
              <a:gd name="adj" fmla="val 3920"/>
            </a:avLst>
          </a:prstGeom>
        </p:spPr>
      </p:pic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DF0D2B16-E359-65C2-4EA9-3C2AC8FC9882}"/>
              </a:ext>
            </a:extLst>
          </p:cNvPr>
          <p:cNvSpPr txBox="1">
            <a:spLocks/>
          </p:cNvSpPr>
          <p:nvPr/>
        </p:nvSpPr>
        <p:spPr>
          <a:xfrm>
            <a:off x="600094" y="2996786"/>
            <a:ext cx="11186694" cy="1055673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828709">
              <a:lnSpc>
                <a:spcPct val="100000"/>
              </a:lnSpc>
              <a:spcBef>
                <a:spcPts val="0"/>
              </a:spcBef>
              <a:spcAft>
                <a:spcPts val="2800"/>
              </a:spcAft>
              <a:buNone/>
            </a:pP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 Китая — быть готовым к </a:t>
            </a:r>
            <a:r>
              <a:rPr lang="ru-RU" sz="4000" dirty="0">
                <a:solidFill>
                  <a:srgbClr val="FFFFFF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массовому производству человекоподобных роботов </a:t>
            </a:r>
            <a:br>
              <a:rPr lang="ru-RU" sz="4000" dirty="0">
                <a:solidFill>
                  <a:srgbClr val="FFFFFF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solidFill>
                  <a:srgbClr val="FFFFFF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в 2025-м</a:t>
            </a:r>
          </a:p>
          <a:p>
            <a:pPr marL="0" indent="0" defTabSz="1828709">
              <a:lnSpc>
                <a:spcPct val="100000"/>
              </a:lnSpc>
              <a:spcBef>
                <a:spcPts val="0"/>
              </a:spcBef>
              <a:spcAft>
                <a:spcPts val="2800"/>
              </a:spcAft>
              <a:buNone/>
            </a:pP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на строит систему инноваций в робототехнике, совершает прорывы в основных технологиях и обеспечивает надёжные и эффективно работающие цепочки поставок ключевых компонентов</a:t>
            </a:r>
          </a:p>
          <a:p>
            <a:pPr marL="0" indent="0" defTabSz="1828709">
              <a:lnSpc>
                <a:spcPct val="100000"/>
              </a:lnSpc>
              <a:spcBef>
                <a:spcPts val="0"/>
              </a:spcBef>
              <a:spcAft>
                <a:spcPts val="2800"/>
              </a:spcAft>
              <a:buNone/>
            </a:pP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ководящие документы устанавливают, что </a:t>
            </a:r>
            <a:b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solidFill>
                  <a:srgbClr val="FFFFFF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к 2027-му человекообразные роботы должны стать важным локомотивом экономического роста Китая</a:t>
            </a:r>
            <a:r>
              <a:rPr lang="en-US" sz="4000" baseline="30000" dirty="0">
                <a:solidFill>
                  <a:srgbClr val="FFFFFF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endParaRPr lang="ru-RU" sz="4000" baseline="30000" dirty="0">
              <a:solidFill>
                <a:srgbClr val="FFFFFF"/>
              </a:solidFill>
              <a:highlight>
                <a:srgbClr val="FF00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defTabSz="1828709">
              <a:lnSpc>
                <a:spcPct val="100000"/>
              </a:lnSpc>
              <a:spcBef>
                <a:spcPts val="0"/>
              </a:spcBef>
              <a:spcAft>
                <a:spcPts val="2800"/>
              </a:spcAft>
              <a:buNone/>
            </a:pP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сштабы господдержки: </a:t>
            </a:r>
            <a:r>
              <a:rPr lang="ru-RU" sz="4000" dirty="0">
                <a:solidFill>
                  <a:srgbClr val="FFFFFF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$20 млрд в прошлом году, создание фонда на $137 млрд</a:t>
            </a:r>
            <a:r>
              <a:rPr lang="ru-RU" sz="4000" dirty="0">
                <a:solidFill>
                  <a:srgbClr val="FFFFFF"/>
                </a:solidFill>
                <a:highlight>
                  <a:srgbClr val="FF00FF"/>
                </a:highlight>
                <a:latin typeface="YS Text Light"/>
              </a:rPr>
              <a:t>.</a:t>
            </a:r>
          </a:p>
          <a:p>
            <a:pPr marL="0" indent="0" defTabSz="1828709">
              <a:lnSpc>
                <a:spcPct val="100000"/>
              </a:lnSpc>
              <a:spcBef>
                <a:spcPts val="0"/>
              </a:spcBef>
              <a:spcAft>
                <a:spcPts val="2800"/>
              </a:spcAft>
              <a:buNone/>
            </a:pPr>
            <a:endParaRPr lang="ru-RU" sz="4000" baseline="30000" dirty="0">
              <a:solidFill>
                <a:srgbClr val="FFFFFF"/>
              </a:solidFill>
              <a:highlight>
                <a:srgbClr val="799DFF"/>
              </a:highlight>
              <a:latin typeface="YS Text Light"/>
            </a:endParaRPr>
          </a:p>
        </p:txBody>
      </p:sp>
      <p:sp>
        <p:nvSpPr>
          <p:cNvPr id="6" name="Footer Placeholder 39">
            <a:hlinkClick r:id="rId5"/>
            <a:extLst>
              <a:ext uri="{FF2B5EF4-FFF2-40B4-BE49-F238E27FC236}">
                <a16:creationId xmlns:a16="http://schemas.microsoft.com/office/drawing/2014/main" id="{E8082B5A-CA5D-26BA-7C82-09211A45F5D2}"/>
              </a:ext>
            </a:extLst>
          </p:cNvPr>
          <p:cNvSpPr txBox="1">
            <a:spLocks/>
          </p:cNvSpPr>
          <p:nvPr/>
        </p:nvSpPr>
        <p:spPr>
          <a:xfrm>
            <a:off x="12064341" y="13023233"/>
            <a:ext cx="15756320" cy="43970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505">
              <a:defRPr/>
            </a:pPr>
            <a:r>
              <a:rPr lang="en-US" sz="1200" dirty="0">
                <a:solidFill>
                  <a:srgbClr val="FFFFFF"/>
                </a:solidFill>
                <a:latin typeface="YS Text Light"/>
              </a:rPr>
              <a:t>*</a:t>
            </a:r>
            <a:r>
              <a:rPr lang="en-US" sz="1200" baseline="30000" dirty="0">
                <a:solidFill>
                  <a:srgbClr val="FFFFFF"/>
                </a:solidFill>
                <a:latin typeface="YS Text Light"/>
              </a:rPr>
              <a:t> </a:t>
            </a:r>
            <a:r>
              <a:rPr lang="en-US" sz="1200" dirty="0">
                <a:solidFill>
                  <a:srgbClr val="FFFFFF"/>
                </a:solidFill>
                <a:latin typeface="YS Text Light"/>
              </a:rPr>
              <a:t>China plans to mass produce humanoids by 2025 — </a:t>
            </a:r>
            <a:r>
              <a:rPr lang="en-US" sz="1200" dirty="0" err="1">
                <a:solidFill>
                  <a:srgbClr val="FFFFFF"/>
                </a:solidFill>
                <a:latin typeface="YS Text Light"/>
              </a:rPr>
              <a:t>therobotreport</a:t>
            </a:r>
            <a:endParaRPr lang="en-US" sz="1200" dirty="0">
              <a:solidFill>
                <a:srgbClr val="FFFFFF"/>
              </a:solidFill>
              <a:latin typeface="YS Text Light"/>
            </a:endParaRPr>
          </a:p>
        </p:txBody>
      </p:sp>
      <p:sp>
        <p:nvSpPr>
          <p:cNvPr id="7" name="Google Shape;881;p93">
            <a:extLst>
              <a:ext uri="{FF2B5EF4-FFF2-40B4-BE49-F238E27FC236}">
                <a16:creationId xmlns:a16="http://schemas.microsoft.com/office/drawing/2014/main" id="{0C1E8E81-DFFE-610D-2D20-F313771EC78D}"/>
              </a:ext>
            </a:extLst>
          </p:cNvPr>
          <p:cNvSpPr txBox="1">
            <a:spLocks/>
          </p:cNvSpPr>
          <p:nvPr/>
        </p:nvSpPr>
        <p:spPr>
          <a:xfrm>
            <a:off x="12684679" y="10731000"/>
            <a:ext cx="9004864" cy="997196"/>
          </a:xfrm>
          <a:prstGeom prst="rect">
            <a:avLst/>
          </a:prstGeom>
        </p:spPr>
        <p:txBody>
          <a:bodyPr spcFirstLastPara="1"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828709">
              <a:spcBef>
                <a:spcPts val="0"/>
              </a:spcBef>
              <a:buNone/>
            </a:pPr>
            <a:r>
              <a:rPr lang="ru-RU" sz="3600" dirty="0">
                <a:solidFill>
                  <a:srgbClr val="3131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спроизведение на скорости 1х; </a:t>
            </a:r>
            <a:br>
              <a:rPr lang="ru-RU" sz="3600" dirty="0">
                <a:solidFill>
                  <a:srgbClr val="31313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600" dirty="0">
                <a:solidFill>
                  <a:srgbClr val="3131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вность и точность движений</a:t>
            </a:r>
          </a:p>
        </p:txBody>
      </p:sp>
    </p:spTree>
    <p:extLst>
      <p:ext uri="{BB962C8B-B14F-4D97-AF65-F5344CB8AC3E}">
        <p14:creationId xmlns:p14="http://schemas.microsoft.com/office/powerpoint/2010/main" val="19273846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333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D3F641-CF6F-0F46-CAC9-BCCD8B5F42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96701" y="936510"/>
            <a:ext cx="22286499" cy="997196"/>
          </a:xfrm>
        </p:spPr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– это большая экосистема</a:t>
            </a:r>
            <a:endParaRPr lang="en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AB41B34-789B-76F9-FE50-8419D8BE3D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6247" y="2761488"/>
            <a:ext cx="19885155" cy="9217152"/>
          </a:xfrm>
          <a:prstGeom prst="round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2CF7FC8-2D36-D9A7-FC6C-C1660CCBFD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6247" y="401836"/>
            <a:ext cx="7080454" cy="2066544"/>
          </a:xfrm>
          <a:prstGeom prst="round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BFAFA63-A1C3-7428-0981-67B33C5D311E}"/>
              </a:ext>
            </a:extLst>
          </p:cNvPr>
          <p:cNvSpPr txBox="1"/>
          <p:nvPr/>
        </p:nvSpPr>
        <p:spPr>
          <a:xfrm>
            <a:off x="17524465" y="12271748"/>
            <a:ext cx="5953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https://</a:t>
            </a:r>
            <a:r>
              <a:rPr lang="en-GB" sz="2400" dirty="0" err="1">
                <a:latin typeface="Arial" panose="020B0604020202020204" pitchFamily="34" charset="0"/>
                <a:cs typeface="Arial" panose="020B0604020202020204" pitchFamily="34" charset="0"/>
              </a:rPr>
              <a:t>education.yandex.ru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n-GB" sz="2400" dirty="0" err="1">
                <a:latin typeface="Arial" panose="020B0604020202020204" pitchFamily="34" charset="0"/>
                <a:cs typeface="Arial" panose="020B0604020202020204" pitchFamily="34" charset="0"/>
              </a:rPr>
              <a:t>uchebnik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/main</a:t>
            </a:r>
            <a:endParaRPr lang="en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57037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E6E345-0C9B-60F8-FEF1-B6C721FDC8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1EEE75-AB8A-F4B6-5107-8F203C4B0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96701" y="936510"/>
            <a:ext cx="22286499" cy="997196"/>
          </a:xfrm>
        </p:spPr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– это большая экосистема</a:t>
            </a:r>
            <a:endParaRPr lang="en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CC50FCF-BA1E-17AE-066F-5BF8E6D754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6247" y="2761488"/>
            <a:ext cx="19885155" cy="9217152"/>
          </a:xfrm>
          <a:prstGeom prst="round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E88B5AD-FA05-7F01-C244-D3E2CAB185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6247" y="401836"/>
            <a:ext cx="7080454" cy="2066544"/>
          </a:xfrm>
          <a:prstGeom prst="round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19E6BAD-F73E-3F20-BB55-7A50FA06153A}"/>
              </a:ext>
            </a:extLst>
          </p:cNvPr>
          <p:cNvSpPr txBox="1"/>
          <p:nvPr/>
        </p:nvSpPr>
        <p:spPr>
          <a:xfrm>
            <a:off x="17524465" y="12271748"/>
            <a:ext cx="5953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ttps://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ducation.yandex.ru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/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chebnik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/main</a:t>
            </a:r>
            <a:endParaRPr kumimoji="0" lang="en-RU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9EDB418-268F-7185-415A-685A85C560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0700469">
            <a:off x="242624" y="4304033"/>
            <a:ext cx="20842505" cy="7251368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27727361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B11B83-1806-CD92-BC9D-FAE7332866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6FA15A-CBDC-213D-5C11-CD294F2D61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96701" y="936510"/>
            <a:ext cx="22286499" cy="997196"/>
          </a:xfrm>
        </p:spPr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– это большая экосистема</a:t>
            </a:r>
            <a:endParaRPr lang="en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9A4AC7E-70EA-51BD-7A23-7E84FA323E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6247" y="2761488"/>
            <a:ext cx="19885155" cy="9217152"/>
          </a:xfrm>
          <a:prstGeom prst="round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69ABEBA-A7D2-1E78-DFC2-9D549D7C8C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6247" y="401836"/>
            <a:ext cx="7080454" cy="2066544"/>
          </a:xfrm>
          <a:prstGeom prst="round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3B81235-5F49-68F3-8B95-AF0055AE383F}"/>
              </a:ext>
            </a:extLst>
          </p:cNvPr>
          <p:cNvSpPr txBox="1"/>
          <p:nvPr/>
        </p:nvSpPr>
        <p:spPr>
          <a:xfrm>
            <a:off x="17524465" y="12271748"/>
            <a:ext cx="5953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ttps://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ducation.yandex.ru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/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chebnik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/main</a:t>
            </a:r>
            <a:endParaRPr kumimoji="0" lang="en-RU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1072A0-9900-2122-5506-BB7BCA09F2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0700469">
            <a:off x="242624" y="4304033"/>
            <a:ext cx="20842505" cy="7251368"/>
          </a:xfrm>
          <a:prstGeom prst="round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02B6FE2-E691-3F5C-71CC-C554A896CA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841368">
            <a:off x="631748" y="4761773"/>
            <a:ext cx="17617159" cy="7381101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8717247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CF1B21-0FB5-F31E-4125-F28C836696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>
            <a:extLst>
              <a:ext uri="{FF2B5EF4-FFF2-40B4-BE49-F238E27FC236}">
                <a16:creationId xmlns:a16="http://schemas.microsoft.com/office/drawing/2014/main" id="{DEEC34F0-B7A5-792E-D767-2375B7F844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8" y="446"/>
            <a:ext cx="24379321" cy="13715109"/>
          </a:xfrm>
          <a:prstGeom prst="rect">
            <a:avLst/>
          </a:prstGeom>
        </p:spPr>
      </p:pic>
      <p:sp>
        <p:nvSpPr>
          <p:cNvPr id="3" name="Заголовок 5">
            <a:extLst>
              <a:ext uri="{FF2B5EF4-FFF2-40B4-BE49-F238E27FC236}">
                <a16:creationId xmlns:a16="http://schemas.microsoft.com/office/drawing/2014/main" id="{925EC5E1-080A-FC4E-DAE0-6E8E96614AE6}"/>
              </a:ext>
            </a:extLst>
          </p:cNvPr>
          <p:cNvSpPr txBox="1">
            <a:spLocks/>
          </p:cNvSpPr>
          <p:nvPr/>
        </p:nvSpPr>
        <p:spPr>
          <a:xfrm>
            <a:off x="600093" y="663258"/>
            <a:ext cx="22510194" cy="11193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9600" b="0" i="0" kern="1200">
                <a:solidFill>
                  <a:schemeClr val="bg1"/>
                </a:solidFill>
                <a:latin typeface="YS Text Regular" pitchFamily="2" charset="0"/>
                <a:ea typeface="+mj-ea"/>
                <a:cs typeface="+mj-cs"/>
              </a:defRPr>
            </a:lvl1pPr>
          </a:lstStyle>
          <a:p>
            <a:pPr defTabSz="1828709">
              <a:lnSpc>
                <a:spcPct val="80000"/>
              </a:lnSpc>
            </a:pPr>
            <a:r>
              <a:rPr lang="ru-RU" sz="9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2016 году в Москве в Олимпийском</a:t>
            </a:r>
          </a:p>
        </p:txBody>
      </p:sp>
      <p:sp>
        <p:nvSpPr>
          <p:cNvPr id="4" name="Footer Placeholder 39">
            <a:extLst>
              <a:ext uri="{FF2B5EF4-FFF2-40B4-BE49-F238E27FC236}">
                <a16:creationId xmlns:a16="http://schemas.microsoft.com/office/drawing/2014/main" id="{EB09F58A-FC9C-86E4-6631-7FBFE6FF0948}"/>
              </a:ext>
            </a:extLst>
          </p:cNvPr>
          <p:cNvSpPr txBox="1">
            <a:spLocks/>
          </p:cNvSpPr>
          <p:nvPr/>
        </p:nvSpPr>
        <p:spPr>
          <a:xfrm>
            <a:off x="427279" y="12888914"/>
            <a:ext cx="15756320" cy="43970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spcAft>
                <a:spcPts val="4800"/>
              </a:spcAft>
              <a:defRPr/>
            </a:pPr>
            <a:r>
              <a:rPr lang="en-GB" sz="1200" dirty="0">
                <a:solidFill>
                  <a:srgbClr val="FFFFFF"/>
                </a:solidFill>
                <a:latin typeface="YS Text Light"/>
              </a:rPr>
              <a:t>https://</a:t>
            </a:r>
            <a:r>
              <a:rPr lang="en-GB" sz="1200" dirty="0" err="1">
                <a:solidFill>
                  <a:srgbClr val="FFFFFF"/>
                </a:solidFill>
                <a:latin typeface="YS Text Light"/>
              </a:rPr>
              <a:t>rutube.ru</a:t>
            </a:r>
            <a:r>
              <a:rPr lang="en-GB" sz="1200" dirty="0">
                <a:solidFill>
                  <a:srgbClr val="FFFFFF"/>
                </a:solidFill>
                <a:latin typeface="YS Text Light"/>
              </a:rPr>
              <a:t>/video/ea55028a8d29e457eed272af931481fd/</a:t>
            </a:r>
            <a:endParaRPr lang="x-none" sz="1200" dirty="0" err="1">
              <a:solidFill>
                <a:srgbClr val="FFFFFF"/>
              </a:solidFill>
              <a:latin typeface="YS Text Light"/>
            </a:endParaRPr>
          </a:p>
        </p:txBody>
      </p:sp>
    </p:spTree>
    <p:extLst>
      <p:ext uri="{BB962C8B-B14F-4D97-AF65-F5344CB8AC3E}">
        <p14:creationId xmlns:p14="http://schemas.microsoft.com/office/powerpoint/2010/main" val="320098538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F43BB9-A73B-D63A-B2B2-8F23E22E43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A5FBE6-ADEE-473A-864B-3BF172C914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96701" y="936510"/>
            <a:ext cx="22286499" cy="997196"/>
          </a:xfrm>
        </p:spPr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– это большая экосистема</a:t>
            </a:r>
            <a:endParaRPr lang="en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7465663-E8F2-A6B5-8B9E-C2FE290102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6247" y="2761488"/>
            <a:ext cx="19885155" cy="9217152"/>
          </a:xfrm>
          <a:prstGeom prst="round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2976BC7-A65D-547B-B08B-C83CADBA7F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6247" y="401836"/>
            <a:ext cx="7080454" cy="2066544"/>
          </a:xfrm>
          <a:prstGeom prst="round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3DBC078-8BC3-201E-2B36-6B4FADAEAF41}"/>
              </a:ext>
            </a:extLst>
          </p:cNvPr>
          <p:cNvSpPr txBox="1"/>
          <p:nvPr/>
        </p:nvSpPr>
        <p:spPr>
          <a:xfrm>
            <a:off x="17524465" y="12271748"/>
            <a:ext cx="5953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ttps://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ducation.yandex.ru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/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chebnik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/main</a:t>
            </a:r>
            <a:endParaRPr kumimoji="0" lang="en-RU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4D198B0-D2A4-810F-C62C-5B8DF63F2B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0700469">
            <a:off x="242624" y="4304033"/>
            <a:ext cx="20842505" cy="7251368"/>
          </a:xfrm>
          <a:prstGeom prst="round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0E92DC5-DC1B-F5E9-529F-E902AF8884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841368">
            <a:off x="631748" y="4761773"/>
            <a:ext cx="17617159" cy="7381101"/>
          </a:xfrm>
          <a:prstGeom prst="round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E4BC30D-ADC7-DF76-7089-A82E9E235CD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581225" y="2468380"/>
            <a:ext cx="10897114" cy="10897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4026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A73B1D5-E243-5CF1-BE47-ACEA1DEE07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26390024" cy="14129657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46E24A65-BD7C-5175-D053-BCDC034D0D1A}"/>
              </a:ext>
            </a:extLst>
          </p:cNvPr>
          <p:cNvSpPr/>
          <p:nvPr/>
        </p:nvSpPr>
        <p:spPr>
          <a:xfrm rot="19575504">
            <a:off x="-696686" y="2242457"/>
            <a:ext cx="10645435" cy="3156857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ГЛАШАЕМ! </a:t>
            </a:r>
            <a:r>
              <a:rPr lang="ru-RU" sz="8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</a:t>
            </a:r>
            <a:endParaRPr lang="en-RU" sz="8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6467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5C8BC107-3B7E-4B6B-AC39-A185944582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765" y="1292814"/>
            <a:ext cx="17374267" cy="4234492"/>
          </a:xfrm>
        </p:spPr>
        <p:txBody>
          <a:bodyPr/>
          <a:lstStyle/>
          <a:p>
            <a:r>
              <a:rPr lang="ru-RU" sz="11500" dirty="0">
                <a:latin typeface="Arial" panose="020B0604020202020204" pitchFamily="34" charset="0"/>
                <a:cs typeface="Arial" panose="020B0604020202020204" pitchFamily="34" charset="0"/>
              </a:rPr>
              <a:t>Спасибо!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одзаголовок 17">
            <a:extLst>
              <a:ext uri="{FF2B5EF4-FFF2-40B4-BE49-F238E27FC236}">
                <a16:creationId xmlns:a16="http://schemas.microsoft.com/office/drawing/2014/main" id="{1D896FB2-5DBF-7C4A-9792-C1ABA9AB3FDE}"/>
              </a:ext>
            </a:extLst>
          </p:cNvPr>
          <p:cNvSpPr txBox="1">
            <a:spLocks/>
          </p:cNvSpPr>
          <p:nvPr/>
        </p:nvSpPr>
        <p:spPr>
          <a:xfrm>
            <a:off x="561765" y="7942473"/>
            <a:ext cx="4439960" cy="49244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 defTabSz="182870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lang="ru-RU" sz="3200" b="0" i="0" dirty="0">
                <a:latin typeface="YS Text Regular" pitchFamily="2" charset="-52"/>
              </a:defRPr>
            </a:lvl1pPr>
            <a:lvl2pPr marL="0" indent="0" defTabSz="182870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3200" b="0" i="0">
                <a:latin typeface="YS Text Bold" pitchFamily="2" charset="-52"/>
              </a:defRPr>
            </a:lvl2pPr>
            <a:lvl3pPr marL="0" indent="0" defTabSz="182870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3200" b="0" i="0">
                <a:latin typeface="YS Text Regular" pitchFamily="2" charset="-52"/>
              </a:defRPr>
            </a:lvl3pPr>
            <a:lvl4pPr marL="0" indent="0" defTabSz="182870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 b="0" i="0">
                <a:latin typeface="YS Text Regular" pitchFamily="2" charset="-52"/>
              </a:defRPr>
            </a:lvl4pPr>
            <a:lvl5pPr marL="0" indent="0" defTabSz="182870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b="0" i="0">
                <a:latin typeface="YS Text Regular" pitchFamily="2" charset="-52"/>
              </a:defRPr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G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@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asebrant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Текст 5">
            <a:extLst>
              <a:ext uri="{FF2B5EF4-FFF2-40B4-BE49-F238E27FC236}">
                <a16:creationId xmlns:a16="http://schemas.microsoft.com/office/drawing/2014/main" id="{A511205E-1C35-A84A-B2BC-8D24A778DAA4}"/>
              </a:ext>
            </a:extLst>
          </p:cNvPr>
          <p:cNvSpPr txBox="1">
            <a:spLocks/>
          </p:cNvSpPr>
          <p:nvPr/>
        </p:nvSpPr>
        <p:spPr>
          <a:xfrm>
            <a:off x="382588" y="12867004"/>
            <a:ext cx="3218914" cy="49244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 defTabSz="182870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3200" b="0" i="0">
                <a:latin typeface="YS Text Regular" pitchFamily="2" charset="-52"/>
              </a:defRPr>
            </a:lvl1pPr>
            <a:lvl2pPr marL="0" indent="0" defTabSz="182870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3200" b="0" i="0">
                <a:latin typeface="YS Text Bold" pitchFamily="2" charset="-52"/>
              </a:defRPr>
            </a:lvl2pPr>
            <a:lvl3pPr marL="0" indent="0" defTabSz="182870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3200" b="0" i="0">
                <a:latin typeface="YS Text Regular" pitchFamily="2" charset="-52"/>
              </a:defRPr>
            </a:lvl3pPr>
            <a:lvl4pPr marL="0" indent="0" defTabSz="182870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 b="0" i="0">
                <a:latin typeface="YS Text Regular" pitchFamily="2" charset="-52"/>
              </a:defRPr>
            </a:lvl4pPr>
            <a:lvl5pPr marL="0" indent="0" defTabSz="182870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b="0" i="0">
                <a:latin typeface="YS Text Regular" pitchFamily="2" charset="-52"/>
              </a:defRPr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G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@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echspark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9" name="Текст 5">
            <a:extLst>
              <a:ext uri="{FF2B5EF4-FFF2-40B4-BE49-F238E27FC236}">
                <a16:creationId xmlns:a16="http://schemas.microsoft.com/office/drawing/2014/main" id="{E4F822AB-5CF7-C44D-A493-D6FBC97711D9}"/>
              </a:ext>
            </a:extLst>
          </p:cNvPr>
          <p:cNvSpPr txBox="1">
            <a:spLocks/>
          </p:cNvSpPr>
          <p:nvPr/>
        </p:nvSpPr>
        <p:spPr>
          <a:xfrm>
            <a:off x="5219687" y="12867004"/>
            <a:ext cx="3218914" cy="49244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 defTabSz="182870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3200" b="0" i="0">
                <a:latin typeface="YS Text Regular" pitchFamily="2" charset="-52"/>
              </a:defRPr>
            </a:lvl1pPr>
            <a:lvl2pPr marL="0" indent="0" defTabSz="182870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3200" b="0" i="0">
                <a:latin typeface="YS Text Bold" pitchFamily="2" charset="-52"/>
              </a:defRPr>
            </a:lvl2pPr>
            <a:lvl3pPr marL="0" indent="0" defTabSz="182870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3200" b="0" i="0">
                <a:latin typeface="YS Text Regular" pitchFamily="2" charset="-52"/>
              </a:defRPr>
            </a:lvl3pPr>
            <a:lvl4pPr marL="0" indent="0" defTabSz="182870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 b="0" i="0">
                <a:latin typeface="YS Text Regular" pitchFamily="2" charset="-52"/>
              </a:defRPr>
            </a:lvl4pPr>
            <a:lvl5pPr marL="0" indent="0" defTabSz="1828709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b="0" i="0">
                <a:latin typeface="YS Text Regular" pitchFamily="2" charset="-52"/>
              </a:defRPr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sebrant.chat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15">
            <a:extLst>
              <a:ext uri="{FF2B5EF4-FFF2-40B4-BE49-F238E27FC236}">
                <a16:creationId xmlns:a16="http://schemas.microsoft.com/office/drawing/2014/main" id="{6EAF257B-2974-9E4F-A70F-D12812CD6A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9687" y="9667918"/>
            <a:ext cx="2755268" cy="2755268"/>
          </a:xfrm>
          <a:prstGeom prst="rect">
            <a:avLst/>
          </a:prstGeom>
        </p:spPr>
      </p:pic>
      <p:pic>
        <p:nvPicPr>
          <p:cNvPr id="11" name="Picture 8">
            <a:extLst>
              <a:ext uri="{FF2B5EF4-FFF2-40B4-BE49-F238E27FC236}">
                <a16:creationId xmlns:a16="http://schemas.microsoft.com/office/drawing/2014/main" id="{0E9A6524-52D8-1447-91E3-23F880F84F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588" y="9667918"/>
            <a:ext cx="2755268" cy="2755268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6E291DA-D9FE-D94C-B78D-FF90B5A68806}"/>
              </a:ext>
            </a:extLst>
          </p:cNvPr>
          <p:cNvSpPr txBox="1">
            <a:spLocks/>
          </p:cNvSpPr>
          <p:nvPr/>
        </p:nvSpPr>
        <p:spPr>
          <a:xfrm>
            <a:off x="561765" y="6892242"/>
            <a:ext cx="7649348" cy="984885"/>
          </a:xfrm>
          <a:prstGeom prst="rect">
            <a:avLst/>
          </a:prstGeom>
        </p:spPr>
        <p:txBody>
          <a:bodyPr/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44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3200" b="0" i="0" kern="1200">
                <a:solidFill>
                  <a:schemeClr val="tx1"/>
                </a:solidFill>
                <a:latin typeface="YS Text Bold" pitchFamily="2" charset="-52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3200" b="0" i="0" kern="1200">
                <a:solidFill>
                  <a:schemeClr val="tx1"/>
                </a:solidFill>
                <a:latin typeface="YS Text Regular" pitchFamily="2" charset="-52"/>
                <a:ea typeface="+mn-ea"/>
                <a:cs typeface="+mn-cs"/>
              </a:defRPr>
            </a:lvl3pPr>
            <a:lvl4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YS Text Regular" pitchFamily="2" charset="-52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YS Text Regular" pitchFamily="2" charset="-52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4000" dirty="0">
                <a:latin typeface="Arial" panose="020B0604020202020204" pitchFamily="34" charset="0"/>
                <a:cs typeface="Arial" panose="020B0604020202020204" pitchFamily="34" charset="0"/>
              </a:rPr>
              <a:t>Андрей </a:t>
            </a:r>
            <a:r>
              <a:rPr lang="ru-RU" sz="4000" dirty="0" err="1">
                <a:latin typeface="Arial" panose="020B0604020202020204" pitchFamily="34" charset="0"/>
                <a:cs typeface="Arial" panose="020B0604020202020204" pitchFamily="34" charset="0"/>
              </a:rPr>
              <a:t>Себрант</a:t>
            </a:r>
            <a:endParaRPr lang="en-US" sz="4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2DF9DAE-6E4B-501D-40D4-68CA85C786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318248" y="5725181"/>
            <a:ext cx="6502400" cy="6502400"/>
          </a:xfrm>
          <a:prstGeom prst="roundRect">
            <a:avLst>
              <a:gd name="adj" fmla="val 28125"/>
            </a:avLst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6D866D8-290F-BFB6-5D4B-9A6B35AE39FF}"/>
              </a:ext>
            </a:extLst>
          </p:cNvPr>
          <p:cNvSpPr txBox="1"/>
          <p:nvPr/>
        </p:nvSpPr>
        <p:spPr>
          <a:xfrm>
            <a:off x="17578084" y="4880975"/>
            <a:ext cx="59827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>
                <a:latin typeface="Arial" panose="020B0604020202020204" pitchFamily="34" charset="0"/>
                <a:cs typeface="Arial" panose="020B0604020202020204" pitchFamily="34" charset="0"/>
              </a:rPr>
              <a:t>Лучшее, конечно, впереди!</a:t>
            </a:r>
            <a:endParaRPr lang="en-RU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64980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9643DC-E1BB-5A4D-29B8-6667FC5312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 descr="A rocket made out of dots and lines&#10;&#10;Description automatically generated">
            <a:extLst>
              <a:ext uri="{FF2B5EF4-FFF2-40B4-BE49-F238E27FC236}">
                <a16:creationId xmlns:a16="http://schemas.microsoft.com/office/drawing/2014/main" id="{C85C3443-9222-DBE1-21CB-E57977335FB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" t="472" r="-1" b="3323"/>
          <a:stretch/>
        </p:blipFill>
        <p:spPr>
          <a:xfrm>
            <a:off x="12375345" y="4324876"/>
            <a:ext cx="5511439" cy="5302261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5CD56268-8179-29DD-0EFF-FD94E2C69A19}"/>
              </a:ext>
            </a:extLst>
          </p:cNvPr>
          <p:cNvSpPr/>
          <p:nvPr/>
        </p:nvSpPr>
        <p:spPr>
          <a:xfrm>
            <a:off x="598459" y="4324876"/>
            <a:ext cx="5516193" cy="530226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09"/>
            <a:endParaRPr lang="ru-RU" sz="3600">
              <a:solidFill>
                <a:srgbClr val="313131"/>
              </a:solidFill>
              <a:latin typeface="YS Text Light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C153AB44-F006-2F78-1213-6DA9824E801C}"/>
              </a:ext>
            </a:extLst>
          </p:cNvPr>
          <p:cNvSpPr/>
          <p:nvPr/>
        </p:nvSpPr>
        <p:spPr>
          <a:xfrm>
            <a:off x="6489278" y="4324876"/>
            <a:ext cx="5511439" cy="530226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09"/>
            <a:endParaRPr lang="ru-RU" sz="3600">
              <a:solidFill>
                <a:srgbClr val="313131"/>
              </a:solidFill>
              <a:latin typeface="YS Text Light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7AE1A93-8AF6-BC44-4396-844641FE0CBC}"/>
              </a:ext>
            </a:extLst>
          </p:cNvPr>
          <p:cNvSpPr/>
          <p:nvPr/>
        </p:nvSpPr>
        <p:spPr>
          <a:xfrm>
            <a:off x="18261412" y="4324876"/>
            <a:ext cx="5511439" cy="530226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09"/>
            <a:endParaRPr lang="ru-RU" sz="3600">
              <a:solidFill>
                <a:srgbClr val="313131"/>
              </a:solidFill>
              <a:latin typeface="YS Text Light"/>
            </a:endParaRPr>
          </a:p>
        </p:txBody>
      </p:sp>
      <p:sp>
        <p:nvSpPr>
          <p:cNvPr id="9" name="Заголовок 5">
            <a:extLst>
              <a:ext uri="{FF2B5EF4-FFF2-40B4-BE49-F238E27FC236}">
                <a16:creationId xmlns:a16="http://schemas.microsoft.com/office/drawing/2014/main" id="{318BB62C-D448-9F7C-1011-3A3BEA468B27}"/>
              </a:ext>
            </a:extLst>
          </p:cNvPr>
          <p:cNvSpPr txBox="1">
            <a:spLocks/>
          </p:cNvSpPr>
          <p:nvPr/>
        </p:nvSpPr>
        <p:spPr>
          <a:xfrm>
            <a:off x="600094" y="663259"/>
            <a:ext cx="16891626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9600" b="0" i="0" kern="1200">
                <a:solidFill>
                  <a:schemeClr val="bg1"/>
                </a:solidFill>
                <a:latin typeface="YS Text Regular" pitchFamily="2" charset="0"/>
                <a:ea typeface="+mj-ea"/>
                <a:cs typeface="+mj-cs"/>
              </a:defRPr>
            </a:lvl1pPr>
          </a:lstStyle>
          <a:p>
            <a:pPr defTabSz="1828709">
              <a:lnSpc>
                <a:spcPct val="80000"/>
              </a:lnSpc>
            </a:pPr>
            <a:r>
              <a:rPr lang="ru-RU" sz="9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бранные годы Яндекса</a:t>
            </a:r>
          </a:p>
        </p:txBody>
      </p:sp>
      <p:sp>
        <p:nvSpPr>
          <p:cNvPr id="10" name="Google Shape;913;p95">
            <a:extLst>
              <a:ext uri="{FF2B5EF4-FFF2-40B4-BE49-F238E27FC236}">
                <a16:creationId xmlns:a16="http://schemas.microsoft.com/office/drawing/2014/main" id="{85E7A0B3-BD0F-F60E-0F85-4954872743CC}"/>
              </a:ext>
            </a:extLst>
          </p:cNvPr>
          <p:cNvSpPr txBox="1">
            <a:spLocks/>
          </p:cNvSpPr>
          <p:nvPr/>
        </p:nvSpPr>
        <p:spPr>
          <a:xfrm>
            <a:off x="18887292" y="3862865"/>
            <a:ext cx="2332060" cy="1151597"/>
          </a:xfrm>
          <a:prstGeom prst="rect">
            <a:avLst/>
          </a:prstGeom>
        </p:spPr>
        <p:txBody>
          <a:bodyPr spcFirstLastPara="1"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828709">
              <a:lnSpc>
                <a:spcPct val="100000"/>
              </a:lnSpc>
              <a:spcBef>
                <a:spcPts val="0"/>
              </a:spcBef>
              <a:spcAft>
                <a:spcPts val="1334"/>
              </a:spcAft>
              <a:buNone/>
            </a:pPr>
            <a:r>
              <a:rPr lang="ru-RU" sz="6400" dirty="0">
                <a:solidFill>
                  <a:srgbClr val="FFFFFF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2025</a:t>
            </a:r>
          </a:p>
        </p:txBody>
      </p:sp>
      <p:sp>
        <p:nvSpPr>
          <p:cNvPr id="11" name="Google Shape;913;p95">
            <a:extLst>
              <a:ext uri="{FF2B5EF4-FFF2-40B4-BE49-F238E27FC236}">
                <a16:creationId xmlns:a16="http://schemas.microsoft.com/office/drawing/2014/main" id="{5A4BF460-EB07-742B-9EA9-39F42EA31C25}"/>
              </a:ext>
            </a:extLst>
          </p:cNvPr>
          <p:cNvSpPr txBox="1">
            <a:spLocks/>
          </p:cNvSpPr>
          <p:nvPr/>
        </p:nvSpPr>
        <p:spPr>
          <a:xfrm>
            <a:off x="12927284" y="3872558"/>
            <a:ext cx="2332060" cy="1151597"/>
          </a:xfrm>
          <a:prstGeom prst="rect">
            <a:avLst/>
          </a:prstGeom>
        </p:spPr>
        <p:txBody>
          <a:bodyPr spcFirstLastPara="1"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828709">
              <a:lnSpc>
                <a:spcPct val="100000"/>
              </a:lnSpc>
              <a:spcBef>
                <a:spcPts val="0"/>
              </a:spcBef>
              <a:spcAft>
                <a:spcPts val="1334"/>
              </a:spcAft>
              <a:buNone/>
            </a:pPr>
            <a:r>
              <a:rPr lang="ru-RU" sz="6400" dirty="0">
                <a:solidFill>
                  <a:srgbClr val="FFFFFF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</a:p>
        </p:txBody>
      </p:sp>
      <p:sp>
        <p:nvSpPr>
          <p:cNvPr id="12" name="Google Shape;913;p95">
            <a:extLst>
              <a:ext uri="{FF2B5EF4-FFF2-40B4-BE49-F238E27FC236}">
                <a16:creationId xmlns:a16="http://schemas.microsoft.com/office/drawing/2014/main" id="{8ABEE128-A17B-2BC0-34C2-5460D189703E}"/>
              </a:ext>
            </a:extLst>
          </p:cNvPr>
          <p:cNvSpPr txBox="1">
            <a:spLocks/>
          </p:cNvSpPr>
          <p:nvPr/>
        </p:nvSpPr>
        <p:spPr>
          <a:xfrm>
            <a:off x="6967276" y="3862865"/>
            <a:ext cx="2332060" cy="1151597"/>
          </a:xfrm>
          <a:prstGeom prst="rect">
            <a:avLst/>
          </a:prstGeom>
        </p:spPr>
        <p:txBody>
          <a:bodyPr spcFirstLastPara="1"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828709">
              <a:lnSpc>
                <a:spcPct val="100000"/>
              </a:lnSpc>
              <a:spcBef>
                <a:spcPts val="0"/>
              </a:spcBef>
              <a:spcAft>
                <a:spcPts val="1334"/>
              </a:spcAft>
              <a:buNone/>
            </a:pPr>
            <a:r>
              <a:rPr lang="ru-RU" sz="6400" dirty="0">
                <a:solidFill>
                  <a:srgbClr val="FFFFFF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2011</a:t>
            </a:r>
          </a:p>
        </p:txBody>
      </p:sp>
      <p:sp>
        <p:nvSpPr>
          <p:cNvPr id="13" name="Google Shape;913;p95">
            <a:extLst>
              <a:ext uri="{FF2B5EF4-FFF2-40B4-BE49-F238E27FC236}">
                <a16:creationId xmlns:a16="http://schemas.microsoft.com/office/drawing/2014/main" id="{A9F11AFB-A5F6-4AAC-74E6-F13D5CC68000}"/>
              </a:ext>
            </a:extLst>
          </p:cNvPr>
          <p:cNvSpPr txBox="1">
            <a:spLocks/>
          </p:cNvSpPr>
          <p:nvPr/>
        </p:nvSpPr>
        <p:spPr>
          <a:xfrm>
            <a:off x="1010868" y="3872559"/>
            <a:ext cx="4715693" cy="1151597"/>
          </a:xfrm>
          <a:prstGeom prst="rect">
            <a:avLst/>
          </a:prstGeom>
        </p:spPr>
        <p:txBody>
          <a:bodyPr spcFirstLastPara="1" wrap="square" lIns="0" tIns="0" rIns="0" bIns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828709">
              <a:lnSpc>
                <a:spcPct val="100000"/>
              </a:lnSpc>
              <a:spcBef>
                <a:spcPts val="0"/>
              </a:spcBef>
              <a:spcAft>
                <a:spcPts val="1334"/>
              </a:spcAft>
              <a:buNone/>
            </a:pPr>
            <a:r>
              <a:rPr lang="ru-RU" sz="6400" dirty="0">
                <a:solidFill>
                  <a:srgbClr val="FFFFFF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1997</a:t>
            </a: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4EFAD8E8-C8C5-FA7F-FB35-F6B6BF5691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827" y="6420682"/>
            <a:ext cx="4591057" cy="1412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>
            <a:extLst>
              <a:ext uri="{FF2B5EF4-FFF2-40B4-BE49-F238E27FC236}">
                <a16:creationId xmlns:a16="http://schemas.microsoft.com/office/drawing/2014/main" id="{0D91BBCC-ED1E-D2A0-D4A6-43CCD12DC0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8461" y="5587901"/>
            <a:ext cx="3865048" cy="3478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62887CB9-AE78-EC0B-35B0-6E47C410CBBD}"/>
              </a:ext>
            </a:extLst>
          </p:cNvPr>
          <p:cNvSpPr txBox="1">
            <a:spLocks/>
          </p:cNvSpPr>
          <p:nvPr/>
        </p:nvSpPr>
        <p:spPr>
          <a:xfrm>
            <a:off x="18712259" y="5241382"/>
            <a:ext cx="4834711" cy="3626442"/>
          </a:xfrm>
          <a:prstGeom prst="rect">
            <a:avLst/>
          </a:prstGeom>
        </p:spPr>
        <p:txBody>
          <a:bodyPr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828709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None/>
            </a:pPr>
            <a:r>
              <a:rPr lang="ru-RU" sz="3600" dirty="0">
                <a:solidFill>
                  <a:srgbClr val="000000"/>
                </a:solidFill>
                <a:latin typeface="YS Text Light"/>
              </a:rPr>
              <a:t>ИИ: </a:t>
            </a:r>
          </a:p>
          <a:p>
            <a:pPr marL="457177" indent="-457177" defTabSz="1828709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</a:pPr>
            <a:r>
              <a:rPr lang="ru-RU" sz="3600" dirty="0">
                <a:solidFill>
                  <a:srgbClr val="000000"/>
                </a:solidFill>
                <a:latin typeface="YS Text Light"/>
              </a:rPr>
              <a:t>Интернет</a:t>
            </a:r>
          </a:p>
          <a:p>
            <a:pPr marL="457177" indent="-457177" defTabSz="1828709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</a:pPr>
            <a:r>
              <a:rPr lang="ru-RU" sz="3600" dirty="0">
                <a:solidFill>
                  <a:srgbClr val="000000"/>
                </a:solidFill>
                <a:latin typeface="YS Text Light"/>
              </a:rPr>
              <a:t>Город</a:t>
            </a:r>
          </a:p>
          <a:p>
            <a:pPr marL="457177" indent="-457177" defTabSz="1828709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</a:pPr>
            <a:r>
              <a:rPr lang="ru-RU" sz="3600" dirty="0">
                <a:solidFill>
                  <a:srgbClr val="000000"/>
                </a:solidFill>
                <a:latin typeface="YS Text Light"/>
              </a:rPr>
              <a:t>Дом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F54C3537-0B5A-DDB0-947C-75C3DEBE34F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169602" y="7833315"/>
            <a:ext cx="1485787" cy="148578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FB37DA0-CFAA-31AB-1A14-82A16074FDC2}"/>
              </a:ext>
            </a:extLst>
          </p:cNvPr>
          <p:cNvSpPr txBox="1"/>
          <p:nvPr/>
        </p:nvSpPr>
        <p:spPr>
          <a:xfrm>
            <a:off x="596828" y="10515963"/>
            <a:ext cx="11809643" cy="2062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71471" indent="-571471" defTabSz="1828709">
              <a:buFont typeface="Arial" panose="020B0604020202020204" pitchFamily="34" charset="0"/>
              <a:buChar char="•"/>
            </a:pPr>
            <a:r>
              <a:rPr lang="ru-RU" sz="6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а прорастает в </a:t>
            </a:r>
            <a:r>
              <a:rPr lang="ru-RU" sz="6400" dirty="0">
                <a:solidFill>
                  <a:srgbClr val="FFFFFF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офлайн</a:t>
            </a:r>
          </a:p>
          <a:p>
            <a:pPr marL="571471" indent="-571471" defTabSz="1828709">
              <a:buFont typeface="Arial" panose="020B0604020202020204" pitchFamily="34" charset="0"/>
              <a:buChar char="•"/>
            </a:pPr>
            <a:r>
              <a:rPr lang="ru-RU" sz="6400" dirty="0">
                <a:solidFill>
                  <a:srgbClr val="FFFFFF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ИИ</a:t>
            </a:r>
            <a:r>
              <a:rPr lang="ru-RU" sz="6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чти везде</a:t>
            </a:r>
            <a:endParaRPr lang="en-RU" sz="64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10351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C75FEB-6713-BFC5-60CB-90C0D83C61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7" y="593726"/>
            <a:ext cx="23155403" cy="997196"/>
          </a:xfrm>
        </p:spPr>
        <p:txBody>
          <a:bodyPr/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Новый вызов для образования</a:t>
            </a:r>
            <a:endParaRPr lang="en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CEBD0F31-4C6D-0201-F5D5-249EDEFF11E1}"/>
              </a:ext>
            </a:extLst>
          </p:cNvPr>
          <p:cNvPicPr>
            <a:picLocks noGrp="1" noChangeAspect="1"/>
          </p:cNvPicPr>
          <p:nvPr>
            <p:ph sz="quarter" idx="19"/>
          </p:nvPr>
        </p:nvPicPr>
        <p:blipFill>
          <a:blip r:embed="rId2"/>
          <a:stretch>
            <a:fillRect/>
          </a:stretch>
        </p:blipFill>
        <p:spPr>
          <a:xfrm>
            <a:off x="9663953" y="4780872"/>
            <a:ext cx="13950670" cy="8092444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AAB84F6-B407-B65F-4AC3-DBBA440F2868}"/>
              </a:ext>
            </a:extLst>
          </p:cNvPr>
          <p:cNvSpPr txBox="1"/>
          <p:nvPr/>
        </p:nvSpPr>
        <p:spPr>
          <a:xfrm>
            <a:off x="616247" y="2232375"/>
            <a:ext cx="11922110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800" i="1" dirty="0">
                <a:solidFill>
                  <a:schemeClr val="bg1">
                    <a:lumMod val="10000"/>
                    <a:lumOff val="90000"/>
                  </a:schemeClr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Информатика – </a:t>
            </a:r>
            <a:br>
              <a:rPr lang="ru-RU" sz="4800" i="1" dirty="0">
                <a:solidFill>
                  <a:schemeClr val="bg1">
                    <a:lumMod val="10000"/>
                    <a:lumOff val="90000"/>
                  </a:schemeClr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800" i="1" dirty="0">
                <a:solidFill>
                  <a:schemeClr val="bg1">
                    <a:lumMod val="10000"/>
                    <a:lumOff val="90000"/>
                  </a:schemeClr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это теперь наука об окружающем мире</a:t>
            </a:r>
            <a:endParaRPr lang="en-RU" sz="4800" i="1" dirty="0">
              <a:solidFill>
                <a:schemeClr val="bg1">
                  <a:lumMod val="10000"/>
                  <a:lumOff val="90000"/>
                </a:schemeClr>
              </a:solidFill>
              <a:highlight>
                <a:srgbClr val="FF00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81FD63F-50DF-6E9A-9F59-812DFFE16320}"/>
              </a:ext>
            </a:extLst>
          </p:cNvPr>
          <p:cNvSpPr txBox="1"/>
          <p:nvPr/>
        </p:nvSpPr>
        <p:spPr>
          <a:xfrm>
            <a:off x="616247" y="4072986"/>
            <a:ext cx="1168704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000" dirty="0">
                <a:latin typeface="Arial" panose="020B0604020202020204" pitchFamily="34" charset="0"/>
                <a:cs typeface="Arial" panose="020B0604020202020204" pitchFamily="34" charset="0"/>
              </a:rPr>
              <a:t>В одном ряду с физикой, химией или биологией</a:t>
            </a:r>
            <a:endParaRPr lang="en-RU" sz="4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45A3517-2819-F067-F7E1-A5C4B44B9A76}"/>
              </a:ext>
            </a:extLst>
          </p:cNvPr>
          <p:cNvSpPr txBox="1"/>
          <p:nvPr/>
        </p:nvSpPr>
        <p:spPr>
          <a:xfrm>
            <a:off x="616247" y="8721069"/>
            <a:ext cx="8723696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>
                <a:latin typeface="Arial" panose="020B0604020202020204" pitchFamily="34" charset="0"/>
                <a:cs typeface="Arial" panose="020B0604020202020204" pitchFamily="34" charset="0"/>
              </a:rPr>
              <a:t>Насколько жизнь учеников будет содержательной и счастливой, насколько комфортно им будет </a:t>
            </a:r>
            <a:br>
              <a:rPr lang="ru-RU" sz="4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latin typeface="Arial" panose="020B0604020202020204" pitchFamily="34" charset="0"/>
                <a:cs typeface="Arial" panose="020B0604020202020204" pitchFamily="34" charset="0"/>
              </a:rPr>
              <a:t>в технологичном мире будущего – </a:t>
            </a:r>
            <a:r>
              <a:rPr lang="ru-RU" sz="4000" dirty="0">
                <a:solidFill>
                  <a:schemeClr val="bg1">
                    <a:lumMod val="10000"/>
                    <a:lumOff val="90000"/>
                  </a:schemeClr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во многом зависит от учителя информатики (и не только)</a:t>
            </a:r>
            <a:endParaRPr lang="en-RU" sz="4000" dirty="0">
              <a:solidFill>
                <a:schemeClr val="bg1">
                  <a:lumMod val="10000"/>
                  <a:lumOff val="90000"/>
                </a:schemeClr>
              </a:solidFill>
              <a:highlight>
                <a:srgbClr val="FF00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30D1A0F-B36C-66D9-D256-D24C2CDDE144}"/>
              </a:ext>
            </a:extLst>
          </p:cNvPr>
          <p:cNvSpPr txBox="1"/>
          <p:nvPr/>
        </p:nvSpPr>
        <p:spPr>
          <a:xfrm>
            <a:off x="616247" y="5282161"/>
            <a:ext cx="8288267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>
                <a:latin typeface="Arial" panose="020B0604020202020204" pitchFamily="34" charset="0"/>
                <a:cs typeface="Arial" panose="020B0604020202020204" pitchFamily="34" charset="0"/>
              </a:rPr>
              <a:t>В наступившую эру ИИ – может быть, даже важней, потому что </a:t>
            </a:r>
            <a:r>
              <a:rPr lang="ru-RU" sz="4000" dirty="0"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ИИ уже затрагивает любую профессиональную деятельность</a:t>
            </a:r>
            <a:endParaRPr lang="en-RU" sz="4000" dirty="0">
              <a:highlight>
                <a:srgbClr val="FF00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73600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B1B1B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37E99E8-E5CD-B3CF-3D8D-841040D313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6588568-ADC1-E40A-2AEF-E7DAA6ED9B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668759">
            <a:off x="855469" y="411186"/>
            <a:ext cx="22671473" cy="12893628"/>
          </a:xfrm>
          <a:prstGeom prst="rect">
            <a:avLst/>
          </a:prstGeom>
        </p:spPr>
      </p:pic>
      <p:sp>
        <p:nvSpPr>
          <p:cNvPr id="4" name="Заголовок 20">
            <a:extLst>
              <a:ext uri="{FF2B5EF4-FFF2-40B4-BE49-F238E27FC236}">
                <a16:creationId xmlns:a16="http://schemas.microsoft.com/office/drawing/2014/main" id="{F4534277-BDCE-AE8E-E927-838EFA6F7740}"/>
              </a:ext>
            </a:extLst>
          </p:cNvPr>
          <p:cNvSpPr txBox="1">
            <a:spLocks/>
          </p:cNvSpPr>
          <p:nvPr/>
        </p:nvSpPr>
        <p:spPr>
          <a:xfrm>
            <a:off x="2929906" y="4204035"/>
            <a:ext cx="18522598" cy="45704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algn="l" defTabSz="182861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8000" b="0" kern="1200" dirty="0">
                <a:solidFill>
                  <a:schemeClr val="tx1"/>
                </a:solidFill>
                <a:effectLst/>
                <a:latin typeface="+mj-lt"/>
                <a:ea typeface="+mj-ea"/>
                <a:cs typeface="YS TextDisplay Wide Heavy Wide " pitchFamily="2" charset="-52"/>
              </a:defRPr>
            </a:lvl1pPr>
          </a:lstStyle>
          <a:p>
            <a:pPr marL="0" marR="0" lvl="0" indent="0" algn="ctr" defTabSz="182861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Вызовы </a:t>
            </a:r>
          </a:p>
          <a:p>
            <a:pPr marL="0" marR="0" lvl="0" indent="0" algn="ctr" defTabSz="182861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6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I-</a:t>
            </a:r>
            <a:r>
              <a:rPr kumimoji="0" lang="ru-RU" sz="16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мира</a:t>
            </a: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2A2159C8-37C7-C4A5-0AD3-585470AA061D}"/>
              </a:ext>
            </a:extLst>
          </p:cNvPr>
          <p:cNvGrpSpPr/>
          <p:nvPr/>
        </p:nvGrpSpPr>
        <p:grpSpPr>
          <a:xfrm rot="21297006">
            <a:off x="2057481" y="15665525"/>
            <a:ext cx="9440562" cy="1049080"/>
            <a:chOff x="10256109" y="6389688"/>
            <a:chExt cx="9440562" cy="1049080"/>
          </a:xfrm>
        </p:grpSpPr>
        <p:sp>
          <p:nvSpPr>
            <p:cNvPr id="8" name="Скругленный прямоугольник 7">
              <a:extLst>
                <a:ext uri="{FF2B5EF4-FFF2-40B4-BE49-F238E27FC236}">
                  <a16:creationId xmlns:a16="http://schemas.microsoft.com/office/drawing/2014/main" id="{2E5B4C13-8948-8742-7E22-5F1F4FB7FF4F}"/>
                </a:ext>
              </a:extLst>
            </p:cNvPr>
            <p:cNvSpPr/>
            <p:nvPr/>
          </p:nvSpPr>
          <p:spPr>
            <a:xfrm>
              <a:off x="10256109" y="6389688"/>
              <a:ext cx="9440562" cy="104908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74496" dist="164452" dir="13500000" algn="br" rotWithShape="0">
                <a:srgbClr val="FC3F1D">
                  <a:alpha val="5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216000" rIns="90000" bIns="216000" rtlCol="0" anchor="ctr" anchorCtr="0"/>
            <a:lstStyle/>
            <a:p>
              <a:pPr marL="0" marR="0" lvl="0" indent="0" algn="ctr" defTabSz="1828595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1200" cap="none" spc="0" normalizeH="0" baseline="0" noProof="0" dirty="0">
                <a:ln w="0"/>
                <a:solidFill>
                  <a:srgbClr val="000000"/>
                </a:solidFill>
                <a:effectLst/>
                <a:uLnTx/>
                <a:uFillTx/>
                <a:latin typeface="YS Text Regular"/>
                <a:ea typeface="+mn-ea"/>
                <a:cs typeface="+mn-cs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962F4EE0-F195-0824-E4CC-60117C3EC55C}"/>
                </a:ext>
              </a:extLst>
            </p:cNvPr>
            <p:cNvSpPr txBox="1"/>
            <p:nvPr/>
          </p:nvSpPr>
          <p:spPr>
            <a:xfrm>
              <a:off x="10842861" y="6452563"/>
              <a:ext cx="8267056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18285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54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YS Text Medium" pitchFamily="2" charset="0"/>
                  <a:ea typeface="+mn-ea"/>
                  <a:cs typeface="YS Text Medium" pitchFamily="2" charset="0"/>
                </a:rPr>
                <a:t>и будущее образования</a:t>
              </a:r>
              <a:endParaRPr kumimoji="0" lang="ru-RU" sz="5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YS Text Medium" pitchFamily="2" charset="0"/>
                <a:ea typeface="+mn-ea"/>
                <a:cs typeface="YS Text Medium" pitchFamily="2" charset="0"/>
              </a:endParaRPr>
            </a:p>
          </p:txBody>
        </p:sp>
      </p:grp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D86D5FC-1260-7586-735D-AD4D506365C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0321" y="1470429"/>
            <a:ext cx="1752600" cy="1612900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86D84A8F-56B5-651E-4D4B-14B9515EE8A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35659" y="9913518"/>
            <a:ext cx="1409700" cy="186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79292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90E84A-68C0-8C56-6591-86A7839BBB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480D59DD-D971-3478-FCCE-9BEAF9344219}"/>
              </a:ext>
            </a:extLst>
          </p:cNvPr>
          <p:cNvGrpSpPr/>
          <p:nvPr/>
        </p:nvGrpSpPr>
        <p:grpSpPr>
          <a:xfrm>
            <a:off x="8216212" y="945748"/>
            <a:ext cx="16847473" cy="13121420"/>
            <a:chOff x="3767715" y="296863"/>
            <a:chExt cx="8424285" cy="6561137"/>
          </a:xfrm>
        </p:grpSpPr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CD139667-3FC6-BC57-999D-50B35DC16E2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10000"/>
                      </a14:imgEffect>
                    </a14:imgLayer>
                  </a14:imgProps>
                </a:ext>
              </a:extLst>
            </a:blip>
            <a:srcRect r="6204" b="2598"/>
            <a:stretch/>
          </p:blipFill>
          <p:spPr>
            <a:xfrm>
              <a:off x="3767715" y="296863"/>
              <a:ext cx="8424285" cy="6561137"/>
            </a:xfrm>
            <a:prstGeom prst="rect">
              <a:avLst/>
            </a:prstGeom>
          </p:spPr>
        </p:pic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A8971321-665D-5BDD-2661-2C17A9490EF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925339" y="3284313"/>
              <a:ext cx="3266661" cy="3266661"/>
            </a:xfrm>
            <a:prstGeom prst="rect">
              <a:avLst/>
            </a:prstGeom>
          </p:spPr>
        </p:pic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id="{8BF69464-EA1A-8AD9-D7D7-CBF8CC0EFC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31398" t="12840" r="31398" b="12840"/>
            <a:stretch/>
          </p:blipFill>
          <p:spPr>
            <a:xfrm>
              <a:off x="8867913" y="4785426"/>
              <a:ext cx="1110864" cy="1664288"/>
            </a:xfrm>
            <a:prstGeom prst="rect">
              <a:avLst/>
            </a:prstGeom>
          </p:spPr>
        </p:pic>
      </p:grp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50A32BF-A3CA-B222-3043-2ABE5BFF4E75}"/>
              </a:ext>
            </a:extLst>
          </p:cNvPr>
          <p:cNvSpPr txBox="1">
            <a:spLocks/>
          </p:cNvSpPr>
          <p:nvPr/>
        </p:nvSpPr>
        <p:spPr>
          <a:xfrm>
            <a:off x="22454886" y="13913735"/>
            <a:ext cx="1316762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709"/>
            <a:fld id="{10E31255-4732-1546-9A93-A4692AA283F1}" type="slidenum">
              <a:rPr lang="ru-RU" sz="2000">
                <a:solidFill>
                  <a:srgbClr val="FFFFFF"/>
                </a:solidFill>
                <a:latin typeface="YS Text Bold"/>
              </a:rPr>
              <a:pPr defTabSz="1828709"/>
              <a:t>6</a:t>
            </a:fld>
            <a:endParaRPr lang="ru-RU" sz="2000" dirty="0">
              <a:solidFill>
                <a:srgbClr val="FFFFFF"/>
              </a:solidFill>
              <a:latin typeface="YS Text Bold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4CB6F44-A0F3-0195-286E-4EB0599C27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16211" y="5461703"/>
            <a:ext cx="11929623" cy="8947217"/>
          </a:xfrm>
          <a:prstGeom prst="rect">
            <a:avLst/>
          </a:prstGeom>
        </p:spPr>
      </p:pic>
      <p:pic>
        <p:nvPicPr>
          <p:cNvPr id="8" name="Picture Placeholder 17">
            <a:extLst>
              <a:ext uri="{FF2B5EF4-FFF2-40B4-BE49-F238E27FC236}">
                <a16:creationId xmlns:a16="http://schemas.microsoft.com/office/drawing/2014/main" id="{9441637C-EB74-6A7B-3AE1-03C0CF87DBB5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5163" r="5163"/>
          <a:stretch/>
        </p:blipFill>
        <p:spPr>
          <a:xfrm>
            <a:off x="19973507" y="7507319"/>
            <a:ext cx="3673237" cy="5120313"/>
          </a:xfrm>
          <a:custGeom>
            <a:avLst/>
            <a:gdLst>
              <a:gd name="connsiteX0" fmla="*/ 0 w 1836000"/>
              <a:gd name="connsiteY0" fmla="*/ 0 h 2550089"/>
              <a:gd name="connsiteX1" fmla="*/ 1836000 w 1836000"/>
              <a:gd name="connsiteY1" fmla="*/ 0 h 2550089"/>
              <a:gd name="connsiteX2" fmla="*/ 1836000 w 1836000"/>
              <a:gd name="connsiteY2" fmla="*/ 2550089 h 2550089"/>
              <a:gd name="connsiteX3" fmla="*/ 137694 w 1836000"/>
              <a:gd name="connsiteY3" fmla="*/ 2550089 h 2550089"/>
              <a:gd name="connsiteX4" fmla="*/ 137694 w 1836000"/>
              <a:gd name="connsiteY4" fmla="*/ 1371710 h 2550089"/>
              <a:gd name="connsiteX5" fmla="*/ 53055 w 1836000"/>
              <a:gd name="connsiteY5" fmla="*/ 1287071 h 2550089"/>
              <a:gd name="connsiteX6" fmla="*/ 0 w 1836000"/>
              <a:gd name="connsiteY6" fmla="*/ 1287071 h 2550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36000" h="2550089">
                <a:moveTo>
                  <a:pt x="0" y="0"/>
                </a:moveTo>
                <a:lnTo>
                  <a:pt x="1836000" y="0"/>
                </a:lnTo>
                <a:lnTo>
                  <a:pt x="1836000" y="2550089"/>
                </a:lnTo>
                <a:lnTo>
                  <a:pt x="137694" y="2550089"/>
                </a:lnTo>
                <a:lnTo>
                  <a:pt x="137694" y="1371710"/>
                </a:lnTo>
                <a:cubicBezTo>
                  <a:pt x="137694" y="1324965"/>
                  <a:pt x="99800" y="1287071"/>
                  <a:pt x="53055" y="1287071"/>
                </a:cubicBezTo>
                <a:lnTo>
                  <a:pt x="0" y="1287071"/>
                </a:lnTo>
                <a:close/>
              </a:path>
            </a:pathLst>
          </a:custGeom>
        </p:spPr>
      </p:pic>
      <p:pic>
        <p:nvPicPr>
          <p:cNvPr id="9" name="Picture Placeholder 15">
            <a:extLst>
              <a:ext uri="{FF2B5EF4-FFF2-40B4-BE49-F238E27FC236}">
                <a16:creationId xmlns:a16="http://schemas.microsoft.com/office/drawing/2014/main" id="{6C32CFED-8F53-04BB-6C56-DB4A4E2B9C3F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751" b="751"/>
          <a:stretch>
            <a:fillRect/>
          </a:stretch>
        </p:blipFill>
        <p:spPr>
          <a:xfrm>
            <a:off x="18863107" y="10156686"/>
            <a:ext cx="1298093" cy="2775217"/>
          </a:xfrm>
          <a:prstGeom prst="roundRect">
            <a:avLst>
              <a:gd name="adj" fmla="val 10015"/>
            </a:avLst>
          </a:prstGeom>
        </p:spPr>
      </p:pic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C6239F6A-EC40-45C6-E50F-A251A2A4976E}"/>
              </a:ext>
            </a:extLst>
          </p:cNvPr>
          <p:cNvGrpSpPr/>
          <p:nvPr/>
        </p:nvGrpSpPr>
        <p:grpSpPr>
          <a:xfrm>
            <a:off x="10882295" y="7249010"/>
            <a:ext cx="6586611" cy="4089258"/>
            <a:chOff x="5441502" y="3624518"/>
            <a:chExt cx="3293520" cy="2044762"/>
          </a:xfrm>
        </p:grpSpPr>
        <p:sp>
          <p:nvSpPr>
            <p:cNvPr id="11" name="Трапеция 10">
              <a:extLst>
                <a:ext uri="{FF2B5EF4-FFF2-40B4-BE49-F238E27FC236}">
                  <a16:creationId xmlns:a16="http://schemas.microsoft.com/office/drawing/2014/main" id="{BB8407EA-A877-9FEB-D18E-D62D0E05FBF4}"/>
                </a:ext>
              </a:extLst>
            </p:cNvPr>
            <p:cNvSpPr/>
            <p:nvPr/>
          </p:nvSpPr>
          <p:spPr>
            <a:xfrm>
              <a:off x="5441502" y="3625818"/>
              <a:ext cx="762000" cy="2043461"/>
            </a:xfrm>
            <a:prstGeom prst="trapezoid">
              <a:avLst>
                <a:gd name="adj" fmla="val 3167"/>
              </a:avLst>
            </a:prstGeom>
            <a:solidFill>
              <a:srgbClr val="ADF8F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709"/>
              <a:endParaRPr lang="ru-RU" sz="3600">
                <a:solidFill>
                  <a:srgbClr val="313131"/>
                </a:solidFill>
                <a:latin typeface="YS Text Light"/>
              </a:endParaRPr>
            </a:p>
          </p:txBody>
        </p:sp>
        <p:pic>
          <p:nvPicPr>
            <p:cNvPr id="12" name="Picture Placeholder 45">
              <a:extLst>
                <a:ext uri="{FF2B5EF4-FFF2-40B4-BE49-F238E27FC236}">
                  <a16:creationId xmlns:a16="http://schemas.microsoft.com/office/drawing/2014/main" id="{9840AB9D-034C-946D-7D9D-3956E1D12A1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 l="7617" t="-1" r="9151" b="771"/>
            <a:stretch/>
          </p:blipFill>
          <p:spPr>
            <a:xfrm>
              <a:off x="5493789" y="3624518"/>
              <a:ext cx="3241233" cy="2044762"/>
            </a:xfrm>
            <a:prstGeom prst="trapezoid">
              <a:avLst>
                <a:gd name="adj" fmla="val 710"/>
              </a:avLst>
            </a:prstGeom>
          </p:spPr>
        </p:pic>
      </p:grp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2F197A4F-F262-4AB5-9334-F55BAB20846B}"/>
              </a:ext>
            </a:extLst>
          </p:cNvPr>
          <p:cNvSpPr txBox="1">
            <a:spLocks/>
          </p:cNvSpPr>
          <p:nvPr/>
        </p:nvSpPr>
        <p:spPr>
          <a:xfrm>
            <a:off x="461208" y="4121742"/>
            <a:ext cx="9929393" cy="881266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177" indent="-457177" defTabSz="1828709">
              <a:lnSpc>
                <a:spcPct val="100000"/>
              </a:lnSpc>
              <a:spcBef>
                <a:spcPts val="0"/>
              </a:spcBef>
              <a:spcAft>
                <a:spcPts val="2800"/>
              </a:spcAft>
            </a:pP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ссовый и специализированный софт  всё больше насыщается</a:t>
            </a:r>
            <a:b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И-функциями. Этот процесс далеко</a:t>
            </a:r>
            <a:b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завершён</a:t>
            </a:r>
          </a:p>
          <a:p>
            <a:pPr marL="457177" indent="-457177" defTabSz="1828709">
              <a:lnSpc>
                <a:spcPct val="100000"/>
              </a:lnSpc>
              <a:spcBef>
                <a:spcPts val="0"/>
              </a:spcBef>
              <a:spcAft>
                <a:spcPts val="2800"/>
              </a:spcAft>
            </a:pP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пешная работа с ИИ-софтом требует </a:t>
            </a:r>
            <a:r>
              <a:rPr lang="ru-RU" sz="4000" dirty="0"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более частого и более глубокого переучивания</a:t>
            </a: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b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м требовалось в случае традиционных апдейтов</a:t>
            </a:r>
          </a:p>
          <a:p>
            <a:pPr marL="457177" indent="-457177" defTabSz="1828709">
              <a:lnSpc>
                <a:spcPct val="100000"/>
              </a:lnSpc>
              <a:spcBef>
                <a:spcPts val="0"/>
              </a:spcBef>
              <a:spcAft>
                <a:spcPts val="2800"/>
              </a:spcAft>
            </a:pP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человека потребуется более глубокое понимание задач, умение думать и четко формулировать </a:t>
            </a:r>
            <a:b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solidFill>
                  <a:srgbClr val="FFFFFF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на более высоких уровнях абстракции  </a:t>
            </a:r>
          </a:p>
        </p:txBody>
      </p:sp>
      <p:sp>
        <p:nvSpPr>
          <p:cNvPr id="14" name="Заголовок 5">
            <a:extLst>
              <a:ext uri="{FF2B5EF4-FFF2-40B4-BE49-F238E27FC236}">
                <a16:creationId xmlns:a16="http://schemas.microsoft.com/office/drawing/2014/main" id="{FC62E6EE-0186-9D71-6E62-F686FC83D90B}"/>
              </a:ext>
            </a:extLst>
          </p:cNvPr>
          <p:cNvSpPr txBox="1">
            <a:spLocks/>
          </p:cNvSpPr>
          <p:nvPr/>
        </p:nvSpPr>
        <p:spPr>
          <a:xfrm>
            <a:off x="600094" y="663258"/>
            <a:ext cx="23166074" cy="22273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9600" b="0" i="0" kern="1200">
                <a:solidFill>
                  <a:schemeClr val="bg1"/>
                </a:solidFill>
                <a:latin typeface="YS Text Regular" pitchFamily="2" charset="0"/>
                <a:ea typeface="+mj-ea"/>
                <a:cs typeface="+mj-cs"/>
              </a:defRPr>
            </a:lvl1pPr>
          </a:lstStyle>
          <a:p>
            <a:pPr defTabSz="1828709">
              <a:lnSpc>
                <a:spcPct val="80000"/>
              </a:lnSpc>
            </a:pPr>
            <a:r>
              <a:rPr lang="ru-RU" sz="9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И уже стал вездесущим в софте. </a:t>
            </a:r>
            <a:br>
              <a:rPr lang="ru-RU" sz="9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льше — больше (с каждым днём)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5D49726A-4286-BA08-D109-65674C4BAA67}"/>
              </a:ext>
            </a:extLst>
          </p:cNvPr>
          <p:cNvGrpSpPr/>
          <p:nvPr/>
        </p:nvGrpSpPr>
        <p:grpSpPr>
          <a:xfrm>
            <a:off x="12750086" y="3381273"/>
            <a:ext cx="8821876" cy="4952004"/>
            <a:chOff x="6375458" y="1690523"/>
            <a:chExt cx="4411225" cy="2476163"/>
          </a:xfrm>
        </p:grpSpPr>
        <p:pic>
          <p:nvPicPr>
            <p:cNvPr id="16" name="Picture Placeholder 6">
              <a:extLst>
                <a:ext uri="{FF2B5EF4-FFF2-40B4-BE49-F238E27FC236}">
                  <a16:creationId xmlns:a16="http://schemas.microsoft.com/office/drawing/2014/main" id="{5CDFCC37-D7F9-5E10-BD7A-57237094F1C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rcRect t="12" b="12"/>
            <a:stretch>
              <a:fillRect/>
            </a:stretch>
          </p:blipFill>
          <p:spPr>
            <a:xfrm>
              <a:off x="6383079" y="1690523"/>
              <a:ext cx="4403604" cy="2476163"/>
            </a:xfrm>
            <a:custGeom>
              <a:avLst/>
              <a:gdLst>
                <a:gd name="connsiteX0" fmla="*/ 0 w 4403604"/>
                <a:gd name="connsiteY0" fmla="*/ 0 h 2476163"/>
                <a:gd name="connsiteX1" fmla="*/ 4403604 w 4403604"/>
                <a:gd name="connsiteY1" fmla="*/ 0 h 2476163"/>
                <a:gd name="connsiteX2" fmla="*/ 4403604 w 4403604"/>
                <a:gd name="connsiteY2" fmla="*/ 1860041 h 2476163"/>
                <a:gd name="connsiteX3" fmla="*/ 3600480 w 4403604"/>
                <a:gd name="connsiteY3" fmla="*/ 1860041 h 2476163"/>
                <a:gd name="connsiteX4" fmla="*/ 3515841 w 4403604"/>
                <a:gd name="connsiteY4" fmla="*/ 1944680 h 2476163"/>
                <a:gd name="connsiteX5" fmla="*/ 3515841 w 4403604"/>
                <a:gd name="connsiteY5" fmla="*/ 2476163 h 2476163"/>
                <a:gd name="connsiteX6" fmla="*/ 2397429 w 4403604"/>
                <a:gd name="connsiteY6" fmla="*/ 2476163 h 2476163"/>
                <a:gd name="connsiteX7" fmla="*/ 2397429 w 4403604"/>
                <a:gd name="connsiteY7" fmla="*/ 1921531 h 2476163"/>
                <a:gd name="connsiteX8" fmla="*/ 2312790 w 4403604"/>
                <a:gd name="connsiteY8" fmla="*/ 1836892 h 2476163"/>
                <a:gd name="connsiteX9" fmla="*/ 0 w 4403604"/>
                <a:gd name="connsiteY9" fmla="*/ 1836892 h 2476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03604" h="2476163">
                  <a:moveTo>
                    <a:pt x="0" y="0"/>
                  </a:moveTo>
                  <a:lnTo>
                    <a:pt x="4403604" y="0"/>
                  </a:lnTo>
                  <a:lnTo>
                    <a:pt x="4403604" y="1860041"/>
                  </a:lnTo>
                  <a:lnTo>
                    <a:pt x="3600480" y="1860041"/>
                  </a:lnTo>
                  <a:cubicBezTo>
                    <a:pt x="3553735" y="1860041"/>
                    <a:pt x="3515841" y="1897935"/>
                    <a:pt x="3515841" y="1944680"/>
                  </a:cubicBezTo>
                  <a:lnTo>
                    <a:pt x="3515841" y="2476163"/>
                  </a:lnTo>
                  <a:lnTo>
                    <a:pt x="2397429" y="2476163"/>
                  </a:lnTo>
                  <a:lnTo>
                    <a:pt x="2397429" y="1921531"/>
                  </a:lnTo>
                  <a:cubicBezTo>
                    <a:pt x="2397429" y="1874786"/>
                    <a:pt x="2359535" y="1836892"/>
                    <a:pt x="2312790" y="1836892"/>
                  </a:cubicBezTo>
                  <a:lnTo>
                    <a:pt x="0" y="1836892"/>
                  </a:lnTo>
                  <a:close/>
                </a:path>
              </a:pathLst>
            </a:custGeom>
          </p:spPr>
        </p:pic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8CDAF945-15F2-055C-0230-3F2A3C6F0886}"/>
                </a:ext>
              </a:extLst>
            </p:cNvPr>
            <p:cNvSpPr/>
            <p:nvPr/>
          </p:nvSpPr>
          <p:spPr>
            <a:xfrm flipH="1">
              <a:off x="6375458" y="1690523"/>
              <a:ext cx="45719" cy="138277"/>
            </a:xfrm>
            <a:prstGeom prst="rect">
              <a:avLst/>
            </a:prstGeom>
            <a:solidFill>
              <a:srgbClr val="3C3A3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709"/>
              <a:endParaRPr lang="ru-RU" sz="3600">
                <a:solidFill>
                  <a:srgbClr val="313131"/>
                </a:solidFill>
                <a:latin typeface="YS Text Light"/>
              </a:endParaRPr>
            </a:p>
          </p:txBody>
        </p:sp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9C38DEF2-0708-1373-76B5-CB9526F3E210}"/>
                </a:ext>
              </a:extLst>
            </p:cNvPr>
            <p:cNvSpPr/>
            <p:nvPr/>
          </p:nvSpPr>
          <p:spPr>
            <a:xfrm flipH="1">
              <a:off x="6377357" y="1828834"/>
              <a:ext cx="45719" cy="1695600"/>
            </a:xfrm>
            <a:prstGeom prst="rect">
              <a:avLst/>
            </a:prstGeom>
            <a:solidFill>
              <a:srgbClr val="32303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709"/>
              <a:endParaRPr lang="ru-RU" sz="3600">
                <a:solidFill>
                  <a:srgbClr val="313131"/>
                </a:solidFill>
                <a:latin typeface="YS Text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85767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F1331C-DB9F-1AC4-F802-3AF8134F15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5">
            <a:extLst>
              <a:ext uri="{FF2B5EF4-FFF2-40B4-BE49-F238E27FC236}">
                <a16:creationId xmlns:a16="http://schemas.microsoft.com/office/drawing/2014/main" id="{72FC60DD-9127-7CC1-7777-B484C0122DE5}"/>
              </a:ext>
            </a:extLst>
          </p:cNvPr>
          <p:cNvSpPr txBox="1">
            <a:spLocks/>
          </p:cNvSpPr>
          <p:nvPr/>
        </p:nvSpPr>
        <p:spPr>
          <a:xfrm>
            <a:off x="600094" y="663258"/>
            <a:ext cx="9284044" cy="22273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9600" b="0" i="0" kern="1200">
                <a:solidFill>
                  <a:schemeClr val="bg1"/>
                </a:solidFill>
                <a:latin typeface="YS Text Regular" pitchFamily="2" charset="0"/>
                <a:ea typeface="+mj-ea"/>
                <a:cs typeface="+mj-cs"/>
              </a:defRPr>
            </a:lvl1pPr>
          </a:lstStyle>
          <a:p>
            <a:pPr defTabSz="1828709">
              <a:lnSpc>
                <a:spcPct val="80000"/>
              </a:lnSpc>
            </a:pPr>
            <a:r>
              <a:rPr lang="ru-RU" sz="9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ынче год меняет многое</a:t>
            </a:r>
          </a:p>
        </p:txBody>
      </p:sp>
      <p:sp>
        <p:nvSpPr>
          <p:cNvPr id="6" name="Скругленный прямоугольник 12">
            <a:extLst>
              <a:ext uri="{FF2B5EF4-FFF2-40B4-BE49-F238E27FC236}">
                <a16:creationId xmlns:a16="http://schemas.microsoft.com/office/drawing/2014/main" id="{05D3371A-BFCA-6121-069C-82D9CF9BBF25}"/>
              </a:ext>
            </a:extLst>
          </p:cNvPr>
          <p:cNvSpPr/>
          <p:nvPr/>
        </p:nvSpPr>
        <p:spPr>
          <a:xfrm>
            <a:off x="13981307" y="594135"/>
            <a:ext cx="9790219" cy="12527730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09"/>
            <a:endParaRPr lang="ru-RU" sz="3600">
              <a:solidFill>
                <a:srgbClr val="313131"/>
              </a:solidFill>
              <a:latin typeface="YS Text Light"/>
            </a:endParaRP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46C6B974-7B26-181D-5834-322269106B31}"/>
              </a:ext>
            </a:extLst>
          </p:cNvPr>
          <p:cNvSpPr txBox="1">
            <a:spLocks/>
          </p:cNvSpPr>
          <p:nvPr/>
        </p:nvSpPr>
        <p:spPr>
          <a:xfrm>
            <a:off x="461209" y="5875909"/>
            <a:ext cx="10464581" cy="6360716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177" indent="-457177" defTabSz="1828709">
              <a:lnSpc>
                <a:spcPct val="100000"/>
              </a:lnSpc>
              <a:spcBef>
                <a:spcPts val="2000"/>
              </a:spcBef>
            </a:pPr>
            <a:r>
              <a:rPr lang="ru-RU" sz="3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тите внимание на первые три пункта</a:t>
            </a:r>
          </a:p>
          <a:p>
            <a:pPr marL="457177" indent="-457177" defTabSz="1828709">
              <a:lnSpc>
                <a:spcPct val="100000"/>
              </a:lnSpc>
              <a:spcBef>
                <a:spcPts val="2000"/>
              </a:spcBef>
            </a:pPr>
            <a:r>
              <a:rPr lang="ru-RU" sz="3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глублённое, а не просто персонализированное обучение</a:t>
            </a:r>
          </a:p>
          <a:p>
            <a:pPr marL="457177" indent="-457177" defTabSz="1828709">
              <a:lnSpc>
                <a:spcPct val="100000"/>
              </a:lnSpc>
              <a:spcBef>
                <a:spcPts val="2000"/>
              </a:spcBef>
            </a:pPr>
            <a:r>
              <a:rPr lang="ru-RU" sz="3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и от программирования распробовали </a:t>
            </a:r>
          </a:p>
          <a:p>
            <a:pPr marL="457177" indent="-457177" defTabSz="1828709">
              <a:lnSpc>
                <a:spcPct val="100000"/>
              </a:lnSpc>
              <a:spcBef>
                <a:spcPts val="2000"/>
              </a:spcBef>
            </a:pPr>
            <a:r>
              <a:rPr lang="ru-RU" sz="3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Просто придумай» — уже не в самом топе, но выстрелила креативность</a:t>
            </a:r>
          </a:p>
          <a:p>
            <a:pPr marL="457177" indent="-457177" defTabSz="1828709">
              <a:lnSpc>
                <a:spcPct val="100000"/>
              </a:lnSpc>
              <a:spcBef>
                <a:spcPts val="2000"/>
              </a:spcBef>
            </a:pPr>
            <a:r>
              <a:rPr lang="ru-RU" sz="3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дактирование текстов — пройденный этап</a:t>
            </a:r>
          </a:p>
          <a:p>
            <a:pPr marL="457177" indent="-457177" defTabSz="1828709">
              <a:lnSpc>
                <a:spcPct val="100000"/>
              </a:lnSpc>
              <a:spcBef>
                <a:spcPts val="2000"/>
              </a:spcBef>
            </a:pPr>
            <a:r>
              <a:rPr lang="ru-RU" sz="3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няли, что </a:t>
            </a:r>
            <a:r>
              <a:rPr lang="ru-RU" sz="3600" dirty="0">
                <a:solidFill>
                  <a:srgbClr val="FFFFFF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чаты — не инструмент</a:t>
            </a:r>
            <a:br>
              <a:rPr lang="en-US" sz="3600" dirty="0">
                <a:solidFill>
                  <a:srgbClr val="FFFFFF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600" dirty="0">
                <a:solidFill>
                  <a:srgbClr val="FFFFFF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для поиска конкретики</a:t>
            </a:r>
          </a:p>
        </p:txBody>
      </p:sp>
      <p:sp>
        <p:nvSpPr>
          <p:cNvPr id="8" name="Footer Placeholder 39">
            <a:extLst>
              <a:ext uri="{FF2B5EF4-FFF2-40B4-BE49-F238E27FC236}">
                <a16:creationId xmlns:a16="http://schemas.microsoft.com/office/drawing/2014/main" id="{8F1EB58A-7858-D1B5-8F2B-8DA6DACBB2B9}"/>
              </a:ext>
            </a:extLst>
          </p:cNvPr>
          <p:cNvSpPr txBox="1">
            <a:spLocks/>
          </p:cNvSpPr>
          <p:nvPr/>
        </p:nvSpPr>
        <p:spPr>
          <a:xfrm>
            <a:off x="427279" y="12888914"/>
            <a:ext cx="15756320" cy="43970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505">
              <a:defRPr/>
            </a:pPr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hbr.org/2025/04/how-people-are-really-using-gen-ai-in-2025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9271D2E8-3D78-83C5-0A23-5D21E0A56616}"/>
              </a:ext>
            </a:extLst>
          </p:cNvPr>
          <p:cNvSpPr txBox="1">
            <a:spLocks/>
          </p:cNvSpPr>
          <p:nvPr/>
        </p:nvSpPr>
        <p:spPr>
          <a:xfrm>
            <a:off x="461209" y="2890599"/>
            <a:ext cx="10815658" cy="256480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828709">
              <a:lnSpc>
                <a:spcPct val="100000"/>
              </a:lnSpc>
              <a:spcBef>
                <a:spcPts val="2000"/>
              </a:spcBef>
              <a:buNone/>
            </a:pPr>
            <a:r>
              <a:rPr lang="ru-RU" sz="4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чень интересный набор тенденций:</a:t>
            </a:r>
          </a:p>
          <a:p>
            <a:pPr marL="0" indent="0" defTabSz="1828709">
              <a:lnSpc>
                <a:spcPct val="100000"/>
              </a:lnSpc>
              <a:spcBef>
                <a:spcPts val="2000"/>
              </a:spcBef>
              <a:buNone/>
            </a:pPr>
            <a:r>
              <a:rPr lang="ru-RU" sz="4800" dirty="0">
                <a:solidFill>
                  <a:srgbClr val="FFFFFF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ИИ – гораздо больше, чем просто </a:t>
            </a:r>
            <a:r>
              <a:rPr lang="ru-RU" sz="4800" dirty="0" err="1">
                <a:solidFill>
                  <a:srgbClr val="FFFFFF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чатики</a:t>
            </a:r>
            <a:endParaRPr lang="ru-RU" sz="4800" dirty="0">
              <a:solidFill>
                <a:srgbClr val="FFFFFF"/>
              </a:solidFill>
              <a:highlight>
                <a:srgbClr val="FF00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Content Placeholder 7">
            <a:extLst>
              <a:ext uri="{FF2B5EF4-FFF2-40B4-BE49-F238E27FC236}">
                <a16:creationId xmlns:a16="http://schemas.microsoft.com/office/drawing/2014/main" id="{6AFFECBD-94D7-8879-2FA8-1354B8D556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97665" y="1054754"/>
            <a:ext cx="7357507" cy="11606488"/>
          </a:xfrm>
          <a:prstGeom prst="roundRect">
            <a:avLst>
              <a:gd name="adj" fmla="val 0"/>
            </a:avLst>
          </a:prstGeom>
        </p:spPr>
      </p:pic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811D5E9A-5720-601E-E929-84979C343651}"/>
              </a:ext>
            </a:extLst>
          </p:cNvPr>
          <p:cNvCxnSpPr>
            <a:cxnSpLocks/>
          </p:cNvCxnSpPr>
          <p:nvPr/>
        </p:nvCxnSpPr>
        <p:spPr>
          <a:xfrm>
            <a:off x="616244" y="5456011"/>
            <a:ext cx="129566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84835EE6-42EA-2801-B2E1-40F8EC616F18}"/>
              </a:ext>
            </a:extLst>
          </p:cNvPr>
          <p:cNvGrpSpPr/>
          <p:nvPr/>
        </p:nvGrpSpPr>
        <p:grpSpPr>
          <a:xfrm>
            <a:off x="27155986" y="137607"/>
            <a:ext cx="249322" cy="7544477"/>
            <a:chOff x="8187302" y="0"/>
            <a:chExt cx="124669" cy="3772484"/>
          </a:xfrm>
        </p:grpSpPr>
        <p:cxnSp>
          <p:nvCxnSpPr>
            <p:cNvPr id="13" name="Прямая соединительная линия 12">
              <a:extLst>
                <a:ext uri="{FF2B5EF4-FFF2-40B4-BE49-F238E27FC236}">
                  <a16:creationId xmlns:a16="http://schemas.microsoft.com/office/drawing/2014/main" id="{68B3AB64-08EF-272B-EC78-EB1474C73854}"/>
                </a:ext>
              </a:extLst>
            </p:cNvPr>
            <p:cNvCxnSpPr>
              <a:cxnSpLocks/>
            </p:cNvCxnSpPr>
            <p:nvPr/>
          </p:nvCxnSpPr>
          <p:spPr>
            <a:xfrm>
              <a:off x="8187302" y="0"/>
              <a:ext cx="0" cy="370389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Прямая соединительная линия 13">
              <a:extLst>
                <a:ext uri="{FF2B5EF4-FFF2-40B4-BE49-F238E27FC236}">
                  <a16:creationId xmlns:a16="http://schemas.microsoft.com/office/drawing/2014/main" id="{1FC26F9D-E734-D304-4330-EDF104F6165D}"/>
                </a:ext>
              </a:extLst>
            </p:cNvPr>
            <p:cNvCxnSpPr>
              <a:cxnSpLocks/>
            </p:cNvCxnSpPr>
            <p:nvPr/>
          </p:nvCxnSpPr>
          <p:spPr>
            <a:xfrm>
              <a:off x="8311971" y="68585"/>
              <a:ext cx="0" cy="370389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639752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B2173B-1289-C59B-1B5E-055C7F5D92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A person writing on a whiteboard&#10;&#10;Description automatically generated">
            <a:extLst>
              <a:ext uri="{FF2B5EF4-FFF2-40B4-BE49-F238E27FC236}">
                <a16:creationId xmlns:a16="http://schemas.microsoft.com/office/drawing/2014/main" id="{31025642-EF6A-1F27-B9C2-7679B7AB959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8924" r="13625" b="15981"/>
          <a:stretch/>
        </p:blipFill>
        <p:spPr>
          <a:xfrm>
            <a:off x="3322104" y="448"/>
            <a:ext cx="21060307" cy="13715107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E81C3BDA-9266-2478-5736-B290C8E6DDBB}"/>
              </a:ext>
            </a:extLst>
          </p:cNvPr>
          <p:cNvSpPr/>
          <p:nvPr/>
        </p:nvSpPr>
        <p:spPr>
          <a:xfrm rot="10800000">
            <a:off x="-1523901" y="447"/>
            <a:ext cx="11591113" cy="13715107"/>
          </a:xfrm>
          <a:prstGeom prst="rect">
            <a:avLst/>
          </a:prstGeom>
          <a:gradFill flip="none" rotWithShape="1">
            <a:gsLst>
              <a:gs pos="44000">
                <a:srgbClr val="000000"/>
              </a:gs>
              <a:gs pos="0">
                <a:srgbClr val="000000">
                  <a:alpha val="0"/>
                </a:srgbClr>
              </a:gs>
              <a:gs pos="100000">
                <a:srgbClr val="00000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09"/>
            <a:endParaRPr lang="ru-ME" sz="3600">
              <a:solidFill>
                <a:srgbClr val="313131"/>
              </a:solidFill>
              <a:latin typeface="YS Text Light"/>
            </a:endParaRPr>
          </a:p>
        </p:txBody>
      </p:sp>
      <p:sp>
        <p:nvSpPr>
          <p:cNvPr id="4" name="Заголовок 5">
            <a:extLst>
              <a:ext uri="{FF2B5EF4-FFF2-40B4-BE49-F238E27FC236}">
                <a16:creationId xmlns:a16="http://schemas.microsoft.com/office/drawing/2014/main" id="{64D60F08-C441-ED3B-EDEA-6BC221C86A77}"/>
              </a:ext>
            </a:extLst>
          </p:cNvPr>
          <p:cNvSpPr txBox="1">
            <a:spLocks/>
          </p:cNvSpPr>
          <p:nvPr/>
        </p:nvSpPr>
        <p:spPr>
          <a:xfrm>
            <a:off x="600094" y="663257"/>
            <a:ext cx="9515522" cy="22273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9600" b="0" i="0" kern="1200">
                <a:solidFill>
                  <a:schemeClr val="bg1"/>
                </a:solidFill>
                <a:latin typeface="YS Text Regular" pitchFamily="2" charset="0"/>
                <a:ea typeface="+mj-ea"/>
                <a:cs typeface="+mj-cs"/>
              </a:defRPr>
            </a:lvl1pPr>
          </a:lstStyle>
          <a:p>
            <a:pPr defTabSz="1828709">
              <a:lnSpc>
                <a:spcPct val="80000"/>
              </a:lnSpc>
            </a:pPr>
            <a:r>
              <a:rPr lang="ru-RU" sz="9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блюдаемые тени будущего</a:t>
            </a:r>
          </a:p>
        </p:txBody>
      </p:sp>
    </p:spTree>
    <p:extLst>
      <p:ext uri="{BB962C8B-B14F-4D97-AF65-F5344CB8AC3E}">
        <p14:creationId xmlns:p14="http://schemas.microsoft.com/office/powerpoint/2010/main" val="19006630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C59AA1-8FFB-49DE-99E8-4C19A48BD9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66DBCD-4853-9F0B-6208-B574CE0166A9}"/>
              </a:ext>
            </a:extLst>
          </p:cNvPr>
          <p:cNvSpPr/>
          <p:nvPr/>
        </p:nvSpPr>
        <p:spPr>
          <a:xfrm>
            <a:off x="427279" y="3349604"/>
            <a:ext cx="9989260" cy="400665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09"/>
            <a:endParaRPr lang="en-RU" sz="3600">
              <a:solidFill>
                <a:srgbClr val="313131"/>
              </a:solidFill>
              <a:latin typeface="YS Text Light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08DEFCB4-FF25-0EED-55F0-B1C71A95D333}"/>
              </a:ext>
            </a:extLst>
          </p:cNvPr>
          <p:cNvGrpSpPr/>
          <p:nvPr/>
        </p:nvGrpSpPr>
        <p:grpSpPr>
          <a:xfrm>
            <a:off x="1" y="22217"/>
            <a:ext cx="24382411" cy="13715109"/>
            <a:chOff x="-625033" y="-1"/>
            <a:chExt cx="12191999" cy="6858001"/>
          </a:xfrm>
        </p:grpSpPr>
        <p:pic>
          <p:nvPicPr>
            <p:cNvPr id="3" name="Рисунок 2" descr="Изображение выглядит как текст, снимок экрана&#10;&#10;Контент, сгенерированный ИИ, может содержать ошибки.">
              <a:extLst>
                <a:ext uri="{FF2B5EF4-FFF2-40B4-BE49-F238E27FC236}">
                  <a16:creationId xmlns:a16="http://schemas.microsoft.com/office/drawing/2014/main" id="{4A34673E-A08B-FB89-C964-95C29B38422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196" r="8076" b="3327"/>
            <a:stretch/>
          </p:blipFill>
          <p:spPr>
            <a:xfrm>
              <a:off x="0" y="-1"/>
              <a:ext cx="11566966" cy="6858001"/>
            </a:xfrm>
            <a:prstGeom prst="rect">
              <a:avLst/>
            </a:prstGeom>
          </p:spPr>
        </p:pic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1A2B0B99-1CCD-B361-6961-E8600B1E1247}"/>
                </a:ext>
              </a:extLst>
            </p:cNvPr>
            <p:cNvSpPr/>
            <p:nvPr/>
          </p:nvSpPr>
          <p:spPr>
            <a:xfrm>
              <a:off x="-625033" y="1111170"/>
              <a:ext cx="2349661" cy="5746830"/>
            </a:xfrm>
            <a:prstGeom prst="rect">
              <a:avLst/>
            </a:prstGeom>
            <a:solidFill>
              <a:srgbClr val="05050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709">
                <a:defRPr/>
              </a:pPr>
              <a:endParaRPr lang="ru-RU" sz="3600">
                <a:solidFill>
                  <a:srgbClr val="313131"/>
                </a:solidFill>
                <a:latin typeface="YS Text Light"/>
              </a:endParaRPr>
            </a:p>
          </p:txBody>
        </p:sp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80BAFFBB-6BD7-3280-FD5A-708C8C0BD2DF}"/>
                </a:ext>
              </a:extLst>
            </p:cNvPr>
            <p:cNvSpPr/>
            <p:nvPr/>
          </p:nvSpPr>
          <p:spPr>
            <a:xfrm>
              <a:off x="-625032" y="0"/>
              <a:ext cx="7315200" cy="1388962"/>
            </a:xfrm>
            <a:prstGeom prst="rect">
              <a:avLst/>
            </a:prstGeom>
            <a:solidFill>
              <a:srgbClr val="05050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709">
                <a:defRPr/>
              </a:pPr>
              <a:endParaRPr lang="ru-RU" sz="3600">
                <a:solidFill>
                  <a:srgbClr val="313131"/>
                </a:solidFill>
                <a:latin typeface="YS Text Light"/>
              </a:endParaRPr>
            </a:p>
          </p:txBody>
        </p:sp>
      </p:grp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A44C5C99-0FAB-3429-B5D7-6BDC0A9B724C}"/>
              </a:ext>
            </a:extLst>
          </p:cNvPr>
          <p:cNvSpPr txBox="1">
            <a:spLocks/>
          </p:cNvSpPr>
          <p:nvPr/>
        </p:nvSpPr>
        <p:spPr>
          <a:xfrm>
            <a:off x="600092" y="663258"/>
            <a:ext cx="17131169" cy="22273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9600" b="0" i="0" kern="1200">
                <a:solidFill>
                  <a:schemeClr val="bg1"/>
                </a:solidFill>
                <a:latin typeface="YS Text Regular" pitchFamily="2" charset="0"/>
                <a:ea typeface="+mj-ea"/>
                <a:cs typeface="+mj-cs"/>
              </a:defRPr>
            </a:lvl1pPr>
          </a:lstStyle>
          <a:p>
            <a:pPr defTabSz="1828709">
              <a:lnSpc>
                <a:spcPct val="80000"/>
              </a:lnSpc>
              <a:defRPr/>
            </a:pPr>
            <a:r>
              <a:rPr lang="ru-RU" sz="9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женсен Хуанг видит эволюцию ИИ так</a:t>
            </a:r>
          </a:p>
        </p:txBody>
      </p:sp>
      <p:sp>
        <p:nvSpPr>
          <p:cNvPr id="8" name="Footer Placeholder 39">
            <a:extLst>
              <a:ext uri="{FF2B5EF4-FFF2-40B4-BE49-F238E27FC236}">
                <a16:creationId xmlns:a16="http://schemas.microsoft.com/office/drawing/2014/main" id="{DCB3EAA8-8056-456C-4768-F5FC1A16FA31}"/>
              </a:ext>
            </a:extLst>
          </p:cNvPr>
          <p:cNvSpPr txBox="1">
            <a:spLocks/>
          </p:cNvSpPr>
          <p:nvPr/>
        </p:nvSpPr>
        <p:spPr>
          <a:xfrm>
            <a:off x="427279" y="12888914"/>
            <a:ext cx="15756320" cy="43970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505">
              <a:defRPr/>
            </a:pPr>
            <a:r>
              <a:rPr lang="en-US" sz="1200" dirty="0">
                <a:solidFill>
                  <a:srgbClr val="FFFFFF"/>
                </a:solidFill>
                <a:latin typeface="YS Text Light"/>
              </a:rPr>
              <a:t>https://blogs.nvidia.com/blog/world-foundation-models-advance-physical-ai/</a:t>
            </a:r>
          </a:p>
          <a:p>
            <a:pPr defTabSz="1828505">
              <a:defRPr/>
            </a:pPr>
            <a:r>
              <a:rPr lang="en-US" sz="1200" dirty="0">
                <a:solidFill>
                  <a:srgbClr val="FFFFFF"/>
                </a:solidFill>
                <a:latin typeface="YS Text Light"/>
              </a:rPr>
              <a:t>https://techcrunch.com/2025/03/18/nvidia-debuts-groot-n1-a-foundation-model-for-humanoid-robotics/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459C10CA-9D46-6EC5-22F6-8FE6C4EB9F18}"/>
              </a:ext>
            </a:extLst>
          </p:cNvPr>
          <p:cNvSpPr/>
          <p:nvPr/>
        </p:nvSpPr>
        <p:spPr>
          <a:xfrm>
            <a:off x="513684" y="3731340"/>
            <a:ext cx="9816445" cy="381839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09"/>
            <a:endParaRPr lang="en-RU" sz="3600">
              <a:solidFill>
                <a:srgbClr val="313131"/>
              </a:solidFill>
              <a:latin typeface="YS Text Light"/>
            </a:endParaRP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C4891656-C60D-9884-CCB7-FBDE33216CA6}"/>
              </a:ext>
            </a:extLst>
          </p:cNvPr>
          <p:cNvSpPr txBox="1">
            <a:spLocks/>
          </p:cNvSpPr>
          <p:nvPr/>
        </p:nvSpPr>
        <p:spPr>
          <a:xfrm>
            <a:off x="600093" y="3928464"/>
            <a:ext cx="9955328" cy="352917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177" indent="-457177" defTabSz="1828709">
              <a:lnSpc>
                <a:spcPct val="100000"/>
              </a:lnSpc>
              <a:spcBef>
                <a:spcPts val="0"/>
              </a:spcBef>
              <a:spcAft>
                <a:spcPts val="2800"/>
              </a:spcAft>
              <a:defRPr/>
            </a:pPr>
            <a:r>
              <a:rPr lang="ru-RU" sz="4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ководя командой ИИ-агентов, человек-оператор выполняет работу департамента</a:t>
            </a:r>
          </a:p>
          <a:p>
            <a:pPr marL="457177" indent="-457177" defTabSz="1828709">
              <a:lnSpc>
                <a:spcPct val="100000"/>
              </a:lnSpc>
              <a:spcBef>
                <a:spcPts val="0"/>
              </a:spcBef>
              <a:spcAft>
                <a:spcPts val="2800"/>
              </a:spcAft>
              <a:defRPr/>
            </a:pPr>
            <a:r>
              <a:rPr lang="ru-RU" sz="4000" dirty="0">
                <a:solidFill>
                  <a:srgbClr val="FFFFFF"/>
                </a:solidFill>
                <a:highlight>
                  <a:srgbClr val="799D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Гибридные команды из людей </a:t>
            </a:r>
            <a:br>
              <a:rPr lang="ru-RU" sz="4000" dirty="0">
                <a:solidFill>
                  <a:srgbClr val="FFFFFF"/>
                </a:solidFill>
                <a:highlight>
                  <a:srgbClr val="799DFF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solidFill>
                  <a:srgbClr val="FFFFFF"/>
                </a:solidFill>
                <a:highlight>
                  <a:srgbClr val="799D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и ИИ-агентов</a:t>
            </a:r>
          </a:p>
        </p:txBody>
      </p:sp>
      <p:sp>
        <p:nvSpPr>
          <p:cNvPr id="11" name="Lightning Bolt 10">
            <a:extLst>
              <a:ext uri="{FF2B5EF4-FFF2-40B4-BE49-F238E27FC236}">
                <a16:creationId xmlns:a16="http://schemas.microsoft.com/office/drawing/2014/main" id="{5E909F03-7044-9367-E87E-804B88DB6E5D}"/>
              </a:ext>
            </a:extLst>
          </p:cNvPr>
          <p:cNvSpPr/>
          <p:nvPr/>
        </p:nvSpPr>
        <p:spPr>
          <a:xfrm>
            <a:off x="10021923" y="3642471"/>
            <a:ext cx="7196443" cy="2227131"/>
          </a:xfrm>
          <a:prstGeom prst="lightningBol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09"/>
            <a:endParaRPr lang="en-RU" sz="3600">
              <a:solidFill>
                <a:srgbClr val="313131"/>
              </a:solidFill>
              <a:latin typeface="YS Text Light"/>
            </a:endParaRPr>
          </a:p>
        </p:txBody>
      </p:sp>
    </p:spTree>
    <p:extLst>
      <p:ext uri="{BB962C8B-B14F-4D97-AF65-F5344CB8AC3E}">
        <p14:creationId xmlns:p14="http://schemas.microsoft.com/office/powerpoint/2010/main" val="28707155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Yandex">
  <a:themeElements>
    <a:clrScheme name="yandex market">
      <a:dk1>
        <a:srgbClr val="000000"/>
      </a:dk1>
      <a:lt1>
        <a:srgbClr val="FFFFFF"/>
      </a:lt1>
      <a:dk2>
        <a:srgbClr val="BA9C80"/>
      </a:dk2>
      <a:lt2>
        <a:srgbClr val="F5F5F5"/>
      </a:lt2>
      <a:accent1>
        <a:srgbClr val="FED42B"/>
      </a:accent1>
      <a:accent2>
        <a:srgbClr val="CCB5A7"/>
      </a:accent2>
      <a:accent3>
        <a:srgbClr val="FF4949"/>
      </a:accent3>
      <a:accent4>
        <a:srgbClr val="E1C5ED"/>
      </a:accent4>
      <a:accent5>
        <a:srgbClr val="93E1C3"/>
      </a:accent5>
      <a:accent6>
        <a:srgbClr val="79CEE8"/>
      </a:accent6>
      <a:hlink>
        <a:srgbClr val="000000"/>
      </a:hlink>
      <a:folHlink>
        <a:srgbClr val="B5B5B5"/>
      </a:folHlink>
    </a:clrScheme>
    <a:fontScheme name="Другая 7">
      <a:majorFont>
        <a:latin typeface="YS Text Bold"/>
        <a:ea typeface=""/>
        <a:cs typeface=""/>
      </a:majorFont>
      <a:minorFont>
        <a:latin typeface="YS Text Regular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9050">
          <a:solidFill>
            <a:schemeClr val="bg2"/>
          </a:solidFill>
        </a:ln>
        <a:effectLst/>
      </a:spPr>
      <a:bodyPr lIns="90000" tIns="216000" rIns="90000" bIns="216000" rtlCol="0" anchor="ctr" anchorCtr="0"/>
      <a:lstStyle>
        <a:defPPr algn="ctr">
          <a:lnSpc>
            <a:spcPct val="90000"/>
          </a:lnSpc>
          <a:defRPr sz="3200" dirty="0">
            <a:ln w="0"/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tx1"/>
          </a:solidFill>
          <a:prstDash val="solid"/>
          <a:headEnd type="none" w="lg" len="med"/>
          <a:tailEnd type="none" w="lg" len="med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3200" dirty="0" err="1" smtClean="0">
            <a:solidFill>
              <a:sysClr val="windowText" lastClr="00000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kolkovo_20230926" id="{BABE1DB3-FA77-D24E-B620-4D52F21B5202}" vid="{85FE2F87-3DE2-E047-9D8A-820DB444AFDC}"/>
    </a:ext>
  </a:extLst>
</a:theme>
</file>

<file path=ppt/theme/theme2.xml><?xml version="1.0" encoding="utf-8"?>
<a:theme xmlns:a="http://schemas.openxmlformats.org/drawingml/2006/main" name="1_Yandex">
  <a:themeElements>
    <a:clrScheme name="yandex market">
      <a:dk1>
        <a:srgbClr val="000000"/>
      </a:dk1>
      <a:lt1>
        <a:srgbClr val="FFFFFF"/>
      </a:lt1>
      <a:dk2>
        <a:srgbClr val="BA9C80"/>
      </a:dk2>
      <a:lt2>
        <a:srgbClr val="F5F5F5"/>
      </a:lt2>
      <a:accent1>
        <a:srgbClr val="FED42B"/>
      </a:accent1>
      <a:accent2>
        <a:srgbClr val="CCB5A7"/>
      </a:accent2>
      <a:accent3>
        <a:srgbClr val="FF4949"/>
      </a:accent3>
      <a:accent4>
        <a:srgbClr val="E1C5ED"/>
      </a:accent4>
      <a:accent5>
        <a:srgbClr val="93E1C3"/>
      </a:accent5>
      <a:accent6>
        <a:srgbClr val="79CEE8"/>
      </a:accent6>
      <a:hlink>
        <a:srgbClr val="000000"/>
      </a:hlink>
      <a:folHlink>
        <a:srgbClr val="B5B5B5"/>
      </a:folHlink>
    </a:clrScheme>
    <a:fontScheme name="Другая 7">
      <a:majorFont>
        <a:latin typeface="YS Text Bold"/>
        <a:ea typeface=""/>
        <a:cs typeface=""/>
      </a:majorFont>
      <a:minorFont>
        <a:latin typeface="YS Text Regular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9050">
          <a:solidFill>
            <a:schemeClr val="bg2"/>
          </a:solidFill>
        </a:ln>
        <a:effectLst/>
      </a:spPr>
      <a:bodyPr lIns="90000" tIns="216000" rIns="90000" bIns="216000" rtlCol="0" anchor="ctr" anchorCtr="0"/>
      <a:lstStyle>
        <a:defPPr algn="ctr">
          <a:lnSpc>
            <a:spcPct val="90000"/>
          </a:lnSpc>
          <a:defRPr sz="3200" dirty="0">
            <a:ln w="0"/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tx1"/>
          </a:solidFill>
          <a:prstDash val="solid"/>
          <a:headEnd type="none" w="lg" len="med"/>
          <a:tailEnd type="none" w="lg" len="med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3200" dirty="0" err="1" smtClean="0">
            <a:solidFill>
              <a:sysClr val="windowText" lastClr="00000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kolkovo_20230926" id="{BABE1DB3-FA77-D24E-B620-4D52F21B5202}" vid="{2F9A3DBB-0B3E-E743-B36F-CBC480CFA062}"/>
    </a:ext>
  </a:extLst>
</a:theme>
</file>

<file path=ppt/theme/theme3.xml><?xml version="1.0" encoding="utf-8"?>
<a:theme xmlns:a="http://schemas.openxmlformats.org/drawingml/2006/main" name="Темная тема">
  <a:themeElements>
    <a:clrScheme name="Пользовательские 48">
      <a:dk1>
        <a:srgbClr val="FFFFFF"/>
      </a:dk1>
      <a:lt1>
        <a:srgbClr val="313131"/>
      </a:lt1>
      <a:dk2>
        <a:srgbClr val="F5F5F5"/>
      </a:dk2>
      <a:lt2>
        <a:srgbClr val="C2C8CD"/>
      </a:lt2>
      <a:accent1>
        <a:srgbClr val="DAD06E"/>
      </a:accent1>
      <a:accent2>
        <a:srgbClr val="9586E5"/>
      </a:accent2>
      <a:accent3>
        <a:srgbClr val="FDB492"/>
      </a:accent3>
      <a:accent4>
        <a:srgbClr val="5A9BB9"/>
      </a:accent4>
      <a:accent5>
        <a:srgbClr val="D54AE6"/>
      </a:accent5>
      <a:accent6>
        <a:srgbClr val="FDC169"/>
      </a:accent6>
      <a:hlink>
        <a:srgbClr val="0563C1"/>
      </a:hlink>
      <a:folHlink>
        <a:srgbClr val="954F72"/>
      </a:folHlink>
    </a:clrScheme>
    <a:fontScheme name="KievitPro">
      <a:majorFont>
        <a:latin typeface="YS Text Bold"/>
        <a:ea typeface=""/>
        <a:cs typeface=""/>
      </a:majorFont>
      <a:minorFont>
        <a:latin typeface="YS Text Ligh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_Яндекс Образование_v4.2" id="{9415C2CC-0787-DD4F-9D42-FA692A9EB649}" vid="{83FE75FB-C6E3-0F4C-BA61-ACF43E0C901A}"/>
    </a:ext>
  </a:extLst>
</a:theme>
</file>

<file path=ppt/theme/theme4.xml><?xml version="1.0" encoding="utf-8"?>
<a:theme xmlns:a="http://schemas.openxmlformats.org/drawingml/2006/main" name="2_Yandex">
  <a:themeElements>
    <a:clrScheme name="Нейро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8604A"/>
      </a:accent1>
      <a:accent2>
        <a:srgbClr val="909090"/>
      </a:accent2>
      <a:accent3>
        <a:srgbClr val="F0F0F0"/>
      </a:accent3>
      <a:accent4>
        <a:srgbClr val="6A5DFF"/>
      </a:accent4>
      <a:accent5>
        <a:srgbClr val="F9CA38"/>
      </a:accent5>
      <a:accent6>
        <a:srgbClr val="FFFFFF"/>
      </a:accent6>
      <a:hlink>
        <a:srgbClr val="000000"/>
      </a:hlink>
      <a:folHlink>
        <a:srgbClr val="000000"/>
      </a:folHlink>
    </a:clrScheme>
    <a:fontScheme name="Нейро">
      <a:majorFont>
        <a:latin typeface="YS Text Medium"/>
        <a:ea typeface=""/>
        <a:cs typeface=""/>
      </a:majorFont>
      <a:minorFont>
        <a:latin typeface="YS Text Regular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0F0F0"/>
        </a:solidFill>
        <a:ln w="19050">
          <a:noFill/>
        </a:ln>
        <a:effectLst/>
      </a:spPr>
      <a:bodyPr lIns="90000" tIns="216000" rIns="90000" bIns="216000" rtlCol="0" anchor="ctr" anchorCtr="0"/>
      <a:lstStyle>
        <a:defPPr algn="ctr">
          <a:lnSpc>
            <a:spcPct val="90000"/>
          </a:lnSpc>
          <a:defRPr sz="3200" dirty="0">
            <a:ln w="0"/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tx1"/>
          </a:solidFill>
          <a:prstDash val="solid"/>
          <a:headEnd type="none" w="lg" len="med"/>
          <a:tailEnd type="none" w="lg" len="med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3200" dirty="0" err="1" smtClean="0">
            <a:solidFill>
              <a:sysClr val="windowText" lastClr="00000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Yandex">
  <a:themeElements>
    <a:clrScheme name="Пользовательские 71">
      <a:dk1>
        <a:srgbClr val="000000"/>
      </a:dk1>
      <a:lt1>
        <a:srgbClr val="FFFFFF"/>
      </a:lt1>
      <a:dk2>
        <a:srgbClr val="6E98FF"/>
      </a:dk2>
      <a:lt2>
        <a:srgbClr val="3669E9"/>
      </a:lt2>
      <a:accent1>
        <a:srgbClr val="263AA8"/>
      </a:accent1>
      <a:accent2>
        <a:srgbClr val="E9EEFD"/>
      </a:accent2>
      <a:accent3>
        <a:srgbClr val="A4BDFA"/>
      </a:accent3>
      <a:accent4>
        <a:srgbClr val="2B2B2B"/>
      </a:accent4>
      <a:accent5>
        <a:srgbClr val="FF8C2E"/>
      </a:accent5>
      <a:accent6>
        <a:srgbClr val="FEDD37"/>
      </a:accent6>
      <a:hlink>
        <a:srgbClr val="000000"/>
      </a:hlink>
      <a:folHlink>
        <a:srgbClr val="000000"/>
      </a:folHlink>
    </a:clrScheme>
    <a:fontScheme name="Другая 3">
      <a:majorFont>
        <a:latin typeface="YS Text Wide Black"/>
        <a:ea typeface=""/>
        <a:cs typeface=""/>
      </a:majorFont>
      <a:minorFont>
        <a:latin typeface="YS Text Regular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9050">
          <a:noFill/>
        </a:ln>
        <a:effectLst/>
      </a:spPr>
      <a:bodyPr lIns="90000" tIns="216000" rIns="90000" bIns="216000" rtlCol="0" anchor="ctr" anchorCtr="0"/>
      <a:lstStyle>
        <a:defPPr algn="ctr">
          <a:lnSpc>
            <a:spcPct val="90000"/>
          </a:lnSpc>
          <a:defRPr sz="3200" dirty="0">
            <a:ln w="0"/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tx1"/>
          </a:solidFill>
          <a:prstDash val="solid"/>
          <a:headEnd type="none" w="lg" len="med"/>
          <a:tailEnd type="none" w="lg" len="med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3200" dirty="0" err="1" smtClean="0">
            <a:solidFill>
              <a:sysClr val="windowText" lastClr="00000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Темная тема">
  <a:themeElements>
    <a:clrScheme name="Пользовательские 48">
      <a:dk1>
        <a:srgbClr val="FFFFFF"/>
      </a:dk1>
      <a:lt1>
        <a:srgbClr val="313131"/>
      </a:lt1>
      <a:dk2>
        <a:srgbClr val="F5F5F5"/>
      </a:dk2>
      <a:lt2>
        <a:srgbClr val="C2C8CD"/>
      </a:lt2>
      <a:accent1>
        <a:srgbClr val="DAD06E"/>
      </a:accent1>
      <a:accent2>
        <a:srgbClr val="9586E5"/>
      </a:accent2>
      <a:accent3>
        <a:srgbClr val="FDB492"/>
      </a:accent3>
      <a:accent4>
        <a:srgbClr val="5A9BB9"/>
      </a:accent4>
      <a:accent5>
        <a:srgbClr val="D54AE6"/>
      </a:accent5>
      <a:accent6>
        <a:srgbClr val="FDC169"/>
      </a:accent6>
      <a:hlink>
        <a:srgbClr val="0563C1"/>
      </a:hlink>
      <a:folHlink>
        <a:srgbClr val="954F72"/>
      </a:folHlink>
    </a:clrScheme>
    <a:fontScheme name="KievitPro">
      <a:majorFont>
        <a:latin typeface="YS Text Bold"/>
        <a:ea typeface=""/>
        <a:cs typeface=""/>
      </a:majorFont>
      <a:minorFont>
        <a:latin typeface="YS Text Ligh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837</TotalTime>
  <Words>855</Words>
  <Application>Microsoft Macintosh PowerPoint</Application>
  <PresentationFormat>Custom</PresentationFormat>
  <Paragraphs>96</Paragraphs>
  <Slides>22</Slides>
  <Notes>0</Notes>
  <HiddenSlides>0</HiddenSlides>
  <MMClips>2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9" baseType="lpstr">
      <vt:lpstr>Arial Unicode MS</vt:lpstr>
      <vt:lpstr>Arial</vt:lpstr>
      <vt:lpstr>Calibri</vt:lpstr>
      <vt:lpstr>Yandex Sans Text Light</vt:lpstr>
      <vt:lpstr>YS Text Bold</vt:lpstr>
      <vt:lpstr>YS Text Light</vt:lpstr>
      <vt:lpstr>YS Text Medium</vt:lpstr>
      <vt:lpstr>YS Text Regular</vt:lpstr>
      <vt:lpstr>YS Text Wide</vt:lpstr>
      <vt:lpstr>YS Text Wide Bold</vt:lpstr>
      <vt:lpstr>Yandex</vt:lpstr>
      <vt:lpstr>1_Yandex</vt:lpstr>
      <vt:lpstr>Темная тема</vt:lpstr>
      <vt:lpstr>2_Yandex</vt:lpstr>
      <vt:lpstr>3_Yandex</vt:lpstr>
      <vt:lpstr>1_Темная тема</vt:lpstr>
      <vt:lpstr>think-cell Slide</vt:lpstr>
      <vt:lpstr> </vt:lpstr>
      <vt:lpstr>PowerPoint Presentation</vt:lpstr>
      <vt:lpstr>PowerPoint Presentation</vt:lpstr>
      <vt:lpstr>Новый вызов для образования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У нас в Яндексе есть  популярная фраза: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– это большая экосистема</vt:lpstr>
      <vt:lpstr> – это большая экосистема</vt:lpstr>
      <vt:lpstr> – это большая экосистема</vt:lpstr>
      <vt:lpstr> – это большая экосистема</vt:lpstr>
      <vt:lpstr>PowerPoint Presentation</vt:lpstr>
      <vt:lpstr>Спасибо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на Качковенко</dc:creator>
  <cp:lastModifiedBy>Andrey Sebrant</cp:lastModifiedBy>
  <cp:revision>1189</cp:revision>
  <dcterms:created xsi:type="dcterms:W3CDTF">2021-07-26T11:59:00Z</dcterms:created>
  <dcterms:modified xsi:type="dcterms:W3CDTF">2025-06-24T14:45:02Z</dcterms:modified>
</cp:coreProperties>
</file>